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Default Extension="xlsx" ContentType="application/vnd.openxmlformats-officedocument.spreadsheetml.sheet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charts/style1.xml" ContentType="application/vnd.ms-office.chartstyl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Default Extension="wdp" ContentType="image/vnd.ms-photo"/>
  <Override PartName="/ppt/charts/colors1.xml" ContentType="application/vnd.ms-office.chartcolorstyle+xml"/>
  <Override PartName="/ppt/slideLayouts/slideLayout10.xml" ContentType="application/vnd.openxmlformats-officedocument.presentationml.slideLayout+xml"/>
  <Default Extension="gif" ContentType="image/gif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tags/tag3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8"/>
  </p:notesMasterIdLst>
  <p:handoutMasterIdLst>
    <p:handoutMasterId r:id="rId19"/>
  </p:handoutMasterIdLst>
  <p:sldIdLst>
    <p:sldId id="471" r:id="rId2"/>
    <p:sldId id="561" r:id="rId3"/>
    <p:sldId id="562" r:id="rId4"/>
    <p:sldId id="563" r:id="rId5"/>
    <p:sldId id="583" r:id="rId6"/>
    <p:sldId id="564" r:id="rId7"/>
    <p:sldId id="585" r:id="rId8"/>
    <p:sldId id="566" r:id="rId9"/>
    <p:sldId id="567" r:id="rId10"/>
    <p:sldId id="568" r:id="rId11"/>
    <p:sldId id="569" r:id="rId12"/>
    <p:sldId id="587" r:id="rId13"/>
    <p:sldId id="577" r:id="rId14"/>
    <p:sldId id="571" r:id="rId15"/>
    <p:sldId id="572" r:id="rId16"/>
    <p:sldId id="467" r:id="rId17"/>
  </p:sldIdLst>
  <p:sldSz cx="12192000" cy="6858000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 userDrawn="1">
          <p15:clr>
            <a:srgbClr val="A4A3A4"/>
          </p15:clr>
        </p15:guide>
        <p15:guide id="2" pos="4883" userDrawn="1">
          <p15:clr>
            <a:srgbClr val="A4A3A4"/>
          </p15:clr>
        </p15:guide>
        <p15:guide id="3" pos="5065" userDrawn="1">
          <p15:clr>
            <a:srgbClr val="A4A3A4"/>
          </p15:clr>
        </p15:guide>
        <p15:guide id="4" pos="1436" userDrawn="1">
          <p15:clr>
            <a:srgbClr val="A4A3A4"/>
          </p15:clr>
        </p15:guide>
        <p15:guide id="5" orient="horz" pos="3838" userDrawn="1">
          <p15:clr>
            <a:srgbClr val="A4A3A4"/>
          </p15:clr>
        </p15:guide>
        <p15:guide id="6" pos="6335" userDrawn="1">
          <p15:clr>
            <a:srgbClr val="A4A3A4"/>
          </p15:clr>
        </p15:guide>
        <p15:guide id="7" pos="6924" userDrawn="1">
          <p15:clr>
            <a:srgbClr val="A4A3A4"/>
          </p15:clr>
        </p15:guide>
        <p15:guide id="8" pos="302" userDrawn="1">
          <p15:clr>
            <a:srgbClr val="A4A3A4"/>
          </p15:clr>
        </p15:guide>
        <p15:guide id="9" orient="horz" pos="2840" userDrawn="1">
          <p15:clr>
            <a:srgbClr val="A4A3A4"/>
          </p15:clr>
        </p15:guide>
        <p15:guide id="10" orient="horz" pos="210" userDrawn="1">
          <p15:clr>
            <a:srgbClr val="A4A3A4"/>
          </p15:clr>
        </p15:guide>
        <p15:guide id="11" orient="horz" pos="347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BE6859"/>
    <a:srgbClr val="FFFFFF"/>
    <a:srgbClr val="953735"/>
    <a:srgbClr val="404040"/>
    <a:srgbClr val="FFC000"/>
    <a:srgbClr val="95B3D7"/>
    <a:srgbClr val="7F7F7F"/>
    <a:srgbClr val="558ED5"/>
    <a:srgbClr val="E46C0A"/>
    <a:srgbClr val="C4BD97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548" autoAdjust="0"/>
    <p:restoredTop sz="96404" autoAdjust="0"/>
  </p:normalViewPr>
  <p:slideViewPr>
    <p:cSldViewPr>
      <p:cViewPr varScale="1">
        <p:scale>
          <a:sx n="44" d="100"/>
          <a:sy n="44" d="100"/>
        </p:scale>
        <p:origin x="-86" y="-936"/>
      </p:cViewPr>
      <p:guideLst>
        <p:guide orient="horz" pos="3884"/>
        <p:guide orient="horz" pos="3838"/>
        <p:guide orient="horz" pos="2840"/>
        <p:guide orient="horz" pos="210"/>
        <p:guide orient="horz" pos="3475"/>
        <p:guide pos="4883"/>
        <p:guide pos="5065"/>
        <p:guide pos="1436"/>
        <p:guide pos="6335"/>
        <p:guide pos="6924"/>
        <p:guide pos="30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47" d="100"/>
        <a:sy n="47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List_aplikace_Microsoft_Office_Excel1.xlsx"/><Relationship Id="rId4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List_aplikace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cs-CZ"/>
  <c:chart>
    <c:autoTitleDeleted val="1"/>
    <c:plotArea>
      <c:layout>
        <c:manualLayout>
          <c:layoutTarget val="inner"/>
          <c:xMode val="edge"/>
          <c:yMode val="edge"/>
          <c:x val="2.2264956488505586E-2"/>
          <c:y val="7.9607089787505497E-2"/>
          <c:w val="0.95547008702298886"/>
          <c:h val="0.79226421146946802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dPt>
            <c:idx val="0"/>
            <c:spPr>
              <a:solidFill>
                <a:srgbClr val="6893C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D8F-403B-B0DA-A17091CC8D09}"/>
              </c:ext>
            </c:extLst>
          </c:dPt>
          <c:dPt>
            <c:idx val="1"/>
            <c:spPr>
              <a:solidFill>
                <a:srgbClr val="6893C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D8F-403B-B0DA-A17091CC8D09}"/>
              </c:ext>
            </c:extLst>
          </c:dPt>
          <c:dPt>
            <c:idx val="2"/>
            <c:spPr>
              <a:solidFill>
                <a:srgbClr val="6893C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D8F-403B-B0DA-A17091CC8D09}"/>
              </c:ext>
            </c:extLst>
          </c:dPt>
          <c:dPt>
            <c:idx val="3"/>
            <c:spPr>
              <a:solidFill>
                <a:srgbClr val="6893C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AD8F-403B-B0DA-A17091CC8D09}"/>
              </c:ext>
            </c:extLst>
          </c:dPt>
          <c:dPt>
            <c:idx val="4"/>
            <c:spPr>
              <a:solidFill>
                <a:srgbClr val="6893C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AD8F-403B-B0DA-A17091CC8D09}"/>
              </c:ext>
            </c:extLst>
          </c:dPt>
          <c:dPt>
            <c:idx val="5"/>
            <c:spPr>
              <a:solidFill>
                <a:srgbClr val="6893C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AD8F-403B-B0DA-A17091CC8D09}"/>
              </c:ext>
            </c:extLst>
          </c:dPt>
          <c:dPt>
            <c:idx val="6"/>
            <c:spPr>
              <a:solidFill>
                <a:srgbClr val="6893C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AD8F-403B-B0DA-A17091CC8D09}"/>
              </c:ext>
            </c:extLst>
          </c:dPt>
          <c:dPt>
            <c:idx val="7"/>
            <c:spPr>
              <a:solidFill>
                <a:srgbClr val="6893C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AD8F-403B-B0DA-A17091CC8D09}"/>
              </c:ext>
            </c:extLst>
          </c:dPt>
          <c:dPt>
            <c:idx val="8"/>
            <c:spPr>
              <a:solidFill>
                <a:srgbClr val="6893C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AD8F-403B-B0DA-A17091CC8D09}"/>
              </c:ext>
            </c:extLst>
          </c:dPt>
          <c:dPt>
            <c:idx val="9"/>
            <c:extLst xmlns:c16r2="http://schemas.microsoft.com/office/drawing/2015/06/chart">
              <c:ext xmlns:c16="http://schemas.microsoft.com/office/drawing/2014/chart" uri="{C3380CC4-5D6E-409C-BE32-E72D297353CC}">
                <c16:uniqueId val="{00000013-AD8F-403B-B0DA-A17091CC8D09}"/>
              </c:ext>
            </c:extLst>
          </c:dPt>
          <c:dLbls>
            <c:dLbl>
              <c:idx val="10"/>
              <c:layout>
                <c:manualLayout>
                  <c:x val="0"/>
                  <c:y val="9.3655399750006516E-2"/>
                </c:manualLayout>
              </c:layout>
              <c:tx>
                <c:rich>
                  <a:bodyPr/>
                  <a:lstStyle/>
                  <a:p>
                    <a:fld id="{E9935D54-C8C4-46CF-8614-7576DA5E4E69}" type="VALUE">
                      <a:rPr lang="en-US" sz="900"/>
                      <a:pPr/>
                      <a:t>[ЗНАЧЕНИЕ]</a:t>
                    </a:fld>
                    <a:endParaRPr lang="x-none"/>
                  </a:p>
                </c:rich>
              </c:tx>
              <c:dLblPos val="outEnd"/>
              <c:showVal val="1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CD6B-4E11-A47A-FFAF5D1169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2</c:f>
              <c:strCach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3čt. 2023</c:v>
                </c:pt>
              </c:strCache>
            </c:strRef>
          </c:cat>
          <c:val>
            <c:numRef>
              <c:f>Лист1!$B$2:$B$12</c:f>
              <c:numCache>
                <c:formatCode>General</c:formatCode>
                <c:ptCount val="11"/>
                <c:pt idx="0">
                  <c:v>24.1</c:v>
                </c:pt>
                <c:pt idx="1">
                  <c:v>23.8</c:v>
                </c:pt>
                <c:pt idx="2">
                  <c:v>15.4</c:v>
                </c:pt>
                <c:pt idx="3">
                  <c:v>21.4</c:v>
                </c:pt>
                <c:pt idx="4">
                  <c:v>21</c:v>
                </c:pt>
                <c:pt idx="5">
                  <c:v>24.3</c:v>
                </c:pt>
                <c:pt idx="6">
                  <c:v>24.4</c:v>
                </c:pt>
                <c:pt idx="7">
                  <c:v>17.2</c:v>
                </c:pt>
                <c:pt idx="8">
                  <c:v>23.8</c:v>
                </c:pt>
                <c:pt idx="9">
                  <c:v>28</c:v>
                </c:pt>
                <c:pt idx="10">
                  <c:v>19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A-AD8F-403B-B0DA-A17091CC8D09}"/>
            </c:ext>
          </c:extLst>
        </c:ser>
        <c:dLbls>
          <c:showVal val="1"/>
        </c:dLbls>
        <c:gapWidth val="109"/>
        <c:overlap val="-42"/>
        <c:axId val="159195904"/>
        <c:axId val="159197440"/>
      </c:barChart>
      <c:catAx>
        <c:axId val="15919590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1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cs-CZ"/>
          </a:p>
        </c:txPr>
        <c:crossAx val="159197440"/>
        <c:crosses val="autoZero"/>
        <c:auto val="1"/>
        <c:lblAlgn val="ctr"/>
        <c:lblOffset val="100"/>
      </c:catAx>
      <c:valAx>
        <c:axId val="159197440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5919590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cs-CZ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sz="1600" b="1" i="1" dirty="0">
                <a:latin typeface="Century Gothic" panose="020B0502020202020204" pitchFamily="34" charset="0"/>
              </a:rPr>
              <a:t>Celkový</a:t>
            </a:r>
            <a:r>
              <a:rPr lang="cs-CZ" sz="1600" b="1" i="1" baseline="0" dirty="0">
                <a:latin typeface="Century Gothic" panose="020B0502020202020204" pitchFamily="34" charset="0"/>
              </a:rPr>
              <a:t> objem tranzitního nákladu</a:t>
            </a:r>
            <a:r>
              <a:rPr lang="en-US" sz="1600" b="1" i="1" baseline="0" dirty="0">
                <a:latin typeface="Century Gothic" panose="020B0502020202020204" pitchFamily="34" charset="0"/>
              </a:rPr>
              <a:t>, M </a:t>
            </a:r>
            <a:r>
              <a:rPr lang="cs-CZ" sz="1600" b="1" i="1" baseline="0" dirty="0">
                <a:latin typeface="Century Gothic" panose="020B0502020202020204" pitchFamily="34" charset="0"/>
              </a:rPr>
              <a:t>tun</a:t>
            </a:r>
            <a:r>
              <a:rPr lang="en-US" sz="1600" b="1" i="1" baseline="0" dirty="0">
                <a:latin typeface="Century Gothic" panose="020B0502020202020204" pitchFamily="34" charset="0"/>
              </a:rPr>
              <a:t> </a:t>
            </a:r>
            <a:r>
              <a:rPr lang="ru-RU" sz="1600" b="1" i="1" dirty="0">
                <a:latin typeface="Century Gothic" panose="020B0502020202020204" pitchFamily="34" charset="0"/>
              </a:rPr>
              <a:t> </a:t>
            </a:r>
          </a:p>
        </c:rich>
      </c:tx>
      <c:layout>
        <c:manualLayout>
          <c:xMode val="edge"/>
          <c:yMode val="edge"/>
          <c:x val="0.11544356506757464"/>
          <c:y val="2.3111074712496859E-2"/>
        </c:manualLayout>
      </c:layout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3.3258592728791413E-2"/>
          <c:y val="0.18504234892041452"/>
          <c:w val="0.924746456969464"/>
          <c:h val="0.5923508230407154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>
              <a:softEdge rad="0"/>
            </a:effectLst>
          </c:spPr>
          <c:dPt>
            <c:idx val="5"/>
            <c:spPr>
              <a:solidFill>
                <a:srgbClr val="0070C0"/>
              </a:solidFill>
              <a:ln>
                <a:noFill/>
              </a:ln>
              <a:effectLst>
                <a:outerShdw blurRad="38100" dist="50800" dir="5400000" algn="ctr" rotWithShape="0">
                  <a:srgbClr val="000000">
                    <a:alpha val="89000"/>
                  </a:srgbClr>
                </a:outerShdw>
                <a:softEdge rad="0"/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C95-48B7-8ACD-F8C0E97686B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8.100000000000001</c:v>
                </c:pt>
                <c:pt idx="1">
                  <c:v>19.2</c:v>
                </c:pt>
                <c:pt idx="2">
                  <c:v>19.399999999999999</c:v>
                </c:pt>
                <c:pt idx="3">
                  <c:v>22.7</c:v>
                </c:pt>
                <c:pt idx="4">
                  <c:v>23.8</c:v>
                </c:pt>
                <c:pt idx="5">
                  <c:v>26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393-4CF3-913F-E7168964F4CA}"/>
            </c:ext>
          </c:extLst>
        </c:ser>
        <c:dLbls>
          <c:showVal val="1"/>
        </c:dLbls>
        <c:gapWidth val="172"/>
        <c:overlap val="-90"/>
        <c:axId val="162252672"/>
        <c:axId val="162254208"/>
      </c:barChart>
      <c:catAx>
        <c:axId val="16225267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cs-CZ"/>
          </a:p>
        </c:txPr>
        <c:crossAx val="162254208"/>
        <c:crosses val="autoZero"/>
        <c:auto val="1"/>
        <c:lblAlgn val="ctr"/>
        <c:lblOffset val="100"/>
      </c:catAx>
      <c:valAx>
        <c:axId val="162254208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62252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5">
  <dgm:title val=""/>
  <dgm:desc val=""/>
  <dgm:catLst>
    <dgm:cat type="accent5" pri="11500"/>
  </dgm:catLst>
  <dgm:styleLbl name="node0">
    <dgm:fillClrLst meth="cycle">
      <a:schemeClr val="accent5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alpha val="9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alpha val="90000"/>
      </a:schemeClr>
      <a:schemeClr val="accent5">
        <a:alpha val="5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/>
    <dgm:txEffectClrLst/>
  </dgm:styleLbl>
  <dgm:styleLbl name="lnNode1">
    <dgm:fillClrLst>
      <a:schemeClr val="accent5">
        <a:shade val="90000"/>
      </a:schemeClr>
      <a:schemeClr val="accent5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  <a:alpha val="90000"/>
      </a:schemeClr>
      <a:schemeClr val="accent5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>
      <a:schemeClr val="accent5">
        <a:shade val="90000"/>
      </a:schemeClr>
      <a:schemeClr val="accent5">
        <a:tint val="50000"/>
      </a:schemeClr>
    </dgm:fillClrLst>
    <dgm:linClrLst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alpha val="90000"/>
      </a:schemeClr>
      <a:schemeClr val="accent5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alpha val="90000"/>
        <a:tint val="40000"/>
      </a:schemeClr>
      <a:schemeClr val="accent5">
        <a:alpha val="5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FD7589F-B496-4465-94D5-0B8CBD17E4CA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CB1528A-6A90-40D7-B248-007B9194F011}">
      <dgm:prSet custT="1"/>
      <dgm:spPr>
        <a:noFill/>
        <a:ln>
          <a:noFill/>
        </a:ln>
      </dgm:spPr>
      <dgm:t>
        <a:bodyPr/>
        <a:lstStyle/>
        <a:p>
          <a:endParaRPr lang="ru-RU" sz="1200" dirty="0"/>
        </a:p>
      </dgm:t>
    </dgm:pt>
    <dgm:pt modelId="{2D755C06-398F-4AD7-8B2A-1351CAFF4B5F}" type="parTrans" cxnId="{6F7F6942-5A0B-4AC4-9327-6FD13A70FF98}">
      <dgm:prSet/>
      <dgm:spPr/>
      <dgm:t>
        <a:bodyPr/>
        <a:lstStyle/>
        <a:p>
          <a:endParaRPr lang="ru-RU" sz="1400"/>
        </a:p>
      </dgm:t>
    </dgm:pt>
    <dgm:pt modelId="{169522BA-DCA0-461B-A972-F0867D7814C1}" type="sibTrans" cxnId="{6F7F6942-5A0B-4AC4-9327-6FD13A70FF98}">
      <dgm:prSet/>
      <dgm:spPr/>
      <dgm:t>
        <a:bodyPr/>
        <a:lstStyle/>
        <a:p>
          <a:endParaRPr lang="ru-RU" sz="1400"/>
        </a:p>
      </dgm:t>
    </dgm:pt>
    <dgm:pt modelId="{A8587502-FA5C-41FA-8490-188110586544}">
      <dgm:prSet custT="1"/>
      <dgm:spPr>
        <a:noFill/>
        <a:ln>
          <a:noFill/>
        </a:ln>
      </dgm:spPr>
      <dgm:t>
        <a:bodyPr/>
        <a:lstStyle/>
        <a:p>
          <a:endParaRPr lang="ru-RU" sz="1200" dirty="0"/>
        </a:p>
      </dgm:t>
    </dgm:pt>
    <dgm:pt modelId="{B9C9FC14-89BC-4682-BC1D-C6F09A5EA753}" type="parTrans" cxnId="{B1C73DF0-4E41-456A-A483-E5441632A177}">
      <dgm:prSet/>
      <dgm:spPr/>
      <dgm:t>
        <a:bodyPr/>
        <a:lstStyle/>
        <a:p>
          <a:endParaRPr lang="ru-RU" sz="1400"/>
        </a:p>
      </dgm:t>
    </dgm:pt>
    <dgm:pt modelId="{CEB96C0F-060C-43F3-82A5-216FF883EC75}" type="sibTrans" cxnId="{B1C73DF0-4E41-456A-A483-E5441632A177}">
      <dgm:prSet/>
      <dgm:spPr/>
      <dgm:t>
        <a:bodyPr/>
        <a:lstStyle/>
        <a:p>
          <a:endParaRPr lang="ru-RU" sz="1400"/>
        </a:p>
      </dgm:t>
    </dgm:pt>
    <dgm:pt modelId="{596F4307-3050-45F7-AC5B-2E8D8A67AE35}">
      <dgm:prSet custT="1"/>
      <dgm:spPr>
        <a:noFill/>
        <a:ln>
          <a:noFill/>
        </a:ln>
      </dgm:spPr>
      <dgm:t>
        <a:bodyPr/>
        <a:lstStyle/>
        <a:p>
          <a:pPr algn="l"/>
          <a:endParaRPr lang="ru-RU" sz="1200" dirty="0">
            <a:cs typeface="Corbel"/>
          </a:endParaRPr>
        </a:p>
      </dgm:t>
    </dgm:pt>
    <dgm:pt modelId="{DCEEB698-63B0-4210-9D45-AE79CEAA0040}" type="parTrans" cxnId="{44D7833B-77E0-4D45-BB56-88637D1FDC74}">
      <dgm:prSet/>
      <dgm:spPr/>
      <dgm:t>
        <a:bodyPr/>
        <a:lstStyle/>
        <a:p>
          <a:endParaRPr lang="ru-RU" sz="1400"/>
        </a:p>
      </dgm:t>
    </dgm:pt>
    <dgm:pt modelId="{5FB2D7AE-BAAD-4E8D-B60C-F9E75D10FAB6}" type="sibTrans" cxnId="{44D7833B-77E0-4D45-BB56-88637D1FDC74}">
      <dgm:prSet/>
      <dgm:spPr/>
      <dgm:t>
        <a:bodyPr/>
        <a:lstStyle/>
        <a:p>
          <a:endParaRPr lang="ru-RU" sz="1400"/>
        </a:p>
      </dgm:t>
    </dgm:pt>
    <dgm:pt modelId="{B7A62FF4-B061-4420-A8BC-05696C5FAE1C}">
      <dgm:prSet phldrT="[Текст]" custT="1"/>
      <dgm:spPr>
        <a:noFill/>
        <a:ln>
          <a:noFill/>
        </a:ln>
      </dgm:spPr>
      <dgm:t>
        <a:bodyPr/>
        <a:lstStyle/>
        <a:p>
          <a:endParaRPr lang="ru-RU" sz="1200" dirty="0">
            <a:solidFill>
              <a:schemeClr val="bg1"/>
            </a:solidFill>
          </a:endParaRPr>
        </a:p>
      </dgm:t>
    </dgm:pt>
    <dgm:pt modelId="{13135F22-CAC3-4BDB-A343-62E9B2EC1AE1}" type="sibTrans" cxnId="{535FD204-DC4F-4EAE-8BE0-403307641EEB}">
      <dgm:prSet/>
      <dgm:spPr>
        <a:ln>
          <a:solidFill>
            <a:srgbClr val="00B0F0"/>
          </a:solidFill>
        </a:ln>
      </dgm:spPr>
      <dgm:t>
        <a:bodyPr/>
        <a:lstStyle/>
        <a:p>
          <a:endParaRPr lang="ru-RU" sz="1400"/>
        </a:p>
      </dgm:t>
    </dgm:pt>
    <dgm:pt modelId="{CE428A87-D6E7-4208-B96C-0F8F8D057373}" type="parTrans" cxnId="{535FD204-DC4F-4EAE-8BE0-403307641EEB}">
      <dgm:prSet/>
      <dgm:spPr/>
      <dgm:t>
        <a:bodyPr/>
        <a:lstStyle/>
        <a:p>
          <a:endParaRPr lang="ru-RU" sz="1400"/>
        </a:p>
      </dgm:t>
    </dgm:pt>
    <dgm:pt modelId="{66C56500-7D24-42C9-8656-FD2B0624FE9B}" type="pres">
      <dgm:prSet presAssocID="{CFD7589F-B496-4465-94D5-0B8CBD17E4CA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cs-CZ"/>
        </a:p>
      </dgm:t>
    </dgm:pt>
    <dgm:pt modelId="{8910B0EE-0005-4FCF-A38D-BD5D5A113295}" type="pres">
      <dgm:prSet presAssocID="{CFD7589F-B496-4465-94D5-0B8CBD17E4CA}" presName="Name1" presStyleCnt="0"/>
      <dgm:spPr/>
    </dgm:pt>
    <dgm:pt modelId="{8AE7C767-0857-4D1C-99CD-45ECC42145EB}" type="pres">
      <dgm:prSet presAssocID="{CFD7589F-B496-4465-94D5-0B8CBD17E4CA}" presName="cycle" presStyleCnt="0"/>
      <dgm:spPr/>
    </dgm:pt>
    <dgm:pt modelId="{BFE1546D-C12E-4F5D-8289-2990E92FA2DD}" type="pres">
      <dgm:prSet presAssocID="{CFD7589F-B496-4465-94D5-0B8CBD17E4CA}" presName="srcNode" presStyleLbl="node1" presStyleIdx="0" presStyleCnt="4"/>
      <dgm:spPr/>
    </dgm:pt>
    <dgm:pt modelId="{6631D3B6-4CF2-4F87-8852-9F19A2034E1F}" type="pres">
      <dgm:prSet presAssocID="{CFD7589F-B496-4465-94D5-0B8CBD17E4CA}" presName="conn" presStyleLbl="parChTrans1D2" presStyleIdx="0" presStyleCnt="1"/>
      <dgm:spPr/>
      <dgm:t>
        <a:bodyPr/>
        <a:lstStyle/>
        <a:p>
          <a:endParaRPr lang="cs-CZ"/>
        </a:p>
      </dgm:t>
    </dgm:pt>
    <dgm:pt modelId="{BA49C4E2-1CC9-4763-A681-AC5C003BBF8E}" type="pres">
      <dgm:prSet presAssocID="{CFD7589F-B496-4465-94D5-0B8CBD17E4CA}" presName="extraNode" presStyleLbl="node1" presStyleIdx="0" presStyleCnt="4"/>
      <dgm:spPr/>
    </dgm:pt>
    <dgm:pt modelId="{56B58AFA-77F7-4970-AF19-05896359CE5C}" type="pres">
      <dgm:prSet presAssocID="{CFD7589F-B496-4465-94D5-0B8CBD17E4CA}" presName="dstNode" presStyleLbl="node1" presStyleIdx="0" presStyleCnt="4"/>
      <dgm:spPr/>
    </dgm:pt>
    <dgm:pt modelId="{2A7281F0-0144-49A8-98BD-1DDBD0C6317D}" type="pres">
      <dgm:prSet presAssocID="{B7A62FF4-B061-4420-A8BC-05696C5FAE1C}" presName="text_1" presStyleLbl="node1" presStyleIdx="0" presStyleCnt="4" custScaleX="99137" custScaleY="143653" custLinFactNeighborX="-1450" custLinFactNeighborY="-1244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4995626A-1FF3-4329-9C18-E8645CA15DAE}" type="pres">
      <dgm:prSet presAssocID="{B7A62FF4-B061-4420-A8BC-05696C5FAE1C}" presName="accent_1" presStyleCnt="0"/>
      <dgm:spPr/>
    </dgm:pt>
    <dgm:pt modelId="{0BE2FBA9-650A-47F8-A108-2A485A850CF5}" type="pres">
      <dgm:prSet presAssocID="{B7A62FF4-B061-4420-A8BC-05696C5FAE1C}" presName="accentRepeatNode" presStyleLbl="solidFgAcc1" presStyleIdx="0" presStyleCnt="4" custLinFactNeighborX="-5563" custLinFactNeighborY="-10825"/>
      <dgm:spPr>
        <a:ln>
          <a:solidFill>
            <a:srgbClr val="00B0F0"/>
          </a:solidFill>
        </a:ln>
      </dgm:spPr>
    </dgm:pt>
    <dgm:pt modelId="{FC30C801-A2BC-4EEB-BB99-41B4A762E989}" type="pres">
      <dgm:prSet presAssocID="{5CB1528A-6A90-40D7-B248-007B9194F011}" presName="text_2" presStyleLbl="node1" presStyleIdx="1" presStyleCnt="4" custScaleY="114096" custLinFactNeighborX="-337" custLinFactNeighborY="-27512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DC93831C-C463-4EFD-A0E8-42D83FEF1022}" type="pres">
      <dgm:prSet presAssocID="{5CB1528A-6A90-40D7-B248-007B9194F011}" presName="accent_2" presStyleCnt="0"/>
      <dgm:spPr/>
    </dgm:pt>
    <dgm:pt modelId="{C2DA786E-64BE-415A-BF18-E9BCE05D0AF7}" type="pres">
      <dgm:prSet presAssocID="{5CB1528A-6A90-40D7-B248-007B9194F011}" presName="accentRepeatNode" presStyleLbl="solidFgAcc1" presStyleIdx="1" presStyleCnt="4" custLinFactNeighborX="-11609" custLinFactNeighborY="-3807"/>
      <dgm:spPr>
        <a:ln>
          <a:solidFill>
            <a:srgbClr val="00B0F0"/>
          </a:solidFill>
        </a:ln>
      </dgm:spPr>
    </dgm:pt>
    <dgm:pt modelId="{767586EC-0797-4885-8A6C-9A10A5284828}" type="pres">
      <dgm:prSet presAssocID="{A8587502-FA5C-41FA-8490-188110586544}" presName="text_3" presStyleLbl="node1" presStyleIdx="2" presStyleCnt="4" custScaleX="99659" custScaleY="130604" custLinFactNeighborX="-337" custLinFactNeighborY="-1946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3D09595A-F460-477E-B506-3A747FF8D4DD}" type="pres">
      <dgm:prSet presAssocID="{A8587502-FA5C-41FA-8490-188110586544}" presName="accent_3" presStyleCnt="0"/>
      <dgm:spPr/>
    </dgm:pt>
    <dgm:pt modelId="{4761D43C-DDFA-44E8-89AF-437BC640445E}" type="pres">
      <dgm:prSet presAssocID="{A8587502-FA5C-41FA-8490-188110586544}" presName="accentRepeatNode" presStyleLbl="solidFgAcc1" presStyleIdx="2" presStyleCnt="4" custLinFactNeighborY="15131"/>
      <dgm:spPr>
        <a:ln>
          <a:solidFill>
            <a:srgbClr val="00B0F0"/>
          </a:solidFill>
        </a:ln>
      </dgm:spPr>
    </dgm:pt>
    <dgm:pt modelId="{09689170-E54F-42C3-A364-371A5F31C16B}" type="pres">
      <dgm:prSet presAssocID="{596F4307-3050-45F7-AC5B-2E8D8A67AE35}" presName="text_4" presStyleLbl="node1" presStyleIdx="3" presStyleCnt="4" custScaleX="99999" custScaleY="129564" custLinFactNeighborX="-444" custLinFactNeighborY="35192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3BA61E00-1DB0-4E89-9889-8A1CA7D7DA7D}" type="pres">
      <dgm:prSet presAssocID="{596F4307-3050-45F7-AC5B-2E8D8A67AE35}" presName="accent_4" presStyleCnt="0"/>
      <dgm:spPr/>
    </dgm:pt>
    <dgm:pt modelId="{34A2B06D-77CF-44A9-BA2A-C722BF0B047F}" type="pres">
      <dgm:prSet presAssocID="{596F4307-3050-45F7-AC5B-2E8D8A67AE35}" presName="accentRepeatNode" presStyleLbl="solidFgAcc1" presStyleIdx="3" presStyleCnt="4" custLinFactNeighborX="-7715" custLinFactNeighborY="31690"/>
      <dgm:spPr>
        <a:ln>
          <a:solidFill>
            <a:srgbClr val="00B0F0"/>
          </a:solidFill>
        </a:ln>
      </dgm:spPr>
    </dgm:pt>
  </dgm:ptLst>
  <dgm:cxnLst>
    <dgm:cxn modelId="{B1C73DF0-4E41-456A-A483-E5441632A177}" srcId="{CFD7589F-B496-4465-94D5-0B8CBD17E4CA}" destId="{A8587502-FA5C-41FA-8490-188110586544}" srcOrd="2" destOrd="0" parTransId="{B9C9FC14-89BC-4682-BC1D-C6F09A5EA753}" sibTransId="{CEB96C0F-060C-43F3-82A5-216FF883EC75}"/>
    <dgm:cxn modelId="{17C47E90-D232-40A6-826C-02765C60EEE1}" type="presOf" srcId="{B7A62FF4-B061-4420-A8BC-05696C5FAE1C}" destId="{2A7281F0-0144-49A8-98BD-1DDBD0C6317D}" srcOrd="0" destOrd="0" presId="urn:microsoft.com/office/officeart/2008/layout/VerticalCurvedList"/>
    <dgm:cxn modelId="{6F7F6942-5A0B-4AC4-9327-6FD13A70FF98}" srcId="{CFD7589F-B496-4465-94D5-0B8CBD17E4CA}" destId="{5CB1528A-6A90-40D7-B248-007B9194F011}" srcOrd="1" destOrd="0" parTransId="{2D755C06-398F-4AD7-8B2A-1351CAFF4B5F}" sibTransId="{169522BA-DCA0-461B-A972-F0867D7814C1}"/>
    <dgm:cxn modelId="{44D7833B-77E0-4D45-BB56-88637D1FDC74}" srcId="{CFD7589F-B496-4465-94D5-0B8CBD17E4CA}" destId="{596F4307-3050-45F7-AC5B-2E8D8A67AE35}" srcOrd="3" destOrd="0" parTransId="{DCEEB698-63B0-4210-9D45-AE79CEAA0040}" sibTransId="{5FB2D7AE-BAAD-4E8D-B60C-F9E75D10FAB6}"/>
    <dgm:cxn modelId="{535FD204-DC4F-4EAE-8BE0-403307641EEB}" srcId="{CFD7589F-B496-4465-94D5-0B8CBD17E4CA}" destId="{B7A62FF4-B061-4420-A8BC-05696C5FAE1C}" srcOrd="0" destOrd="0" parTransId="{CE428A87-D6E7-4208-B96C-0F8F8D057373}" sibTransId="{13135F22-CAC3-4BDB-A343-62E9B2EC1AE1}"/>
    <dgm:cxn modelId="{509A96F6-378A-468B-A2C7-4F91969B8B72}" type="presOf" srcId="{A8587502-FA5C-41FA-8490-188110586544}" destId="{767586EC-0797-4885-8A6C-9A10A5284828}" srcOrd="0" destOrd="0" presId="urn:microsoft.com/office/officeart/2008/layout/VerticalCurvedList"/>
    <dgm:cxn modelId="{1FF94CE5-F0A2-43E0-9785-ED0F13802668}" type="presOf" srcId="{13135F22-CAC3-4BDB-A343-62E9B2EC1AE1}" destId="{6631D3B6-4CF2-4F87-8852-9F19A2034E1F}" srcOrd="0" destOrd="0" presId="urn:microsoft.com/office/officeart/2008/layout/VerticalCurvedList"/>
    <dgm:cxn modelId="{F8F2BFCD-4ABE-4594-9BE0-F8611293C81B}" type="presOf" srcId="{596F4307-3050-45F7-AC5B-2E8D8A67AE35}" destId="{09689170-E54F-42C3-A364-371A5F31C16B}" srcOrd="0" destOrd="0" presId="urn:microsoft.com/office/officeart/2008/layout/VerticalCurvedList"/>
    <dgm:cxn modelId="{1B5F31E1-EA55-46CE-A9EC-5D78D1B7E6ED}" type="presOf" srcId="{5CB1528A-6A90-40D7-B248-007B9194F011}" destId="{FC30C801-A2BC-4EEB-BB99-41B4A762E989}" srcOrd="0" destOrd="0" presId="urn:microsoft.com/office/officeart/2008/layout/VerticalCurvedList"/>
    <dgm:cxn modelId="{9D702634-2A76-4370-A555-B1E41B3B9EC6}" type="presOf" srcId="{CFD7589F-B496-4465-94D5-0B8CBD17E4CA}" destId="{66C56500-7D24-42C9-8656-FD2B0624FE9B}" srcOrd="0" destOrd="0" presId="urn:microsoft.com/office/officeart/2008/layout/VerticalCurvedList"/>
    <dgm:cxn modelId="{B7675082-B00A-48EC-B8F1-68D8D2756F3C}" type="presParOf" srcId="{66C56500-7D24-42C9-8656-FD2B0624FE9B}" destId="{8910B0EE-0005-4FCF-A38D-BD5D5A113295}" srcOrd="0" destOrd="0" presId="urn:microsoft.com/office/officeart/2008/layout/VerticalCurvedList"/>
    <dgm:cxn modelId="{65C8C330-5981-4134-95D9-A35DBAF72CEF}" type="presParOf" srcId="{8910B0EE-0005-4FCF-A38D-BD5D5A113295}" destId="{8AE7C767-0857-4D1C-99CD-45ECC42145EB}" srcOrd="0" destOrd="0" presId="urn:microsoft.com/office/officeart/2008/layout/VerticalCurvedList"/>
    <dgm:cxn modelId="{46CF39A0-56DD-4859-AD3E-F9DF5DCDCE28}" type="presParOf" srcId="{8AE7C767-0857-4D1C-99CD-45ECC42145EB}" destId="{BFE1546D-C12E-4F5D-8289-2990E92FA2DD}" srcOrd="0" destOrd="0" presId="urn:microsoft.com/office/officeart/2008/layout/VerticalCurvedList"/>
    <dgm:cxn modelId="{0955B4A1-6344-43EA-A246-19AE0887539E}" type="presParOf" srcId="{8AE7C767-0857-4D1C-99CD-45ECC42145EB}" destId="{6631D3B6-4CF2-4F87-8852-9F19A2034E1F}" srcOrd="1" destOrd="0" presId="urn:microsoft.com/office/officeart/2008/layout/VerticalCurvedList"/>
    <dgm:cxn modelId="{92E67A9F-AB97-4D86-80C0-DC49E0BDA6B3}" type="presParOf" srcId="{8AE7C767-0857-4D1C-99CD-45ECC42145EB}" destId="{BA49C4E2-1CC9-4763-A681-AC5C003BBF8E}" srcOrd="2" destOrd="0" presId="urn:microsoft.com/office/officeart/2008/layout/VerticalCurvedList"/>
    <dgm:cxn modelId="{F2F3CB3D-A7F0-4253-94BE-5ACDC2F77163}" type="presParOf" srcId="{8AE7C767-0857-4D1C-99CD-45ECC42145EB}" destId="{56B58AFA-77F7-4970-AF19-05896359CE5C}" srcOrd="3" destOrd="0" presId="urn:microsoft.com/office/officeart/2008/layout/VerticalCurvedList"/>
    <dgm:cxn modelId="{5A223B25-640E-4049-89E2-C0DE8B7BE39A}" type="presParOf" srcId="{8910B0EE-0005-4FCF-A38D-BD5D5A113295}" destId="{2A7281F0-0144-49A8-98BD-1DDBD0C6317D}" srcOrd="1" destOrd="0" presId="urn:microsoft.com/office/officeart/2008/layout/VerticalCurvedList"/>
    <dgm:cxn modelId="{10A320B5-C0AE-42F5-AF50-84690C09EF89}" type="presParOf" srcId="{8910B0EE-0005-4FCF-A38D-BD5D5A113295}" destId="{4995626A-1FF3-4329-9C18-E8645CA15DAE}" srcOrd="2" destOrd="0" presId="urn:microsoft.com/office/officeart/2008/layout/VerticalCurvedList"/>
    <dgm:cxn modelId="{033355BD-48D1-49DA-A411-6DD11DD99AE3}" type="presParOf" srcId="{4995626A-1FF3-4329-9C18-E8645CA15DAE}" destId="{0BE2FBA9-650A-47F8-A108-2A485A850CF5}" srcOrd="0" destOrd="0" presId="urn:microsoft.com/office/officeart/2008/layout/VerticalCurvedList"/>
    <dgm:cxn modelId="{C29922AD-58A0-4E51-9945-EDC4A7AB0F8D}" type="presParOf" srcId="{8910B0EE-0005-4FCF-A38D-BD5D5A113295}" destId="{FC30C801-A2BC-4EEB-BB99-41B4A762E989}" srcOrd="3" destOrd="0" presId="urn:microsoft.com/office/officeart/2008/layout/VerticalCurvedList"/>
    <dgm:cxn modelId="{F7B3B090-A837-4C68-8F88-77A6EE69C5F6}" type="presParOf" srcId="{8910B0EE-0005-4FCF-A38D-BD5D5A113295}" destId="{DC93831C-C463-4EFD-A0E8-42D83FEF1022}" srcOrd="4" destOrd="0" presId="urn:microsoft.com/office/officeart/2008/layout/VerticalCurvedList"/>
    <dgm:cxn modelId="{56B28E61-FED0-4C20-9BF7-323328978EF7}" type="presParOf" srcId="{DC93831C-C463-4EFD-A0E8-42D83FEF1022}" destId="{C2DA786E-64BE-415A-BF18-E9BCE05D0AF7}" srcOrd="0" destOrd="0" presId="urn:microsoft.com/office/officeart/2008/layout/VerticalCurvedList"/>
    <dgm:cxn modelId="{B9AEFAA2-943F-4BFC-8132-D507ECC4C1CC}" type="presParOf" srcId="{8910B0EE-0005-4FCF-A38D-BD5D5A113295}" destId="{767586EC-0797-4885-8A6C-9A10A5284828}" srcOrd="5" destOrd="0" presId="urn:microsoft.com/office/officeart/2008/layout/VerticalCurvedList"/>
    <dgm:cxn modelId="{F174FE1C-73BA-410D-8B86-B89BC24DE618}" type="presParOf" srcId="{8910B0EE-0005-4FCF-A38D-BD5D5A113295}" destId="{3D09595A-F460-477E-B506-3A747FF8D4DD}" srcOrd="6" destOrd="0" presId="urn:microsoft.com/office/officeart/2008/layout/VerticalCurvedList"/>
    <dgm:cxn modelId="{50E2D558-3367-4601-8848-980E7FD6E052}" type="presParOf" srcId="{3D09595A-F460-477E-B506-3A747FF8D4DD}" destId="{4761D43C-DDFA-44E8-89AF-437BC640445E}" srcOrd="0" destOrd="0" presId="urn:microsoft.com/office/officeart/2008/layout/VerticalCurvedList"/>
    <dgm:cxn modelId="{EC871D3D-1BAA-4862-9784-20D66666C87E}" type="presParOf" srcId="{8910B0EE-0005-4FCF-A38D-BD5D5A113295}" destId="{09689170-E54F-42C3-A364-371A5F31C16B}" srcOrd="7" destOrd="0" presId="urn:microsoft.com/office/officeart/2008/layout/VerticalCurvedList"/>
    <dgm:cxn modelId="{32F35647-4C70-40AC-9EBB-E5654AE13C8C}" type="presParOf" srcId="{8910B0EE-0005-4FCF-A38D-BD5D5A113295}" destId="{3BA61E00-1DB0-4E89-9889-8A1CA7D7DA7D}" srcOrd="8" destOrd="0" presId="urn:microsoft.com/office/officeart/2008/layout/VerticalCurvedList"/>
    <dgm:cxn modelId="{B88EDE56-977B-41A8-90FD-23AE587635A4}" type="presParOf" srcId="{3BA61E00-1DB0-4E89-9889-8A1CA7D7DA7D}" destId="{34A2B06D-77CF-44A9-BA2A-C722BF0B047F}" srcOrd="0" destOrd="0" presId="urn:microsoft.com/office/officeart/2008/layout/VerticalCurvedList"/>
  </dgm:cxnLst>
  <dgm:bg>
    <a:noFill/>
  </dgm:bg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095CC58-8CDC-44A6-8317-AF7C126BF10B}" type="doc">
      <dgm:prSet loTypeId="urn:microsoft.com/office/officeart/2005/8/layout/radial6" loCatId="cycle" qsTypeId="urn:microsoft.com/office/officeart/2005/8/quickstyle/simple2" qsCatId="simple" csTypeId="urn:microsoft.com/office/officeart/2005/8/colors/accent5_5" csCatId="accent5" phldr="1"/>
      <dgm:spPr/>
      <dgm:t>
        <a:bodyPr/>
        <a:lstStyle/>
        <a:p>
          <a:endParaRPr lang="ru-RU"/>
        </a:p>
      </dgm:t>
    </dgm:pt>
    <dgm:pt modelId="{F1C8CA85-01A5-47CA-983A-4AA33F8E8C0C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cs-CZ" sz="1200" b="1" dirty="0"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  <a:sym typeface="Helvetica Neue Medium"/>
            </a:rPr>
            <a:t>POBÍDKY</a:t>
          </a:r>
          <a:endParaRPr lang="ru-RU" sz="4400" dirty="0">
            <a:latin typeface="Century Gothic" panose="020B0502020202020204" pitchFamily="34" charset="0"/>
          </a:endParaRPr>
        </a:p>
      </dgm:t>
    </dgm:pt>
    <dgm:pt modelId="{F168BE4A-97F4-4C52-BE4D-3812D56B6C8E}" type="parTrans" cxnId="{3012CCB6-743C-490B-92C2-A1F480D488C6}">
      <dgm:prSet/>
      <dgm:spPr/>
      <dgm:t>
        <a:bodyPr/>
        <a:lstStyle/>
        <a:p>
          <a:endParaRPr lang="ru-RU" sz="1800"/>
        </a:p>
      </dgm:t>
    </dgm:pt>
    <dgm:pt modelId="{39485799-9A47-4D08-A4F1-0237EF339DDB}" type="sibTrans" cxnId="{3012CCB6-743C-490B-92C2-A1F480D488C6}">
      <dgm:prSet/>
      <dgm:spPr/>
      <dgm:t>
        <a:bodyPr/>
        <a:lstStyle/>
        <a:p>
          <a:endParaRPr lang="ru-RU" sz="1800"/>
        </a:p>
      </dgm:t>
    </dgm:pt>
    <dgm:pt modelId="{D6E13883-A963-49F7-B9C6-2682C6F00532}">
      <dgm:prSet phldrT="[Текст]" custT="1"/>
      <dgm:spPr>
        <a:solidFill>
          <a:srgbClr val="00B0F0"/>
        </a:solidFill>
      </dgm:spPr>
      <dgm:t>
        <a:bodyPr anchor="b"/>
        <a:lstStyle/>
        <a:p>
          <a:r>
            <a:rPr lang="pl-PL" sz="800" b="1" dirty="0"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Fira Sans Bold"/>
            </a:rPr>
            <a:t>0% DAŇ Z POZEMKŮ, 0% DPH</a:t>
          </a:r>
          <a:endParaRPr lang="ru-RU" sz="700" dirty="0">
            <a:latin typeface="Century Gothic" panose="020B0502020202020204" pitchFamily="34" charset="0"/>
          </a:endParaRPr>
        </a:p>
      </dgm:t>
    </dgm:pt>
    <dgm:pt modelId="{3827C09F-47F2-4E69-867A-54753217E5E6}" type="parTrans" cxnId="{09A64F21-1033-47D4-81B8-807BC8305F01}">
      <dgm:prSet/>
      <dgm:spPr/>
      <dgm:t>
        <a:bodyPr/>
        <a:lstStyle/>
        <a:p>
          <a:endParaRPr lang="ru-RU" sz="1800"/>
        </a:p>
      </dgm:t>
    </dgm:pt>
    <dgm:pt modelId="{7C9FF72E-5E60-4610-B2F4-8C04F3EB61F1}" type="sibTrans" cxnId="{09A64F21-1033-47D4-81B8-807BC8305F01}">
      <dgm:prSet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endParaRPr lang="ru-RU" sz="1800"/>
        </a:p>
      </dgm:t>
    </dgm:pt>
    <dgm:pt modelId="{A4E2B085-80E5-4410-B420-6314FCE1B06F}">
      <dgm:prSet phldrT="[Текст]" custT="1"/>
      <dgm:spPr>
        <a:solidFill>
          <a:srgbClr val="00B0F0"/>
        </a:solidFill>
      </dgm:spPr>
      <dgm:t>
        <a:bodyPr anchor="b"/>
        <a:lstStyle/>
        <a:p>
          <a:r>
            <a:rPr lang="cs-CZ" sz="700" b="1" dirty="0"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Fira Sans Bold"/>
            </a:rPr>
            <a:t>0% DAŇ Z NEMOVITOSTI</a:t>
          </a:r>
          <a:endParaRPr lang="ru-RU" sz="600" dirty="0">
            <a:latin typeface="Century Gothic" panose="020B0502020202020204" pitchFamily="34" charset="0"/>
          </a:endParaRPr>
        </a:p>
      </dgm:t>
    </dgm:pt>
    <dgm:pt modelId="{FA1550F6-434A-4D23-8D74-68191D96A7D5}" type="parTrans" cxnId="{48FB315F-E5FC-495B-8912-E3A77A625052}">
      <dgm:prSet/>
      <dgm:spPr/>
      <dgm:t>
        <a:bodyPr/>
        <a:lstStyle/>
        <a:p>
          <a:endParaRPr lang="ru-RU" sz="1800"/>
        </a:p>
      </dgm:t>
    </dgm:pt>
    <dgm:pt modelId="{D4C6E74E-36FD-43E2-807E-BCCB8A6585B1}" type="sibTrans" cxnId="{48FB315F-E5FC-495B-8912-E3A77A625052}">
      <dgm:prSet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endParaRPr lang="ru-RU" sz="1800"/>
        </a:p>
      </dgm:t>
    </dgm:pt>
    <dgm:pt modelId="{0AAF26F7-39C2-4431-90E1-C6B237DD4924}">
      <dgm:prSet phldrT="[Текст]" custT="1"/>
      <dgm:spPr>
        <a:solidFill>
          <a:srgbClr val="00B0F0"/>
        </a:solidFill>
      </dgm:spPr>
      <dgm:t>
        <a:bodyPr anchor="b"/>
        <a:lstStyle/>
        <a:p>
          <a:r>
            <a:rPr lang="cs-CZ" sz="800" b="1" dirty="0"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Fira Sans Bold"/>
            </a:rPr>
            <a:t>0% CLA</a:t>
          </a:r>
          <a:endParaRPr lang="ru-RU" sz="700" dirty="0">
            <a:latin typeface="Century Gothic" panose="020B0502020202020204" pitchFamily="34" charset="0"/>
          </a:endParaRPr>
        </a:p>
      </dgm:t>
    </dgm:pt>
    <dgm:pt modelId="{00C06DB3-7D46-482A-B588-20EB72042FDB}" type="parTrans" cxnId="{A3CF96FA-02F6-4C36-8D58-718BF68568B1}">
      <dgm:prSet/>
      <dgm:spPr/>
      <dgm:t>
        <a:bodyPr/>
        <a:lstStyle/>
        <a:p>
          <a:endParaRPr lang="ru-RU" sz="1800"/>
        </a:p>
      </dgm:t>
    </dgm:pt>
    <dgm:pt modelId="{4179555F-39D3-4C2F-B13A-1B1AA7D7ED92}" type="sibTrans" cxnId="{A3CF96FA-02F6-4C36-8D58-718BF68568B1}">
      <dgm:prSet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endParaRPr lang="ru-RU" sz="1800"/>
        </a:p>
      </dgm:t>
    </dgm:pt>
    <dgm:pt modelId="{22D8EF76-23C3-4192-9A5F-FD488A9B9D40}">
      <dgm:prSet phldrT="[Текст]" custT="1"/>
      <dgm:spPr>
        <a:solidFill>
          <a:srgbClr val="00B0F0"/>
        </a:solidFill>
      </dgm:spPr>
      <dgm:t>
        <a:bodyPr anchor="b"/>
        <a:lstStyle/>
        <a:p>
          <a:r>
            <a:rPr lang="it-IT" sz="800" b="1" dirty="0"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Fira Sans Bold"/>
            </a:rPr>
            <a:t>0%</a:t>
          </a:r>
          <a:r>
            <a:rPr lang="it-IT" sz="900" b="1" dirty="0"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Fira Sans Bold"/>
            </a:rPr>
            <a:t> CIT</a:t>
          </a:r>
          <a:endParaRPr lang="ru-RU" sz="900" dirty="0">
            <a:latin typeface="Century Gothic" panose="020B0502020202020204" pitchFamily="34" charset="0"/>
          </a:endParaRPr>
        </a:p>
      </dgm:t>
    </dgm:pt>
    <dgm:pt modelId="{05FF7A32-26F6-4369-9525-B1D42E6EFF89}" type="parTrans" cxnId="{CD8E4F44-5D10-4B49-A0FB-E8EDCAD5FA26}">
      <dgm:prSet/>
      <dgm:spPr/>
      <dgm:t>
        <a:bodyPr/>
        <a:lstStyle/>
        <a:p>
          <a:endParaRPr lang="ru-RU" sz="1800"/>
        </a:p>
      </dgm:t>
    </dgm:pt>
    <dgm:pt modelId="{C7EB6BF0-04B9-4934-B313-6822291244F5}" type="sibTrans" cxnId="{CD8E4F44-5D10-4B49-A0FB-E8EDCAD5FA26}">
      <dgm:prSet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endParaRPr lang="ru-RU" sz="1800"/>
        </a:p>
      </dgm:t>
    </dgm:pt>
    <dgm:pt modelId="{905F8087-1839-44E8-A616-08371778027C}" type="pres">
      <dgm:prSet presAssocID="{C095CC58-8CDC-44A6-8317-AF7C126BF10B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954F6F85-78F3-4EC1-A159-9F358CA55F68}" type="pres">
      <dgm:prSet presAssocID="{F1C8CA85-01A5-47CA-983A-4AA33F8E8C0C}" presName="centerShape" presStyleLbl="node0" presStyleIdx="0" presStyleCnt="1" custScaleX="91936" custScaleY="85732" custLinFactNeighborY="-849"/>
      <dgm:spPr/>
      <dgm:t>
        <a:bodyPr/>
        <a:lstStyle/>
        <a:p>
          <a:endParaRPr lang="cs-CZ"/>
        </a:p>
      </dgm:t>
    </dgm:pt>
    <dgm:pt modelId="{984E4F22-C94E-4E55-9DE3-26EE6045FD8C}" type="pres">
      <dgm:prSet presAssocID="{D6E13883-A963-49F7-B9C6-2682C6F00532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9E8A12A2-0235-481B-99BA-A823A78BC226}" type="pres">
      <dgm:prSet presAssocID="{D6E13883-A963-49F7-B9C6-2682C6F00532}" presName="dummy" presStyleCnt="0"/>
      <dgm:spPr/>
    </dgm:pt>
    <dgm:pt modelId="{E3D6DD2F-4D19-4B97-9C3A-4DBBF81690D3}" type="pres">
      <dgm:prSet presAssocID="{7C9FF72E-5E60-4610-B2F4-8C04F3EB61F1}" presName="sibTrans" presStyleLbl="sibTrans2D1" presStyleIdx="0" presStyleCnt="4"/>
      <dgm:spPr/>
      <dgm:t>
        <a:bodyPr/>
        <a:lstStyle/>
        <a:p>
          <a:endParaRPr lang="cs-CZ"/>
        </a:p>
      </dgm:t>
    </dgm:pt>
    <dgm:pt modelId="{C39708EC-138B-496E-87D2-4DF47D2EFE6D}" type="pres">
      <dgm:prSet presAssocID="{A4E2B085-80E5-4410-B420-6314FCE1B06F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042EAB78-985E-4530-85CA-3A846160461B}" type="pres">
      <dgm:prSet presAssocID="{A4E2B085-80E5-4410-B420-6314FCE1B06F}" presName="dummy" presStyleCnt="0"/>
      <dgm:spPr/>
    </dgm:pt>
    <dgm:pt modelId="{AE7F09C9-59AE-48BA-B6F3-90366CF9A245}" type="pres">
      <dgm:prSet presAssocID="{D4C6E74E-36FD-43E2-807E-BCCB8A6585B1}" presName="sibTrans" presStyleLbl="sibTrans2D1" presStyleIdx="1" presStyleCnt="4"/>
      <dgm:spPr/>
      <dgm:t>
        <a:bodyPr/>
        <a:lstStyle/>
        <a:p>
          <a:endParaRPr lang="cs-CZ"/>
        </a:p>
      </dgm:t>
    </dgm:pt>
    <dgm:pt modelId="{AF2890EA-11C4-48E9-8839-ED5EE6BFB190}" type="pres">
      <dgm:prSet presAssocID="{0AAF26F7-39C2-4431-90E1-C6B237DD4924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62887CAD-73E1-4220-B024-3F8B73C06B24}" type="pres">
      <dgm:prSet presAssocID="{0AAF26F7-39C2-4431-90E1-C6B237DD4924}" presName="dummy" presStyleCnt="0"/>
      <dgm:spPr/>
    </dgm:pt>
    <dgm:pt modelId="{FBD5B59D-EA82-445B-A1CF-9DC48470DB09}" type="pres">
      <dgm:prSet presAssocID="{4179555F-39D3-4C2F-B13A-1B1AA7D7ED92}" presName="sibTrans" presStyleLbl="sibTrans2D1" presStyleIdx="2" presStyleCnt="4"/>
      <dgm:spPr/>
      <dgm:t>
        <a:bodyPr/>
        <a:lstStyle/>
        <a:p>
          <a:endParaRPr lang="cs-CZ"/>
        </a:p>
      </dgm:t>
    </dgm:pt>
    <dgm:pt modelId="{5DA17500-D49E-42E8-9371-5A936FC467DD}" type="pres">
      <dgm:prSet presAssocID="{22D8EF76-23C3-4192-9A5F-FD488A9B9D40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46615D54-3E75-4CFE-A891-0302D911BC19}" type="pres">
      <dgm:prSet presAssocID="{22D8EF76-23C3-4192-9A5F-FD488A9B9D40}" presName="dummy" presStyleCnt="0"/>
      <dgm:spPr/>
    </dgm:pt>
    <dgm:pt modelId="{5BD4FD18-2269-4842-A78B-7F72574835C3}" type="pres">
      <dgm:prSet presAssocID="{C7EB6BF0-04B9-4934-B313-6822291244F5}" presName="sibTrans" presStyleLbl="sibTrans2D1" presStyleIdx="3" presStyleCnt="4"/>
      <dgm:spPr/>
      <dgm:t>
        <a:bodyPr/>
        <a:lstStyle/>
        <a:p>
          <a:endParaRPr lang="cs-CZ"/>
        </a:p>
      </dgm:t>
    </dgm:pt>
  </dgm:ptLst>
  <dgm:cxnLst>
    <dgm:cxn modelId="{40C8F25A-6BC6-4604-8A44-79E724FAB5F6}" type="presOf" srcId="{7C9FF72E-5E60-4610-B2F4-8C04F3EB61F1}" destId="{E3D6DD2F-4D19-4B97-9C3A-4DBBF81690D3}" srcOrd="0" destOrd="0" presId="urn:microsoft.com/office/officeart/2005/8/layout/radial6"/>
    <dgm:cxn modelId="{D10A2A9F-795F-4458-B1B8-AAB22D34CC06}" type="presOf" srcId="{F1C8CA85-01A5-47CA-983A-4AA33F8E8C0C}" destId="{954F6F85-78F3-4EC1-A159-9F358CA55F68}" srcOrd="0" destOrd="0" presId="urn:microsoft.com/office/officeart/2005/8/layout/radial6"/>
    <dgm:cxn modelId="{A3CF96FA-02F6-4C36-8D58-718BF68568B1}" srcId="{F1C8CA85-01A5-47CA-983A-4AA33F8E8C0C}" destId="{0AAF26F7-39C2-4431-90E1-C6B237DD4924}" srcOrd="2" destOrd="0" parTransId="{00C06DB3-7D46-482A-B588-20EB72042FDB}" sibTransId="{4179555F-39D3-4C2F-B13A-1B1AA7D7ED92}"/>
    <dgm:cxn modelId="{CD8E4F44-5D10-4B49-A0FB-E8EDCAD5FA26}" srcId="{F1C8CA85-01A5-47CA-983A-4AA33F8E8C0C}" destId="{22D8EF76-23C3-4192-9A5F-FD488A9B9D40}" srcOrd="3" destOrd="0" parTransId="{05FF7A32-26F6-4369-9525-B1D42E6EFF89}" sibTransId="{C7EB6BF0-04B9-4934-B313-6822291244F5}"/>
    <dgm:cxn modelId="{19D91A28-8A2C-4022-BD4C-A220A16C3022}" type="presOf" srcId="{4179555F-39D3-4C2F-B13A-1B1AA7D7ED92}" destId="{FBD5B59D-EA82-445B-A1CF-9DC48470DB09}" srcOrd="0" destOrd="0" presId="urn:microsoft.com/office/officeart/2005/8/layout/radial6"/>
    <dgm:cxn modelId="{A87A0085-457F-4864-A9D6-53A1FC11797D}" type="presOf" srcId="{0AAF26F7-39C2-4431-90E1-C6B237DD4924}" destId="{AF2890EA-11C4-48E9-8839-ED5EE6BFB190}" srcOrd="0" destOrd="0" presId="urn:microsoft.com/office/officeart/2005/8/layout/radial6"/>
    <dgm:cxn modelId="{09A64F21-1033-47D4-81B8-807BC8305F01}" srcId="{F1C8CA85-01A5-47CA-983A-4AA33F8E8C0C}" destId="{D6E13883-A963-49F7-B9C6-2682C6F00532}" srcOrd="0" destOrd="0" parTransId="{3827C09F-47F2-4E69-867A-54753217E5E6}" sibTransId="{7C9FF72E-5E60-4610-B2F4-8C04F3EB61F1}"/>
    <dgm:cxn modelId="{48FB315F-E5FC-495B-8912-E3A77A625052}" srcId="{F1C8CA85-01A5-47CA-983A-4AA33F8E8C0C}" destId="{A4E2B085-80E5-4410-B420-6314FCE1B06F}" srcOrd="1" destOrd="0" parTransId="{FA1550F6-434A-4D23-8D74-68191D96A7D5}" sibTransId="{D4C6E74E-36FD-43E2-807E-BCCB8A6585B1}"/>
    <dgm:cxn modelId="{A6A8646C-573A-4D53-9D05-25A1DAA5C200}" type="presOf" srcId="{D4C6E74E-36FD-43E2-807E-BCCB8A6585B1}" destId="{AE7F09C9-59AE-48BA-B6F3-90366CF9A245}" srcOrd="0" destOrd="0" presId="urn:microsoft.com/office/officeart/2005/8/layout/radial6"/>
    <dgm:cxn modelId="{2C7C923D-2CE1-4E12-AC1C-07DE8B94837E}" type="presOf" srcId="{C095CC58-8CDC-44A6-8317-AF7C126BF10B}" destId="{905F8087-1839-44E8-A616-08371778027C}" srcOrd="0" destOrd="0" presId="urn:microsoft.com/office/officeart/2005/8/layout/radial6"/>
    <dgm:cxn modelId="{8A2246F4-028E-405A-986C-8FF22DD7D949}" type="presOf" srcId="{A4E2B085-80E5-4410-B420-6314FCE1B06F}" destId="{C39708EC-138B-496E-87D2-4DF47D2EFE6D}" srcOrd="0" destOrd="0" presId="urn:microsoft.com/office/officeart/2005/8/layout/radial6"/>
    <dgm:cxn modelId="{3012CCB6-743C-490B-92C2-A1F480D488C6}" srcId="{C095CC58-8CDC-44A6-8317-AF7C126BF10B}" destId="{F1C8CA85-01A5-47CA-983A-4AA33F8E8C0C}" srcOrd="0" destOrd="0" parTransId="{F168BE4A-97F4-4C52-BE4D-3812D56B6C8E}" sibTransId="{39485799-9A47-4D08-A4F1-0237EF339DDB}"/>
    <dgm:cxn modelId="{79B9BD5F-AD32-4983-B766-2618581E6E66}" type="presOf" srcId="{C7EB6BF0-04B9-4934-B313-6822291244F5}" destId="{5BD4FD18-2269-4842-A78B-7F72574835C3}" srcOrd="0" destOrd="0" presId="urn:microsoft.com/office/officeart/2005/8/layout/radial6"/>
    <dgm:cxn modelId="{433DAE8F-957D-456F-A25B-EA3F6667DAF3}" type="presOf" srcId="{22D8EF76-23C3-4192-9A5F-FD488A9B9D40}" destId="{5DA17500-D49E-42E8-9371-5A936FC467DD}" srcOrd="0" destOrd="0" presId="urn:microsoft.com/office/officeart/2005/8/layout/radial6"/>
    <dgm:cxn modelId="{FE35FC54-E18B-4F8C-9586-54AF2DF6CB58}" type="presOf" srcId="{D6E13883-A963-49F7-B9C6-2682C6F00532}" destId="{984E4F22-C94E-4E55-9DE3-26EE6045FD8C}" srcOrd="0" destOrd="0" presId="urn:microsoft.com/office/officeart/2005/8/layout/radial6"/>
    <dgm:cxn modelId="{D6E58FFE-1774-42B3-97BB-A7B04F44A47B}" type="presParOf" srcId="{905F8087-1839-44E8-A616-08371778027C}" destId="{954F6F85-78F3-4EC1-A159-9F358CA55F68}" srcOrd="0" destOrd="0" presId="urn:microsoft.com/office/officeart/2005/8/layout/radial6"/>
    <dgm:cxn modelId="{5D5782C0-044B-4DCF-A9D1-4C83B8AB1881}" type="presParOf" srcId="{905F8087-1839-44E8-A616-08371778027C}" destId="{984E4F22-C94E-4E55-9DE3-26EE6045FD8C}" srcOrd="1" destOrd="0" presId="urn:microsoft.com/office/officeart/2005/8/layout/radial6"/>
    <dgm:cxn modelId="{8D030856-C49F-451F-AC7D-59C1D125F432}" type="presParOf" srcId="{905F8087-1839-44E8-A616-08371778027C}" destId="{9E8A12A2-0235-481B-99BA-A823A78BC226}" srcOrd="2" destOrd="0" presId="urn:microsoft.com/office/officeart/2005/8/layout/radial6"/>
    <dgm:cxn modelId="{C3BC35CB-82CB-46BB-8D50-959DC3A780B7}" type="presParOf" srcId="{905F8087-1839-44E8-A616-08371778027C}" destId="{E3D6DD2F-4D19-4B97-9C3A-4DBBF81690D3}" srcOrd="3" destOrd="0" presId="urn:microsoft.com/office/officeart/2005/8/layout/radial6"/>
    <dgm:cxn modelId="{7D0A3CF3-BCF6-4F23-AC4F-E8C44684C909}" type="presParOf" srcId="{905F8087-1839-44E8-A616-08371778027C}" destId="{C39708EC-138B-496E-87D2-4DF47D2EFE6D}" srcOrd="4" destOrd="0" presId="urn:microsoft.com/office/officeart/2005/8/layout/radial6"/>
    <dgm:cxn modelId="{52FE62A2-9C1A-4682-8ED8-47D6C4979D36}" type="presParOf" srcId="{905F8087-1839-44E8-A616-08371778027C}" destId="{042EAB78-985E-4530-85CA-3A846160461B}" srcOrd="5" destOrd="0" presId="urn:microsoft.com/office/officeart/2005/8/layout/radial6"/>
    <dgm:cxn modelId="{14D78FDB-C9EC-4B5E-8E2A-98E4ED1E6963}" type="presParOf" srcId="{905F8087-1839-44E8-A616-08371778027C}" destId="{AE7F09C9-59AE-48BA-B6F3-90366CF9A245}" srcOrd="6" destOrd="0" presId="urn:microsoft.com/office/officeart/2005/8/layout/radial6"/>
    <dgm:cxn modelId="{F7EE720D-F363-48E9-A904-7F91C420CBDA}" type="presParOf" srcId="{905F8087-1839-44E8-A616-08371778027C}" destId="{AF2890EA-11C4-48E9-8839-ED5EE6BFB190}" srcOrd="7" destOrd="0" presId="urn:microsoft.com/office/officeart/2005/8/layout/radial6"/>
    <dgm:cxn modelId="{4645E37C-C1F5-4B9A-8FB8-A8F45EB7042E}" type="presParOf" srcId="{905F8087-1839-44E8-A616-08371778027C}" destId="{62887CAD-73E1-4220-B024-3F8B73C06B24}" srcOrd="8" destOrd="0" presId="urn:microsoft.com/office/officeart/2005/8/layout/radial6"/>
    <dgm:cxn modelId="{3AEB83C7-A404-4F60-B858-F0ABAB92AFA4}" type="presParOf" srcId="{905F8087-1839-44E8-A616-08371778027C}" destId="{FBD5B59D-EA82-445B-A1CF-9DC48470DB09}" srcOrd="9" destOrd="0" presId="urn:microsoft.com/office/officeart/2005/8/layout/radial6"/>
    <dgm:cxn modelId="{E3D7B346-03EC-4239-9427-9F927D4F9DA7}" type="presParOf" srcId="{905F8087-1839-44E8-A616-08371778027C}" destId="{5DA17500-D49E-42E8-9371-5A936FC467DD}" srcOrd="10" destOrd="0" presId="urn:microsoft.com/office/officeart/2005/8/layout/radial6"/>
    <dgm:cxn modelId="{AAE7FCA7-0C46-4AF4-B385-B3D1C0BFDAE7}" type="presParOf" srcId="{905F8087-1839-44E8-A616-08371778027C}" destId="{46615D54-3E75-4CFE-A891-0302D911BC19}" srcOrd="11" destOrd="0" presId="urn:microsoft.com/office/officeart/2005/8/layout/radial6"/>
    <dgm:cxn modelId="{7575BE01-F314-4EE1-AB67-4E24C78F116F}" type="presParOf" srcId="{905F8087-1839-44E8-A616-08371778027C}" destId="{5BD4FD18-2269-4842-A78B-7F72574835C3}" srcOrd="12" destOrd="0" presId="urn:microsoft.com/office/officeart/2005/8/layout/radial6"/>
  </dgm:cxnLst>
  <dgm:bg/>
  <dgm:whole/>
  <dgm:extLst>
    <a:ext uri="{C62137D5-CB1D-491B-B009-E17868A290BF}">
      <dgm14:recolorImg xmlns:dgm14="http://schemas.microsoft.com/office/drawing/2010/diagram" xmlns="" val="1"/>
    </a:ex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631D3B6-4CF2-4F87-8852-9F19A2034E1F}">
      <dsp:nvSpPr>
        <dsp:cNvPr id="0" name=""/>
        <dsp:cNvSpPr/>
      </dsp:nvSpPr>
      <dsp:spPr>
        <a:xfrm>
          <a:off x="-5759287" y="-613885"/>
          <a:ext cx="6856694" cy="6856694"/>
        </a:xfrm>
        <a:prstGeom prst="blockArc">
          <a:avLst>
            <a:gd name="adj1" fmla="val 18900000"/>
            <a:gd name="adj2" fmla="val 2700000"/>
            <a:gd name="adj3" fmla="val 315"/>
          </a:avLst>
        </a:prstGeom>
        <a:noFill/>
        <a:ln w="25400" cap="flat" cmpd="sng" algn="ctr">
          <a:solidFill>
            <a:srgbClr val="00B0F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7281F0-0144-49A8-98BD-1DDBD0C6317D}">
      <dsp:nvSpPr>
        <dsp:cNvPr id="0" name=""/>
        <dsp:cNvSpPr/>
      </dsp:nvSpPr>
      <dsp:spPr>
        <a:xfrm>
          <a:off x="539503" y="390664"/>
          <a:ext cx="3399466" cy="1125679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1991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>
            <a:solidFill>
              <a:schemeClr val="bg1"/>
            </a:solidFill>
          </a:endParaRPr>
        </a:p>
      </dsp:txBody>
      <dsp:txXfrm>
        <a:off x="539503" y="390664"/>
        <a:ext cx="3399466" cy="1125679"/>
      </dsp:txXfrm>
    </dsp:sp>
    <dsp:sp modelId="{0BE2FBA9-650A-47F8-A108-2A485A850CF5}">
      <dsp:nvSpPr>
        <dsp:cNvPr id="0" name=""/>
        <dsp:cNvSpPr/>
      </dsp:nvSpPr>
      <dsp:spPr>
        <a:xfrm>
          <a:off x="30181" y="455244"/>
          <a:ext cx="979512" cy="97951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F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30C801-A2BC-4EEB-BB99-41B4A762E989}">
      <dsp:nvSpPr>
        <dsp:cNvPr id="0" name=""/>
        <dsp:cNvSpPr/>
      </dsp:nvSpPr>
      <dsp:spPr>
        <a:xfrm>
          <a:off x="1013648" y="1564031"/>
          <a:ext cx="2979797" cy="894068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1991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1013648" y="1564031"/>
        <a:ext cx="2979797" cy="894068"/>
      </dsp:txXfrm>
    </dsp:sp>
    <dsp:sp modelId="{C2DA786E-64BE-415A-BF18-E9BCE05D0AF7}">
      <dsp:nvSpPr>
        <dsp:cNvPr id="0" name=""/>
        <dsp:cNvSpPr/>
      </dsp:nvSpPr>
      <dsp:spPr>
        <a:xfrm>
          <a:off x="420222" y="1699605"/>
          <a:ext cx="979512" cy="97951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F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67586EC-0797-4885-8A6C-9A10A5284828}">
      <dsp:nvSpPr>
        <dsp:cNvPr id="0" name=""/>
        <dsp:cNvSpPr/>
      </dsp:nvSpPr>
      <dsp:spPr>
        <a:xfrm>
          <a:off x="1018728" y="2875309"/>
          <a:ext cx="2969636" cy="1023426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1991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/>
        </a:p>
      </dsp:txBody>
      <dsp:txXfrm>
        <a:off x="1018728" y="2875309"/>
        <a:ext cx="2969636" cy="1023426"/>
      </dsp:txXfrm>
    </dsp:sp>
    <dsp:sp modelId="{4761D43C-DDFA-44E8-89AF-437BC640445E}">
      <dsp:nvSpPr>
        <dsp:cNvPr id="0" name=""/>
        <dsp:cNvSpPr/>
      </dsp:nvSpPr>
      <dsp:spPr>
        <a:xfrm>
          <a:off x="533933" y="3060725"/>
          <a:ext cx="979512" cy="97951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F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689170-E54F-42C3-A364-371A5F31C16B}">
      <dsp:nvSpPr>
        <dsp:cNvPr id="0" name=""/>
        <dsp:cNvSpPr/>
      </dsp:nvSpPr>
      <dsp:spPr>
        <a:xfrm>
          <a:off x="559220" y="4346020"/>
          <a:ext cx="3429025" cy="1015276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1991" tIns="30480" rIns="30480" bIns="3048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kern="1200" dirty="0">
            <a:cs typeface="Corbel"/>
          </a:endParaRPr>
        </a:p>
      </dsp:txBody>
      <dsp:txXfrm>
        <a:off x="559220" y="4346020"/>
        <a:ext cx="3429025" cy="1015276"/>
      </dsp:txXfrm>
    </dsp:sp>
    <dsp:sp modelId="{34A2B06D-77CF-44A9-BA2A-C722BF0B047F}">
      <dsp:nvSpPr>
        <dsp:cNvPr id="0" name=""/>
        <dsp:cNvSpPr/>
      </dsp:nvSpPr>
      <dsp:spPr>
        <a:xfrm>
          <a:off x="9102" y="4398542"/>
          <a:ext cx="979512" cy="97951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rgbClr val="00B0F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BD4FD18-2269-4842-A78B-7F72574835C3}">
      <dsp:nvSpPr>
        <dsp:cNvPr id="0" name=""/>
        <dsp:cNvSpPr/>
      </dsp:nvSpPr>
      <dsp:spPr>
        <a:xfrm>
          <a:off x="1522373" y="441651"/>
          <a:ext cx="2939818" cy="2939818"/>
        </a:xfrm>
        <a:prstGeom prst="blockArc">
          <a:avLst>
            <a:gd name="adj1" fmla="val 10800000"/>
            <a:gd name="adj2" fmla="val 16200000"/>
            <a:gd name="adj3" fmla="val 4644"/>
          </a:avLst>
        </a:prstGeom>
        <a:solidFill>
          <a:schemeClr val="tx2">
            <a:lumMod val="40000"/>
            <a:lumOff val="60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BD5B59D-EA82-445B-A1CF-9DC48470DB09}">
      <dsp:nvSpPr>
        <dsp:cNvPr id="0" name=""/>
        <dsp:cNvSpPr/>
      </dsp:nvSpPr>
      <dsp:spPr>
        <a:xfrm>
          <a:off x="1522373" y="441651"/>
          <a:ext cx="2939818" cy="2939818"/>
        </a:xfrm>
        <a:prstGeom prst="blockArc">
          <a:avLst>
            <a:gd name="adj1" fmla="val 5400000"/>
            <a:gd name="adj2" fmla="val 10800000"/>
            <a:gd name="adj3" fmla="val 4644"/>
          </a:avLst>
        </a:prstGeom>
        <a:solidFill>
          <a:schemeClr val="tx2">
            <a:lumMod val="40000"/>
            <a:lumOff val="60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E7F09C9-59AE-48BA-B6F3-90366CF9A245}">
      <dsp:nvSpPr>
        <dsp:cNvPr id="0" name=""/>
        <dsp:cNvSpPr/>
      </dsp:nvSpPr>
      <dsp:spPr>
        <a:xfrm>
          <a:off x="1522373" y="441651"/>
          <a:ext cx="2939818" cy="2939818"/>
        </a:xfrm>
        <a:prstGeom prst="blockArc">
          <a:avLst>
            <a:gd name="adj1" fmla="val 0"/>
            <a:gd name="adj2" fmla="val 5400000"/>
            <a:gd name="adj3" fmla="val 4644"/>
          </a:avLst>
        </a:prstGeom>
        <a:solidFill>
          <a:schemeClr val="tx2">
            <a:lumMod val="40000"/>
            <a:lumOff val="60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E3D6DD2F-4D19-4B97-9C3A-4DBBF81690D3}">
      <dsp:nvSpPr>
        <dsp:cNvPr id="0" name=""/>
        <dsp:cNvSpPr/>
      </dsp:nvSpPr>
      <dsp:spPr>
        <a:xfrm>
          <a:off x="1522373" y="441651"/>
          <a:ext cx="2939818" cy="2939818"/>
        </a:xfrm>
        <a:prstGeom prst="blockArc">
          <a:avLst>
            <a:gd name="adj1" fmla="val 16200000"/>
            <a:gd name="adj2" fmla="val 0"/>
            <a:gd name="adj3" fmla="val 4644"/>
          </a:avLst>
        </a:prstGeom>
        <a:solidFill>
          <a:schemeClr val="tx2">
            <a:lumMod val="40000"/>
            <a:lumOff val="6000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954F6F85-78F3-4EC1-A159-9F358CA55F68}">
      <dsp:nvSpPr>
        <dsp:cNvPr id="0" name=""/>
        <dsp:cNvSpPr/>
      </dsp:nvSpPr>
      <dsp:spPr>
        <a:xfrm>
          <a:off x="2369684" y="1306596"/>
          <a:ext cx="1245196" cy="1161168"/>
        </a:xfrm>
        <a:prstGeom prst="ellipse">
          <a:avLst/>
        </a:prstGeom>
        <a:solidFill>
          <a:srgbClr val="00B0F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1200" b="1" kern="1200" dirty="0"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  <a:sym typeface="Helvetica Neue Medium"/>
            </a:rPr>
            <a:t>POBÍDKY</a:t>
          </a:r>
          <a:endParaRPr lang="ru-RU" sz="4400" kern="1200" dirty="0">
            <a:latin typeface="Century Gothic" panose="020B0502020202020204" pitchFamily="34" charset="0"/>
          </a:endParaRPr>
        </a:p>
      </dsp:txBody>
      <dsp:txXfrm>
        <a:off x="2369684" y="1306596"/>
        <a:ext cx="1245196" cy="1161168"/>
      </dsp:txXfrm>
    </dsp:sp>
    <dsp:sp modelId="{984E4F22-C94E-4E55-9DE3-26EE6045FD8C}">
      <dsp:nvSpPr>
        <dsp:cNvPr id="0" name=""/>
        <dsp:cNvSpPr/>
      </dsp:nvSpPr>
      <dsp:spPr>
        <a:xfrm>
          <a:off x="2518236" y="1736"/>
          <a:ext cx="948091" cy="948091"/>
        </a:xfrm>
        <a:prstGeom prst="ellipse">
          <a:avLst/>
        </a:prstGeom>
        <a:solidFill>
          <a:srgbClr val="00B0F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b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800" b="1" kern="1200" dirty="0"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Fira Sans Bold"/>
            </a:rPr>
            <a:t>0% DAŇ Z POZEMKŮ, 0% DPH</a:t>
          </a:r>
          <a:endParaRPr lang="ru-RU" sz="700" kern="1200" dirty="0">
            <a:latin typeface="Century Gothic" panose="020B0502020202020204" pitchFamily="34" charset="0"/>
          </a:endParaRPr>
        </a:p>
      </dsp:txBody>
      <dsp:txXfrm>
        <a:off x="2518236" y="1736"/>
        <a:ext cx="948091" cy="948091"/>
      </dsp:txXfrm>
    </dsp:sp>
    <dsp:sp modelId="{C39708EC-138B-496E-87D2-4DF47D2EFE6D}">
      <dsp:nvSpPr>
        <dsp:cNvPr id="0" name=""/>
        <dsp:cNvSpPr/>
      </dsp:nvSpPr>
      <dsp:spPr>
        <a:xfrm>
          <a:off x="3954014" y="1437514"/>
          <a:ext cx="948091" cy="948091"/>
        </a:xfrm>
        <a:prstGeom prst="ellipse">
          <a:avLst/>
        </a:prstGeom>
        <a:solidFill>
          <a:srgbClr val="00B0F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b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700" b="1" kern="1200" dirty="0"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Fira Sans Bold"/>
            </a:rPr>
            <a:t>0% DAŇ Z NEMOVITOSTI</a:t>
          </a:r>
          <a:endParaRPr lang="ru-RU" sz="600" kern="1200" dirty="0">
            <a:latin typeface="Century Gothic" panose="020B0502020202020204" pitchFamily="34" charset="0"/>
          </a:endParaRPr>
        </a:p>
      </dsp:txBody>
      <dsp:txXfrm>
        <a:off x="3954014" y="1437514"/>
        <a:ext cx="948091" cy="948091"/>
      </dsp:txXfrm>
    </dsp:sp>
    <dsp:sp modelId="{AF2890EA-11C4-48E9-8839-ED5EE6BFB190}">
      <dsp:nvSpPr>
        <dsp:cNvPr id="0" name=""/>
        <dsp:cNvSpPr/>
      </dsp:nvSpPr>
      <dsp:spPr>
        <a:xfrm>
          <a:off x="2518236" y="2873292"/>
          <a:ext cx="948091" cy="948091"/>
        </a:xfrm>
        <a:prstGeom prst="ellipse">
          <a:avLst/>
        </a:prstGeom>
        <a:solidFill>
          <a:srgbClr val="00B0F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b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800" b="1" kern="1200" dirty="0"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Fira Sans Bold"/>
            </a:rPr>
            <a:t>0% CLA</a:t>
          </a:r>
          <a:endParaRPr lang="ru-RU" sz="700" kern="1200" dirty="0">
            <a:latin typeface="Century Gothic" panose="020B0502020202020204" pitchFamily="34" charset="0"/>
          </a:endParaRPr>
        </a:p>
      </dsp:txBody>
      <dsp:txXfrm>
        <a:off x="2518236" y="2873292"/>
        <a:ext cx="948091" cy="948091"/>
      </dsp:txXfrm>
    </dsp:sp>
    <dsp:sp modelId="{5DA17500-D49E-42E8-9371-5A936FC467DD}">
      <dsp:nvSpPr>
        <dsp:cNvPr id="0" name=""/>
        <dsp:cNvSpPr/>
      </dsp:nvSpPr>
      <dsp:spPr>
        <a:xfrm>
          <a:off x="1082458" y="1437514"/>
          <a:ext cx="948091" cy="948091"/>
        </a:xfrm>
        <a:prstGeom prst="ellipse">
          <a:avLst/>
        </a:prstGeom>
        <a:solidFill>
          <a:srgbClr val="00B0F0"/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b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800" b="1" kern="1200" dirty="0"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Fira Sans Bold"/>
            </a:rPr>
            <a:t>0%</a:t>
          </a:r>
          <a:r>
            <a:rPr lang="it-IT" sz="900" b="1" kern="1200" dirty="0"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Fira Sans Bold"/>
            </a:rPr>
            <a:t> CIT</a:t>
          </a:r>
          <a:endParaRPr lang="ru-RU" sz="900" kern="1200" dirty="0">
            <a:latin typeface="Century Gothic" panose="020B0502020202020204" pitchFamily="34" charset="0"/>
          </a:endParaRPr>
        </a:p>
      </dsp:txBody>
      <dsp:txXfrm>
        <a:off x="1082458" y="1437514"/>
        <a:ext cx="948091" cy="94809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1501</cdr:x>
      <cdr:y>0.21911</cdr:y>
    </cdr:from>
    <cdr:to>
      <cdr:x>0.95181</cdr:x>
      <cdr:y>0.36232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5741191" y="594247"/>
          <a:ext cx="230850" cy="38839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solidFill>
            <a:schemeClr val="accent1">
              <a:lumMod val="60000"/>
              <a:lumOff val="40000"/>
            </a:schemeClr>
          </a:solidFill>
          <a:prstDash val="sys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51163" cy="49847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6038" y="1"/>
            <a:ext cx="2951162" cy="49847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1701A383-EE41-4A1E-865D-6F6C636A7E45}" type="datetimeFigureOut">
              <a:rPr lang="ru-RU" smtClean="0"/>
              <a:pPr/>
              <a:t>18.06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42450"/>
            <a:ext cx="2951163" cy="49847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6038" y="9442450"/>
            <a:ext cx="2951162" cy="49847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54B144B6-5136-464D-A4CC-0B6B37FF59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58874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475" cy="49877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8" y="0"/>
            <a:ext cx="2950475" cy="49877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2BFB9C2C-7B92-4E23-85CE-A8A76C9FC984}" type="datetimeFigureOut">
              <a:rPr lang="ru-RU" smtClean="0"/>
              <a:pPr/>
              <a:t>18.06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4238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84071"/>
            <a:ext cx="5447030" cy="391423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2154"/>
            <a:ext cx="2950475" cy="498772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8" y="9442154"/>
            <a:ext cx="2950475" cy="498772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4F256805-EAF3-4EA0-9120-CA2682B1918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61631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56805-EAF3-4EA0-9120-CA2682B19184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38358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134">
              <a:defRPr/>
            </a:pPr>
            <a:fld id="{F94435E1-351A-4251-BBD1-1037232DBA8C}" type="slidenum">
              <a:rPr lang="ru-RU">
                <a:solidFill>
                  <a:prstClr val="black"/>
                </a:solidFill>
                <a:latin typeface="Calibri"/>
              </a:rPr>
              <a:pPr defTabSz="931134">
                <a:defRPr/>
              </a:pPr>
              <a:t>6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90259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56805-EAF3-4EA0-9120-CA2682B19184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820408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56805-EAF3-4EA0-9120-CA2682B19184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437309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56805-EAF3-4EA0-9120-CA2682B19184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669534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F86FB-A425-46EC-9800-451898A27AFF}" type="datetime1">
              <a:rPr lang="ru-RU" smtClean="0"/>
              <a:pPr/>
              <a:t>18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2F61F-6F30-46DE-B748-EED16E19EC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365248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5592F1-11FB-46F1-AB37-60E38450602B}" type="datetime1">
              <a:rPr lang="ru-RU" smtClean="0"/>
              <a:pPr/>
              <a:t>18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2F61F-6F30-46DE-B748-EED16E19EC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430855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06375"/>
            <a:ext cx="2743200" cy="4387851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06375"/>
            <a:ext cx="8026400" cy="4387851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B65F1-53C1-442E-84C2-DCC717D56155}" type="datetime1">
              <a:rPr lang="ru-RU" smtClean="0"/>
              <a:pPr/>
              <a:t>18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2F61F-6F30-46DE-B748-EED16E19EC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734701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D752F8-7ACD-4C2C-BAF5-1C5239BB7C40}" type="datetime1">
              <a:rPr lang="ru-RU" smtClean="0"/>
              <a:pPr/>
              <a:t>18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2F61F-6F30-46DE-B748-EED16E19EC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270038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D08521-CA51-4A47-82C3-218C688D7122}" type="datetime1">
              <a:rPr lang="ru-RU" smtClean="0"/>
              <a:pPr/>
              <a:t>18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2F61F-6F30-46DE-B748-EED16E19EC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627280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200151"/>
            <a:ext cx="5384800" cy="33940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200151"/>
            <a:ext cx="5384800" cy="3394075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8F10BB-349D-41A7-B8ED-081B2E064F02}" type="datetime1">
              <a:rPr lang="ru-RU" smtClean="0"/>
              <a:pPr/>
              <a:t>18.06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2F61F-6F30-46DE-B748-EED16E19EC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158376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43260-D247-4838-8F98-8178655A4013}" type="datetime1">
              <a:rPr lang="ru-RU" smtClean="0"/>
              <a:pPr/>
              <a:t>18.06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2F61F-6F30-46DE-B748-EED16E19EC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021266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D06982-A9DD-4A52-BED2-A7A83E4F8DB3}" type="datetime1">
              <a:rPr lang="ru-RU" smtClean="0"/>
              <a:pPr/>
              <a:t>18.06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2F61F-6F30-46DE-B748-EED16E19EC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818685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3E558-3598-4F51-8C59-17119EB8230B}" type="datetime1">
              <a:rPr lang="ru-RU" smtClean="0"/>
              <a:pPr/>
              <a:t>18.06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2F61F-6F30-46DE-B748-EED16E19EC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77492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18B7C-184F-42E4-AA4C-FCB4B01782C4}" type="datetime1">
              <a:rPr lang="ru-RU" smtClean="0"/>
              <a:pPr/>
              <a:t>18.06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2F61F-6F30-46DE-B748-EED16E19EC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341519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20026-50E2-439C-AB8F-7C933CADC50A}" type="datetime1">
              <a:rPr lang="ru-RU" smtClean="0"/>
              <a:pPr/>
              <a:t>18.06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42F61F-6F30-46DE-B748-EED16E19EC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055994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9FE94E-06A5-4974-B968-6A97A164B2DC}" type="datetime1">
              <a:rPr lang="ru-RU" smtClean="0"/>
              <a:pPr/>
              <a:t>18.06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42F61F-6F30-46DE-B748-EED16E19EC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46726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7" Type="http://schemas.openxmlformats.org/officeDocument/2006/relationships/image" Target="../media/image97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13" Type="http://schemas.openxmlformats.org/officeDocument/2006/relationships/image" Target="../media/image104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103.png"/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102.png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101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100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jpeg"/><Relationship Id="rId13" Type="http://schemas.openxmlformats.org/officeDocument/2006/relationships/image" Target="../media/image112.png"/><Relationship Id="rId3" Type="http://schemas.openxmlformats.org/officeDocument/2006/relationships/tags" Target="../tags/tag32.xml"/><Relationship Id="rId7" Type="http://schemas.openxmlformats.org/officeDocument/2006/relationships/image" Target="../media/image106.jpeg"/><Relationship Id="rId12" Type="http://schemas.openxmlformats.org/officeDocument/2006/relationships/image" Target="../media/image111.jpeg"/><Relationship Id="rId17" Type="http://schemas.openxmlformats.org/officeDocument/2006/relationships/image" Target="../media/image116.png"/><Relationship Id="rId2" Type="http://schemas.openxmlformats.org/officeDocument/2006/relationships/tags" Target="../tags/tag31.xml"/><Relationship Id="rId16" Type="http://schemas.openxmlformats.org/officeDocument/2006/relationships/image" Target="../media/image115.png"/><Relationship Id="rId1" Type="http://schemas.openxmlformats.org/officeDocument/2006/relationships/tags" Target="../tags/tag30.xml"/><Relationship Id="rId6" Type="http://schemas.openxmlformats.org/officeDocument/2006/relationships/image" Target="../media/image105.jpeg"/><Relationship Id="rId11" Type="http://schemas.openxmlformats.org/officeDocument/2006/relationships/image" Target="../media/image110.png"/><Relationship Id="rId5" Type="http://schemas.openxmlformats.org/officeDocument/2006/relationships/notesSlide" Target="../notesSlides/notesSlide5.xml"/><Relationship Id="rId15" Type="http://schemas.openxmlformats.org/officeDocument/2006/relationships/image" Target="../media/image114.jpeg"/><Relationship Id="rId10" Type="http://schemas.openxmlformats.org/officeDocument/2006/relationships/image" Target="../media/image109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08.jpeg"/><Relationship Id="rId14" Type="http://schemas.openxmlformats.org/officeDocument/2006/relationships/image" Target="../media/image113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image" Target="../media/image119.png"/><Relationship Id="rId18" Type="http://schemas.openxmlformats.org/officeDocument/2006/relationships/image" Target="../media/image124.png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image" Target="../media/image118.png"/><Relationship Id="rId17" Type="http://schemas.openxmlformats.org/officeDocument/2006/relationships/image" Target="../media/image123.png"/><Relationship Id="rId2" Type="http://schemas.openxmlformats.org/officeDocument/2006/relationships/tags" Target="../tags/tag34.xml"/><Relationship Id="rId16" Type="http://schemas.openxmlformats.org/officeDocument/2006/relationships/image" Target="../media/image122.png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image" Target="../media/image117.png"/><Relationship Id="rId5" Type="http://schemas.openxmlformats.org/officeDocument/2006/relationships/tags" Target="../tags/tag37.xml"/><Relationship Id="rId15" Type="http://schemas.openxmlformats.org/officeDocument/2006/relationships/image" Target="../media/image121.png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image" Target="../media/image12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2.xml"/><Relationship Id="rId4" Type="http://schemas.openxmlformats.org/officeDocument/2006/relationships/image" Target="../media/image12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jpeg"/><Relationship Id="rId3" Type="http://schemas.openxmlformats.org/officeDocument/2006/relationships/tags" Target="../tags/tag3.xml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tags" Target="../tags/tag2.xml"/><Relationship Id="rId16" Type="http://schemas.openxmlformats.org/officeDocument/2006/relationships/image" Target="../media/image12.png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11" Type="http://schemas.openxmlformats.org/officeDocument/2006/relationships/image" Target="../media/image8.png"/><Relationship Id="rId5" Type="http://schemas.openxmlformats.org/officeDocument/2006/relationships/image" Target="../media/image2.png"/><Relationship Id="rId15" Type="http://schemas.openxmlformats.org/officeDocument/2006/relationships/chart" Target="../charts/chart1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6.png"/><Relationship Id="rId14" Type="http://schemas.openxmlformats.org/officeDocument/2006/relationships/image" Target="../media/image11.gi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26" Type="http://schemas.openxmlformats.org/officeDocument/2006/relationships/image" Target="../media/image36.png"/><Relationship Id="rId39" Type="http://schemas.openxmlformats.org/officeDocument/2006/relationships/image" Target="../media/image49.png"/><Relationship Id="rId3" Type="http://schemas.openxmlformats.org/officeDocument/2006/relationships/image" Target="../media/image13.png"/><Relationship Id="rId21" Type="http://schemas.openxmlformats.org/officeDocument/2006/relationships/image" Target="../media/image31.png"/><Relationship Id="rId34" Type="http://schemas.openxmlformats.org/officeDocument/2006/relationships/image" Target="../media/image44.png"/><Relationship Id="rId42" Type="http://schemas.openxmlformats.org/officeDocument/2006/relationships/image" Target="../media/image52.jpe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5" Type="http://schemas.openxmlformats.org/officeDocument/2006/relationships/image" Target="../media/image35.png"/><Relationship Id="rId33" Type="http://schemas.openxmlformats.org/officeDocument/2006/relationships/image" Target="../media/image43.jpeg"/><Relationship Id="rId38" Type="http://schemas.openxmlformats.org/officeDocument/2006/relationships/image" Target="../media/image48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29" Type="http://schemas.openxmlformats.org/officeDocument/2006/relationships/image" Target="../media/image39.png"/><Relationship Id="rId41" Type="http://schemas.openxmlformats.org/officeDocument/2006/relationships/image" Target="../media/image5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24" Type="http://schemas.openxmlformats.org/officeDocument/2006/relationships/image" Target="../media/image34.jpeg"/><Relationship Id="rId32" Type="http://schemas.openxmlformats.org/officeDocument/2006/relationships/image" Target="../media/image42.png"/><Relationship Id="rId37" Type="http://schemas.openxmlformats.org/officeDocument/2006/relationships/image" Target="../media/image47.png"/><Relationship Id="rId40" Type="http://schemas.openxmlformats.org/officeDocument/2006/relationships/image" Target="../media/image50.png"/><Relationship Id="rId5" Type="http://schemas.openxmlformats.org/officeDocument/2006/relationships/image" Target="../media/image15.png"/><Relationship Id="rId15" Type="http://schemas.openxmlformats.org/officeDocument/2006/relationships/image" Target="../media/image25.png"/><Relationship Id="rId23" Type="http://schemas.openxmlformats.org/officeDocument/2006/relationships/image" Target="../media/image33.png"/><Relationship Id="rId28" Type="http://schemas.openxmlformats.org/officeDocument/2006/relationships/image" Target="../media/image38.jpeg"/><Relationship Id="rId36" Type="http://schemas.openxmlformats.org/officeDocument/2006/relationships/image" Target="../media/image46.jpeg"/><Relationship Id="rId10" Type="http://schemas.openxmlformats.org/officeDocument/2006/relationships/image" Target="../media/image20.png"/><Relationship Id="rId19" Type="http://schemas.openxmlformats.org/officeDocument/2006/relationships/image" Target="../media/image29.png"/><Relationship Id="rId31" Type="http://schemas.openxmlformats.org/officeDocument/2006/relationships/image" Target="../media/image41.png"/><Relationship Id="rId44" Type="http://schemas.openxmlformats.org/officeDocument/2006/relationships/image" Target="../media/image54.png"/><Relationship Id="rId4" Type="http://schemas.openxmlformats.org/officeDocument/2006/relationships/image" Target="../media/image14.jpeg"/><Relationship Id="rId9" Type="http://schemas.openxmlformats.org/officeDocument/2006/relationships/image" Target="../media/image19.png"/><Relationship Id="rId14" Type="http://schemas.openxmlformats.org/officeDocument/2006/relationships/image" Target="../media/image24.png"/><Relationship Id="rId22" Type="http://schemas.openxmlformats.org/officeDocument/2006/relationships/image" Target="../media/image32.png"/><Relationship Id="rId27" Type="http://schemas.openxmlformats.org/officeDocument/2006/relationships/image" Target="../media/image37.png"/><Relationship Id="rId30" Type="http://schemas.openxmlformats.org/officeDocument/2006/relationships/image" Target="../media/image40.png"/><Relationship Id="rId35" Type="http://schemas.openxmlformats.org/officeDocument/2006/relationships/image" Target="../media/image45.jpeg"/><Relationship Id="rId43" Type="http://schemas.openxmlformats.org/officeDocument/2006/relationships/image" Target="../media/image53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png"/><Relationship Id="rId3" Type="http://schemas.openxmlformats.org/officeDocument/2006/relationships/tags" Target="../tags/tag6.xml"/><Relationship Id="rId7" Type="http://schemas.openxmlformats.org/officeDocument/2006/relationships/image" Target="../media/image56.png"/><Relationship Id="rId12" Type="http://schemas.openxmlformats.org/officeDocument/2006/relationships/image" Target="../media/image61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microsoft.com/office/2007/relationships/hdphoto" Target="../media/hdphoto1.wdp"/><Relationship Id="rId11" Type="http://schemas.openxmlformats.org/officeDocument/2006/relationships/image" Target="../media/image60.png"/><Relationship Id="rId5" Type="http://schemas.openxmlformats.org/officeDocument/2006/relationships/image" Target="../media/image55.png"/><Relationship Id="rId10" Type="http://schemas.openxmlformats.org/officeDocument/2006/relationships/image" Target="../media/image59.jpe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5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69.png"/><Relationship Id="rId3" Type="http://schemas.openxmlformats.org/officeDocument/2006/relationships/tags" Target="../tags/tag9.xml"/><Relationship Id="rId7" Type="http://schemas.openxmlformats.org/officeDocument/2006/relationships/image" Target="../media/image63.jpeg"/><Relationship Id="rId12" Type="http://schemas.openxmlformats.org/officeDocument/2006/relationships/image" Target="../media/image68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67.png"/><Relationship Id="rId5" Type="http://schemas.openxmlformats.org/officeDocument/2006/relationships/tags" Target="../tags/tag11.xml"/><Relationship Id="rId15" Type="http://schemas.microsoft.com/office/2007/relationships/hdphoto" Target="../media/hdphoto2.wdp"/><Relationship Id="rId10" Type="http://schemas.openxmlformats.org/officeDocument/2006/relationships/image" Target="../media/image66.png"/><Relationship Id="rId4" Type="http://schemas.openxmlformats.org/officeDocument/2006/relationships/tags" Target="../tags/tag10.xml"/><Relationship Id="rId9" Type="http://schemas.openxmlformats.org/officeDocument/2006/relationships/image" Target="../media/image65.png"/><Relationship Id="rId14" Type="http://schemas.openxmlformats.org/officeDocument/2006/relationships/image" Target="../media/image7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13" Type="http://schemas.openxmlformats.org/officeDocument/2006/relationships/image" Target="../media/image75.jpeg"/><Relationship Id="rId3" Type="http://schemas.openxmlformats.org/officeDocument/2006/relationships/tags" Target="../tags/tag14.xml"/><Relationship Id="rId7" Type="http://schemas.openxmlformats.org/officeDocument/2006/relationships/notesSlide" Target="../notesSlides/notesSlide2.xml"/><Relationship Id="rId12" Type="http://schemas.openxmlformats.org/officeDocument/2006/relationships/image" Target="../media/image74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73.png"/><Relationship Id="rId5" Type="http://schemas.openxmlformats.org/officeDocument/2006/relationships/tags" Target="../tags/tag16.xml"/><Relationship Id="rId10" Type="http://schemas.openxmlformats.org/officeDocument/2006/relationships/image" Target="../media/image72.png"/><Relationship Id="rId4" Type="http://schemas.openxmlformats.org/officeDocument/2006/relationships/tags" Target="../tags/tag15.xml"/><Relationship Id="rId9" Type="http://schemas.openxmlformats.org/officeDocument/2006/relationships/image" Target="../media/image7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9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diagramColors" Target="../diagrams/colors1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diagramQuickStyle" Target="../diagrams/quickStyle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diagramLayout" Target="../diagrams/layout1.xml"/><Relationship Id="rId5" Type="http://schemas.openxmlformats.org/officeDocument/2006/relationships/tags" Target="../tags/tag23.xml"/><Relationship Id="rId10" Type="http://schemas.openxmlformats.org/officeDocument/2006/relationships/diagramData" Target="../diagrams/data1.xml"/><Relationship Id="rId4" Type="http://schemas.openxmlformats.org/officeDocument/2006/relationships/tags" Target="../tags/tag22.xml"/><Relationship Id="rId9" Type="http://schemas.openxmlformats.org/officeDocument/2006/relationships/notesSlide" Target="../notesSlides/notesSlide3.xml"/><Relationship Id="rId14" Type="http://schemas.microsoft.com/office/2007/relationships/diagramDrawing" Target="../diagrams/drawing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13" Type="http://schemas.openxmlformats.org/officeDocument/2006/relationships/image" Target="../media/image86.png"/><Relationship Id="rId3" Type="http://schemas.openxmlformats.org/officeDocument/2006/relationships/tags" Target="../tags/tag28.xml"/><Relationship Id="rId7" Type="http://schemas.openxmlformats.org/officeDocument/2006/relationships/image" Target="../media/image81.png"/><Relationship Id="rId12" Type="http://schemas.openxmlformats.org/officeDocument/2006/relationships/image" Target="../media/image85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84.png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88.jpeg"/><Relationship Id="rId10" Type="http://schemas.openxmlformats.org/officeDocument/2006/relationships/image" Target="../media/image83.png"/><Relationship Id="rId4" Type="http://schemas.openxmlformats.org/officeDocument/2006/relationships/tags" Target="../tags/tag29.xml"/><Relationship Id="rId9" Type="http://schemas.microsoft.com/office/2007/relationships/hdphoto" Target="../media/hdphoto3.wdp"/><Relationship Id="rId14" Type="http://schemas.openxmlformats.org/officeDocument/2006/relationships/image" Target="../media/image8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0" name="Picture 12" descr="Astana Expo | Guardian Glass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36446" y="-99392"/>
            <a:ext cx="12353126" cy="6967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4799856" y="4869160"/>
            <a:ext cx="7464152" cy="783193"/>
          </a:xfrm>
          <a:prstGeom prst="round2DiagRect">
            <a:avLst/>
          </a:prstGeom>
          <a:solidFill>
            <a:schemeClr val="bg1">
              <a:alpha val="91000"/>
            </a:schemeClr>
          </a:solidFill>
        </p:spPr>
        <p:txBody>
          <a:bodyPr wrap="square" rtlCol="0">
            <a:spAutoFit/>
          </a:bodyPr>
          <a:lstStyle/>
          <a:p>
            <a:pPr algn="ctr" defTabSz="1100639" hangingPunct="0">
              <a:defRPr/>
            </a:pPr>
            <a:r>
              <a:rPr lang="en-US" sz="4000" b="1" i="1" kern="0" dirty="0">
                <a:solidFill>
                  <a:srgbClr val="00B0F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INVESTUJTE V KAZACHSTÁNU</a:t>
            </a:r>
          </a:p>
        </p:txBody>
      </p:sp>
      <p:sp>
        <p:nvSpPr>
          <p:cNvPr id="11" name="AutoShape 4" descr="strategy2050.k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AutoShape 6" descr="C:\Users\Stazher\Desktop\1200xauto_3NHIUzAd9E6VkS9qZWGdVXjJmVIwsBT17NXTuzZ0.png.webp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866810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Прямоугольник 51"/>
          <p:cNvSpPr/>
          <p:nvPr/>
        </p:nvSpPr>
        <p:spPr>
          <a:xfrm>
            <a:off x="8256240" y="3266869"/>
            <a:ext cx="3739390" cy="33174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spcAft>
                <a:spcPts val="800"/>
              </a:spcAft>
              <a:defRPr/>
            </a:pPr>
            <a:endParaRPr lang="en-US" sz="1467" b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190301" y="3266869"/>
            <a:ext cx="3739390" cy="33174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24362" y="3266869"/>
            <a:ext cx="3739390" cy="33174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Номер слайда 32"/>
          <p:cNvSpPr>
            <a:spLocks noGrp="1"/>
          </p:cNvSpPr>
          <p:nvPr>
            <p:ph type="sldNum" sz="quarter" idx="12"/>
          </p:nvPr>
        </p:nvSpPr>
        <p:spPr>
          <a:xfrm>
            <a:off x="9448799" y="6330744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BC0DC2-9AC7-4AF2-ABC3-6798633670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064040" y="1629846"/>
            <a:ext cx="2288544" cy="66525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8256240" y="5847674"/>
            <a:ext cx="3709767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spcAft>
                <a:spcPts val="800"/>
              </a:spcAft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KONEČNÉ OCENĚNÍ DO 6 MĚSÍCŮ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6463" y="1630554"/>
            <a:ext cx="1895186" cy="618836"/>
          </a:xfrm>
          <a:prstGeom prst="rect">
            <a:avLst/>
          </a:prstGeom>
        </p:spPr>
      </p:pic>
      <p:sp>
        <p:nvSpPr>
          <p:cNvPr id="163" name="TextBox 162">
            <a:extLst>
              <a:ext uri="{FF2B5EF4-FFF2-40B4-BE49-F238E27FC236}">
                <a16:creationId xmlns:a16="http://schemas.microsoft.com/office/drawing/2014/main" xmlns="" id="{0D78A03F-6073-4227-A3BF-1F26BFBAF1AC}"/>
              </a:ext>
            </a:extLst>
          </p:cNvPr>
          <p:cNvSpPr txBox="1"/>
          <p:nvPr/>
        </p:nvSpPr>
        <p:spPr>
          <a:xfrm>
            <a:off x="124362" y="3567444"/>
            <a:ext cx="3739390" cy="6874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NEZÁVISLÝ SOUDNÍ SYSTÉM</a:t>
            </a:r>
          </a:p>
          <a:p>
            <a:pPr algn="ctr" defTabSz="1219170">
              <a:defRPr/>
            </a:pPr>
            <a:r>
              <a:rPr lang="en-US" sz="1200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ANGLICKÉ OBECNÉ PRÁVO</a:t>
            </a:r>
          </a:p>
          <a:p>
            <a:pPr algn="ctr" defTabSz="1219170">
              <a:defRPr/>
            </a:pPr>
            <a:r>
              <a:rPr lang="en-US" sz="1200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64 </a:t>
            </a:r>
            <a:r>
              <a:rPr lang="en-US" sz="1200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vyřešených</a:t>
            </a:r>
            <a:r>
              <a:rPr lang="en-US" sz="1200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sz="1200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případů</a:t>
            </a:r>
            <a:endParaRPr lang="en-US" sz="1200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xmlns="" id="{0D78A03F-6073-4227-A3BF-1F26BFBAF1AC}"/>
              </a:ext>
            </a:extLst>
          </p:cNvPr>
          <p:cNvSpPr txBox="1"/>
          <p:nvPr/>
        </p:nvSpPr>
        <p:spPr>
          <a:xfrm>
            <a:off x="8256240" y="3499936"/>
            <a:ext cx="3709768" cy="7696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REGULAČNÍ STANDARDY</a:t>
            </a:r>
          </a:p>
          <a:p>
            <a:pPr algn="ctr" defTabSz="1219170"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SVĚTOVÉ TŘÍDY</a:t>
            </a:r>
          </a:p>
          <a:p>
            <a:pPr algn="ctr" defTabSz="1219170">
              <a:defRPr/>
            </a:pPr>
            <a:r>
              <a:rPr lang="en-US" sz="1467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415 </a:t>
            </a:r>
            <a:r>
              <a:rPr lang="en-US" sz="1467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arbitrážní</a:t>
            </a:r>
            <a:r>
              <a:rPr lang="en-US" sz="1467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sz="1467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rozhodnutí</a:t>
            </a:r>
            <a:endParaRPr lang="en-US" sz="1467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xmlns="" id="{0D78A03F-6073-4227-A3BF-1F26BFBAF1AC}"/>
              </a:ext>
            </a:extLst>
          </p:cNvPr>
          <p:cNvSpPr txBox="1"/>
          <p:nvPr/>
        </p:nvSpPr>
        <p:spPr>
          <a:xfrm>
            <a:off x="4190302" y="3567444"/>
            <a:ext cx="3739390" cy="5438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pl-PL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OSVOBOZENÍ OD DANĚ</a:t>
            </a:r>
            <a:endParaRPr lang="en-US" sz="1467" b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algn="ctr" defTabSz="1219170">
              <a:defRPr/>
            </a:pPr>
            <a:r>
              <a:rPr lang="pl-PL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DO ROKU 2066</a:t>
            </a:r>
            <a:endParaRPr lang="en-US" sz="1467" b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xmlns="" id="{0D78A03F-6073-4227-A3BF-1F26BFBAF1AC}"/>
              </a:ext>
            </a:extLst>
          </p:cNvPr>
          <p:cNvSpPr txBox="1"/>
          <p:nvPr/>
        </p:nvSpPr>
        <p:spPr>
          <a:xfrm>
            <a:off x="4190300" y="5847674"/>
            <a:ext cx="3739391" cy="318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ZVLÁŠTNÍ PRACOVNÍ A VÍZOVÉ REŽIMY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0D78A03F-6073-4227-A3BF-1F26BFBAF1AC}"/>
              </a:ext>
            </a:extLst>
          </p:cNvPr>
          <p:cNvSpPr txBox="1"/>
          <p:nvPr/>
        </p:nvSpPr>
        <p:spPr>
          <a:xfrm>
            <a:off x="4190300" y="4649752"/>
            <a:ext cx="3739391" cy="5438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ASTANA INTERNATIONAL </a:t>
            </a:r>
            <a:b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</a:b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EXCHANGE (AIX)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124361" y="3050845"/>
            <a:ext cx="11841646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xmlns="" id="{D742657C-030D-4679-8F25-D351127F3F62}"/>
              </a:ext>
            </a:extLst>
          </p:cNvPr>
          <p:cNvSpPr/>
          <p:nvPr/>
        </p:nvSpPr>
        <p:spPr>
          <a:xfrm>
            <a:off x="-7" y="-8"/>
            <a:ext cx="7195997" cy="103084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  <a:defRPr/>
            </a:pPr>
            <a:r>
              <a:rPr lang="cs-CZ" altLang="ru-RU" sz="2400" b="1" noProof="0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  <a:sym typeface="Futura"/>
              </a:rPr>
              <a:t>DŮVOD</a:t>
            </a:r>
            <a:r>
              <a:rPr lang="en-US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3: </a:t>
            </a:r>
            <a:r>
              <a:rPr lang="cs-CZ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PROSTŘEDÍ PŘÍZNIVÉ PRO PODNIKÁNÍ</a:t>
            </a:r>
            <a:r>
              <a:rPr lang="en-US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:</a:t>
            </a:r>
          </a:p>
          <a:p>
            <a:pPr>
              <a:spcBef>
                <a:spcPct val="0"/>
              </a:spcBef>
              <a:defRPr/>
            </a:pPr>
            <a:r>
              <a:rPr lang="en-US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MEZINÁRODNÍ FINANČNÍ CENTRUM ASTANA</a:t>
            </a:r>
            <a:endParaRPr lang="ru-RU" sz="2400" b="1" dirty="0">
              <a:solidFill>
                <a:schemeClr val="bg1"/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24361" y="4649752"/>
            <a:ext cx="3739390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ONLINE ŘEŠENÍ SPORŮ PROSTŘEDNICTVÍM SYSTÉMU E-JUSTICE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70292" y="5847674"/>
            <a:ext cx="3793459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ZVLÁŠTNÍ DAŇOVÝ A MĚNOVÝ REŽIM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219277" y="4730336"/>
            <a:ext cx="1813317" cy="5848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>
              <a:spcAft>
                <a:spcPts val="400"/>
              </a:spcAft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MEDIAČNÍ SLUŽBA</a:t>
            </a:r>
          </a:p>
          <a:p>
            <a:pPr algn="ctr" defTabSz="1219170">
              <a:spcAft>
                <a:spcPts val="400"/>
              </a:spcAft>
              <a:defRPr/>
            </a:pPr>
            <a:r>
              <a:rPr lang="en-US" sz="1400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1695 </a:t>
            </a:r>
            <a:r>
              <a:rPr lang="en-US" sz="1400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dohod</a:t>
            </a:r>
            <a:endParaRPr lang="en-US" sz="1400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565186" y="2368129"/>
            <a:ext cx="33645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+2000 </a:t>
            </a:r>
            <a:r>
              <a:rPr lang="en-US" sz="1400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registrovaných</a:t>
            </a:r>
            <a:r>
              <a:rPr lang="en-US" sz="1400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sz="1400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společností</a:t>
            </a:r>
            <a:endParaRPr lang="en-US" sz="1400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algn="ctr"/>
            <a:r>
              <a:rPr lang="en-US" sz="1400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ze </a:t>
            </a:r>
            <a:r>
              <a:rPr lang="en-US" sz="14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75 </a:t>
            </a:r>
            <a:r>
              <a:rPr lang="en-US" sz="1400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zemí</a:t>
            </a:r>
            <a:endParaRPr lang="ru-RU" sz="1200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pic>
        <p:nvPicPr>
          <p:cNvPr id="1028" name="Picture 4" descr="Mai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19112" y="1634431"/>
            <a:ext cx="1805538" cy="594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357717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Скругленный прямоугольник 38"/>
          <p:cNvSpPr/>
          <p:nvPr/>
        </p:nvSpPr>
        <p:spPr>
          <a:xfrm>
            <a:off x="6041904" y="1508669"/>
            <a:ext cx="1898759" cy="466591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latin typeface="Century Gothic" panose="020B0502020202020204" pitchFamily="34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9922418" y="1508669"/>
            <a:ext cx="1898759" cy="466591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Century Gothic" panose="020B0502020202020204" pitchFamily="34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7982161" y="1508669"/>
            <a:ext cx="1898759" cy="466591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Century Gothic" panose="020B0502020202020204" pitchFamily="34" charset="0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4218259" y="1483717"/>
            <a:ext cx="1782147" cy="466591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Century Gothic" panose="020B0502020202020204" pitchFamily="34" charset="0"/>
            </a:endParaRPr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2299948" y="1508669"/>
            <a:ext cx="1875696" cy="466591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Century Gothic" panose="020B0502020202020204" pitchFamily="34" charset="0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360213" y="1508669"/>
            <a:ext cx="1898759" cy="466591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latin typeface="Century Gothic" panose="020B0502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410972" y="4416896"/>
            <a:ext cx="1813861" cy="707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224">
              <a:spcAft>
                <a:spcPts val="800"/>
              </a:spcAft>
              <a:buClr>
                <a:srgbClr val="0070CE"/>
              </a:buClr>
              <a:buSzPct val="100000"/>
              <a:defRPr/>
            </a:pPr>
            <a:r>
              <a:rPr lang="en-US" sz="1333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Míra</a:t>
            </a:r>
            <a:r>
              <a:rPr lang="en-US" sz="1333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en-US" sz="1333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gramotnosti</a:t>
            </a:r>
            <a:r>
              <a:rPr lang="en-US" sz="1333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 – top 10 </a:t>
            </a:r>
            <a:r>
              <a:rPr lang="en-US" sz="1333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celosvětově</a:t>
            </a:r>
            <a:r>
              <a:rPr lang="en-US" sz="1333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 a </a:t>
            </a:r>
            <a:r>
              <a:rPr lang="en-US" sz="1333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nejvyšší</a:t>
            </a:r>
            <a:r>
              <a:rPr lang="en-US" sz="1333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 v </a:t>
            </a:r>
            <a:r>
              <a:rPr lang="en-US" sz="1333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regionu</a:t>
            </a:r>
            <a:endParaRPr lang="ru-RU" sz="1333" dirty="0">
              <a:solidFill>
                <a:schemeClr val="bg1"/>
              </a:solidFill>
              <a:latin typeface="Century Gothic" panose="020B0502020202020204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2244215" y="4439302"/>
            <a:ext cx="1943303" cy="6051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224">
              <a:spcAft>
                <a:spcPts val="800"/>
              </a:spcAft>
              <a:buClr>
                <a:srgbClr val="0070CE"/>
              </a:buClr>
              <a:buSzPct val="100000"/>
              <a:defRPr/>
            </a:pPr>
            <a:r>
              <a:rPr lang="en-US" sz="1333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Index </a:t>
            </a:r>
            <a:r>
              <a:rPr lang="en-US" sz="1333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vzdělání</a:t>
            </a:r>
            <a:endParaRPr lang="en-US" sz="1333" dirty="0">
              <a:solidFill>
                <a:schemeClr val="bg1"/>
              </a:solidFill>
              <a:latin typeface="Century Gothic" panose="020B0502020202020204" pitchFamily="34" charset="0"/>
              <a:ea typeface="Tahoma" pitchFamily="34" charset="0"/>
              <a:cs typeface="Arial" pitchFamily="34" charset="0"/>
            </a:endParaRPr>
          </a:p>
          <a:p>
            <a:pPr algn="ctr" defTabSz="913224">
              <a:spcAft>
                <a:spcPts val="800"/>
              </a:spcAft>
              <a:buClr>
                <a:srgbClr val="0070CE"/>
              </a:buClr>
              <a:buSzPct val="100000"/>
              <a:defRPr/>
            </a:pPr>
            <a:r>
              <a:rPr lang="en-US" sz="1333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OSN 2022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6130558" y="4418274"/>
            <a:ext cx="1844008" cy="707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1333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Absolventi</a:t>
            </a:r>
            <a:r>
              <a:rPr lang="en-US" sz="1333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en-US" sz="1333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mezinárodních</a:t>
            </a:r>
            <a:r>
              <a:rPr lang="en-US" sz="1333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en-US" sz="1333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univerzit</a:t>
            </a:r>
            <a:endParaRPr lang="en-US" sz="1333" dirty="0">
              <a:solidFill>
                <a:schemeClr val="bg1"/>
              </a:solidFill>
              <a:latin typeface="Century Gothic" panose="020B0502020202020204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7982161" y="3915243"/>
            <a:ext cx="1994556" cy="1097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224">
              <a:spcAft>
                <a:spcPts val="800"/>
              </a:spcAft>
              <a:buClr>
                <a:srgbClr val="0070CE"/>
              </a:buClr>
              <a:buSzPct val="100000"/>
              <a:defRPr/>
            </a:pPr>
            <a:r>
              <a:rPr lang="en-US" sz="1467" b="1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Vícejazyčná</a:t>
            </a:r>
            <a:r>
              <a:rPr lang="en-US" sz="1467" b="1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en-US" sz="1467" b="1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pracovní</a:t>
            </a:r>
            <a:r>
              <a:rPr lang="en-US" sz="1467" b="1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en-US" sz="1467" b="1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síla</a:t>
            </a:r>
            <a:endParaRPr lang="en-US" sz="1467" b="1" dirty="0">
              <a:solidFill>
                <a:schemeClr val="bg1"/>
              </a:solidFill>
              <a:latin typeface="Century Gothic" panose="020B0502020202020204" pitchFamily="34" charset="0"/>
              <a:ea typeface="Tahoma" pitchFamily="34" charset="0"/>
              <a:cs typeface="Arial" pitchFamily="34" charset="0"/>
            </a:endParaRPr>
          </a:p>
          <a:p>
            <a:pPr algn="ctr" defTabSz="913224">
              <a:spcAft>
                <a:spcPts val="800"/>
              </a:spcAft>
              <a:buClr>
                <a:srgbClr val="0070CE"/>
              </a:buClr>
              <a:buSzPct val="100000"/>
              <a:defRPr/>
            </a:pPr>
            <a:r>
              <a:rPr lang="en-US" sz="1467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~40 % populace do 25 let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942575" y="4436598"/>
            <a:ext cx="1911983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224">
              <a:spcAft>
                <a:spcPts val="800"/>
              </a:spcAft>
              <a:buClr>
                <a:srgbClr val="0070CE"/>
              </a:buClr>
              <a:buSzPct val="100000"/>
              <a:defRPr/>
            </a:pPr>
            <a:r>
              <a:rPr lang="en-US" sz="1467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Organizace</a:t>
            </a:r>
            <a:r>
              <a:rPr lang="en-US" sz="1467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en-US" sz="1467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výzkumu</a:t>
            </a:r>
            <a:r>
              <a:rPr lang="en-US" sz="1467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 a </a:t>
            </a:r>
            <a:r>
              <a:rPr lang="en-US" sz="1467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vývoje</a:t>
            </a:r>
            <a:endParaRPr lang="ru-RU" sz="1467" dirty="0">
              <a:solidFill>
                <a:schemeClr val="bg1"/>
              </a:solidFill>
              <a:latin typeface="Century Gothic" panose="020B0502020202020204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66" name="Овал 65"/>
          <p:cNvSpPr/>
          <p:nvPr/>
        </p:nvSpPr>
        <p:spPr>
          <a:xfrm>
            <a:off x="467371" y="1965296"/>
            <a:ext cx="1616997" cy="161699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Century Gothic" panose="020B0502020202020204" pitchFamily="34" charset="0"/>
            </a:endParaRPr>
          </a:p>
        </p:txBody>
      </p:sp>
      <p:pic>
        <p:nvPicPr>
          <p:cNvPr id="67" name="Picture 2" descr="C:\Users\Андрей\Desktop\58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327" t="69819" r="28117" b="-3484"/>
          <a:stretch/>
        </p:blipFill>
        <p:spPr bwMode="auto">
          <a:xfrm>
            <a:off x="623393" y="2077805"/>
            <a:ext cx="1213535" cy="1194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Овал 67"/>
          <p:cNvSpPr/>
          <p:nvPr/>
        </p:nvSpPr>
        <p:spPr>
          <a:xfrm>
            <a:off x="2462779" y="1970700"/>
            <a:ext cx="1616997" cy="161699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Century Gothic" panose="020B0502020202020204" pitchFamily="34" charset="0"/>
            </a:endParaRPr>
          </a:p>
        </p:txBody>
      </p:sp>
      <p:pic>
        <p:nvPicPr>
          <p:cNvPr id="69" name="Picture 2" descr="C:\Users\Андрей\Desktop\58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1859" r="56159" b="34476"/>
          <a:stretch/>
        </p:blipFill>
        <p:spPr bwMode="auto">
          <a:xfrm>
            <a:off x="2685400" y="1950112"/>
            <a:ext cx="1173859" cy="1622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Овал 69"/>
          <p:cNvSpPr/>
          <p:nvPr/>
        </p:nvSpPr>
        <p:spPr>
          <a:xfrm>
            <a:off x="4271798" y="1966129"/>
            <a:ext cx="1616997" cy="161699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Century Gothic" panose="020B0502020202020204" pitchFamily="34" charset="0"/>
            </a:endParaRPr>
          </a:p>
        </p:txBody>
      </p:sp>
      <p:sp>
        <p:nvSpPr>
          <p:cNvPr id="72" name="Овал 71"/>
          <p:cNvSpPr/>
          <p:nvPr/>
        </p:nvSpPr>
        <p:spPr>
          <a:xfrm>
            <a:off x="6227512" y="1965296"/>
            <a:ext cx="1616997" cy="161699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Century Gothic" panose="020B0502020202020204" pitchFamily="34" charset="0"/>
            </a:endParaRPr>
          </a:p>
        </p:txBody>
      </p:sp>
      <p:pic>
        <p:nvPicPr>
          <p:cNvPr id="73" name="Picture 2" descr="C:\Users\Андрей\Desktop\58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6530" t="31501" r="-371" b="34834"/>
          <a:stretch/>
        </p:blipFill>
        <p:spPr bwMode="auto">
          <a:xfrm>
            <a:off x="4544200" y="2032888"/>
            <a:ext cx="1072191" cy="1481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Овал 73"/>
          <p:cNvSpPr/>
          <p:nvPr/>
        </p:nvSpPr>
        <p:spPr>
          <a:xfrm>
            <a:off x="10020209" y="1987392"/>
            <a:ext cx="1616997" cy="161699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Century Gothic" panose="020B0502020202020204" pitchFamily="34" charset="0"/>
            </a:endParaRPr>
          </a:p>
        </p:txBody>
      </p:sp>
      <p:pic>
        <p:nvPicPr>
          <p:cNvPr id="75" name="Picture 2" descr="C:\Users\Андрей\Desktop\58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913" t="-1448" r="58072" b="67783"/>
          <a:stretch/>
        </p:blipFill>
        <p:spPr bwMode="auto">
          <a:xfrm>
            <a:off x="10350419" y="2166512"/>
            <a:ext cx="939961" cy="1299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TextBox 75"/>
          <p:cNvSpPr txBox="1"/>
          <p:nvPr/>
        </p:nvSpPr>
        <p:spPr>
          <a:xfrm>
            <a:off x="856523" y="3860038"/>
            <a:ext cx="109517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ru-RU" sz="2800" b="1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100%</a:t>
            </a:r>
            <a:endParaRPr lang="en-US" sz="2800" b="1" dirty="0">
              <a:solidFill>
                <a:schemeClr val="bg1"/>
              </a:solidFill>
              <a:latin typeface="Century Gothic" panose="020B0502020202020204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2849862" y="3879553"/>
            <a:ext cx="80021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224">
              <a:spcAft>
                <a:spcPts val="800"/>
              </a:spcAft>
              <a:buClr>
                <a:srgbClr val="0070CE"/>
              </a:buClr>
              <a:buSzPct val="100000"/>
              <a:defRPr/>
            </a:pPr>
            <a:r>
              <a:rPr lang="en-US" sz="2800" b="1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#</a:t>
            </a:r>
            <a:r>
              <a:rPr lang="ru-RU" sz="2800" b="1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3</a:t>
            </a:r>
            <a:r>
              <a:rPr lang="en-US" sz="2800" b="1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6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6424304" y="3864710"/>
            <a:ext cx="122341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224">
              <a:spcAft>
                <a:spcPts val="800"/>
              </a:spcAft>
              <a:buClr>
                <a:srgbClr val="0070CE"/>
              </a:buClr>
              <a:buSzPct val="100000"/>
              <a:defRPr/>
            </a:pPr>
            <a:r>
              <a:rPr lang="en-US" sz="2800" b="1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100K+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4596574" y="3854176"/>
            <a:ext cx="7857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224">
              <a:spcAft>
                <a:spcPts val="800"/>
              </a:spcAft>
              <a:buClr>
                <a:srgbClr val="0070CE"/>
              </a:buClr>
              <a:buSzPct val="100000"/>
              <a:defRPr/>
            </a:pPr>
            <a:r>
              <a:rPr lang="en-US" sz="2800" b="1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1</a:t>
            </a:r>
            <a:r>
              <a:rPr lang="kk-KZ" sz="2800" b="1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2</a:t>
            </a:r>
            <a:r>
              <a:rPr lang="en-US" sz="2800" b="1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0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10517422" y="3883130"/>
            <a:ext cx="7857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224">
              <a:spcAft>
                <a:spcPts val="800"/>
              </a:spcAft>
              <a:buClr>
                <a:srgbClr val="0070CE"/>
              </a:buClr>
              <a:buSzPct val="100000"/>
              <a:defRPr/>
            </a:pPr>
            <a:r>
              <a:rPr lang="en-US" sz="2800" b="1" cap="small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400</a:t>
            </a:r>
            <a:endParaRPr lang="en-US" sz="2800" b="1" dirty="0">
              <a:solidFill>
                <a:schemeClr val="bg1"/>
              </a:solidFill>
              <a:latin typeface="Century Gothic" panose="020B0502020202020204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81" name="Овал 80"/>
          <p:cNvSpPr/>
          <p:nvPr/>
        </p:nvSpPr>
        <p:spPr>
          <a:xfrm>
            <a:off x="8090607" y="1985807"/>
            <a:ext cx="1616997" cy="161699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>
              <a:latin typeface="Century Gothic" panose="020B0502020202020204" pitchFamily="34" charset="0"/>
            </a:endParaRPr>
          </a:p>
        </p:txBody>
      </p:sp>
      <p:pic>
        <p:nvPicPr>
          <p:cNvPr id="82" name="Picture 2" descr="C:\Users\Андрей\Desktop\7468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67513" y="2298246"/>
            <a:ext cx="983236" cy="951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3" name="Прямоугольник 82"/>
          <p:cNvSpPr/>
          <p:nvPr/>
        </p:nvSpPr>
        <p:spPr>
          <a:xfrm>
            <a:off x="4154432" y="4439302"/>
            <a:ext cx="1994556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3224">
              <a:spcAft>
                <a:spcPts val="800"/>
              </a:spcAft>
              <a:buClr>
                <a:srgbClr val="0070CE"/>
              </a:buClr>
              <a:buSzPct val="100000"/>
              <a:defRPr/>
            </a:pPr>
            <a:r>
              <a:rPr lang="en-US" sz="1333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Vysoké</a:t>
            </a:r>
            <a:r>
              <a:rPr lang="en-US" sz="1333" dirty="0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lang="en-US" sz="1333" dirty="0" err="1">
                <a:solidFill>
                  <a:schemeClr val="bg1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školy</a:t>
            </a:r>
            <a:endParaRPr lang="en-US" sz="1333" dirty="0">
              <a:solidFill>
                <a:schemeClr val="bg1"/>
              </a:solidFill>
              <a:latin typeface="Century Gothic" panose="020B0502020202020204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BC0DC2-9AC7-4AF2-ABC3-6798633670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D742657C-030D-4679-8F25-D351127F3F62}"/>
              </a:ext>
            </a:extLst>
          </p:cNvPr>
          <p:cNvSpPr/>
          <p:nvPr/>
        </p:nvSpPr>
        <p:spPr>
          <a:xfrm>
            <a:off x="-7" y="-8"/>
            <a:ext cx="4367815" cy="6240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  <a:defRPr/>
            </a:pPr>
            <a:r>
              <a:rPr lang="cs-CZ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DŮVOD </a:t>
            </a:r>
            <a:r>
              <a:rPr lang="en-US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4: </a:t>
            </a:r>
            <a:r>
              <a:rPr lang="cs-CZ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LIDSKÝ KAPITÁL</a:t>
            </a:r>
            <a:endParaRPr lang="ru-RU" sz="2400" b="1" dirty="0">
              <a:solidFill>
                <a:schemeClr val="bg1"/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  <p:pic>
        <p:nvPicPr>
          <p:cNvPr id="71" name="Picture 2" descr="C:\Users\Андрей\Desktop\58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5113" t="-1997" r="15030" b="71391"/>
          <a:stretch/>
        </p:blipFill>
        <p:spPr bwMode="auto">
          <a:xfrm>
            <a:off x="6478117" y="1968296"/>
            <a:ext cx="1086305" cy="1501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964318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1" name="Группа 290"/>
          <p:cNvGrpSpPr/>
          <p:nvPr/>
        </p:nvGrpSpPr>
        <p:grpSpPr>
          <a:xfrm>
            <a:off x="5411878" y="1868776"/>
            <a:ext cx="6195456" cy="3465785"/>
            <a:chOff x="135165" y="90519"/>
            <a:chExt cx="11892753" cy="6652893"/>
          </a:xfrm>
          <a:solidFill>
            <a:srgbClr val="9DC3E6"/>
          </a:solidFill>
        </p:grpSpPr>
        <p:grpSp>
          <p:nvGrpSpPr>
            <p:cNvPr id="292" name="组合 99">
              <a:extLst>
                <a:ext uri="{FF2B5EF4-FFF2-40B4-BE49-F238E27FC236}">
                  <a16:creationId xmlns:a16="http://schemas.microsoft.com/office/drawing/2014/main" xmlns="" id="{B4849826-036B-414A-AB51-909FC27FB229}"/>
                </a:ext>
              </a:extLst>
            </p:cNvPr>
            <p:cNvGrpSpPr/>
            <p:nvPr/>
          </p:nvGrpSpPr>
          <p:grpSpPr>
            <a:xfrm>
              <a:off x="135165" y="90519"/>
              <a:ext cx="11892753" cy="6652893"/>
              <a:chOff x="719138" y="2320925"/>
              <a:chExt cx="5994400" cy="3346451"/>
            </a:xfrm>
            <a:grpFill/>
          </p:grpSpPr>
          <p:sp>
            <p:nvSpPr>
              <p:cNvPr id="296" name="任意多边形 92">
                <a:extLst>
                  <a:ext uri="{FF2B5EF4-FFF2-40B4-BE49-F238E27FC236}">
                    <a16:creationId xmlns:a16="http://schemas.microsoft.com/office/drawing/2014/main" xmlns="" id="{B2FA970D-C471-BF43-BF33-3E7ECA28B1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13012" y="2697163"/>
                <a:ext cx="1196785" cy="801688"/>
              </a:xfrm>
              <a:custGeom>
                <a:avLst/>
                <a:gdLst/>
                <a:ahLst/>
                <a:cxnLst/>
                <a:rect l="0" t="0" r="r" b="b"/>
                <a:pathLst>
                  <a:path w="14655896" h="9814804">
                    <a:moveTo>
                      <a:pt x="405571" y="5899247"/>
                    </a:moveTo>
                    <a:lnTo>
                      <a:pt x="458180" y="7258616"/>
                    </a:lnTo>
                    <a:lnTo>
                      <a:pt x="1272065" y="7252586"/>
                    </a:lnTo>
                    <a:lnTo>
                      <a:pt x="1645846" y="7927810"/>
                    </a:lnTo>
                    <a:lnTo>
                      <a:pt x="2586337" y="7921779"/>
                    </a:lnTo>
                    <a:lnTo>
                      <a:pt x="2773228" y="8259392"/>
                    </a:lnTo>
                    <a:lnTo>
                      <a:pt x="3159070" y="8518628"/>
                    </a:lnTo>
                    <a:lnTo>
                      <a:pt x="3629312" y="8789925"/>
                    </a:lnTo>
                    <a:lnTo>
                      <a:pt x="4618282" y="8729735"/>
                    </a:lnTo>
                    <a:lnTo>
                      <a:pt x="5401768" y="8042348"/>
                    </a:lnTo>
                    <a:lnTo>
                      <a:pt x="5884064" y="7957948"/>
                    </a:lnTo>
                    <a:lnTo>
                      <a:pt x="6119185" y="8416136"/>
                    </a:lnTo>
                    <a:lnTo>
                      <a:pt x="6450766" y="8795948"/>
                    </a:lnTo>
                    <a:lnTo>
                      <a:pt x="7059919" y="8883564"/>
                    </a:lnTo>
                    <a:lnTo>
                      <a:pt x="7373165" y="9543518"/>
                    </a:lnTo>
                    <a:lnTo>
                      <a:pt x="7825322" y="9356616"/>
                    </a:lnTo>
                    <a:lnTo>
                      <a:pt x="8301595" y="9603798"/>
                    </a:lnTo>
                    <a:lnTo>
                      <a:pt x="8747721" y="9814804"/>
                    </a:lnTo>
                    <a:lnTo>
                      <a:pt x="9175763" y="9519391"/>
                    </a:lnTo>
                    <a:lnTo>
                      <a:pt x="9314424" y="8946658"/>
                    </a:lnTo>
                    <a:lnTo>
                      <a:pt x="9947441" y="8301587"/>
                    </a:lnTo>
                    <a:lnTo>
                      <a:pt x="10839702" y="7740908"/>
                    </a:lnTo>
                    <a:lnTo>
                      <a:pt x="11086876" y="8235273"/>
                    </a:lnTo>
                    <a:lnTo>
                      <a:pt x="11075024" y="8696571"/>
                    </a:lnTo>
                    <a:lnTo>
                      <a:pt x="11611379" y="8801975"/>
                    </a:lnTo>
                    <a:lnTo>
                      <a:pt x="11912815" y="8295557"/>
                    </a:lnTo>
                    <a:lnTo>
                      <a:pt x="12461432" y="7957945"/>
                    </a:lnTo>
                    <a:lnTo>
                      <a:pt x="12690522" y="7409327"/>
                    </a:lnTo>
                    <a:lnTo>
                      <a:pt x="13184879" y="7373158"/>
                    </a:lnTo>
                    <a:lnTo>
                      <a:pt x="13263248" y="7089807"/>
                    </a:lnTo>
                    <a:lnTo>
                      <a:pt x="13817896" y="6655734"/>
                    </a:lnTo>
                    <a:lnTo>
                      <a:pt x="14523274" y="6535166"/>
                    </a:lnTo>
                    <a:lnTo>
                      <a:pt x="14149478" y="6101093"/>
                    </a:lnTo>
                    <a:lnTo>
                      <a:pt x="14276084" y="5558506"/>
                    </a:lnTo>
                    <a:lnTo>
                      <a:pt x="14655896" y="5383676"/>
                    </a:lnTo>
                    <a:lnTo>
                      <a:pt x="14270054" y="4714483"/>
                    </a:lnTo>
                    <a:lnTo>
                      <a:pt x="14541351" y="4171895"/>
                    </a:lnTo>
                    <a:lnTo>
                      <a:pt x="14462975" y="3116859"/>
                    </a:lnTo>
                    <a:lnTo>
                      <a:pt x="14092141" y="2401649"/>
                    </a:lnTo>
                    <a:lnTo>
                      <a:pt x="13347651" y="2219787"/>
                    </a:lnTo>
                    <a:lnTo>
                      <a:pt x="12606112" y="2172764"/>
                    </a:lnTo>
                    <a:lnTo>
                      <a:pt x="12269707" y="1583147"/>
                    </a:lnTo>
                    <a:lnTo>
                      <a:pt x="11032611" y="1894236"/>
                    </a:lnTo>
                    <a:lnTo>
                      <a:pt x="10620246" y="1423994"/>
                    </a:lnTo>
                    <a:lnTo>
                      <a:pt x="10207881" y="874169"/>
                    </a:lnTo>
                    <a:lnTo>
                      <a:pt x="9639971" y="932045"/>
                    </a:lnTo>
                    <a:lnTo>
                      <a:pt x="8862263" y="747562"/>
                    </a:lnTo>
                    <a:lnTo>
                      <a:pt x="8449897" y="1116528"/>
                    </a:lnTo>
                    <a:lnTo>
                      <a:pt x="7728858" y="530533"/>
                    </a:lnTo>
                    <a:lnTo>
                      <a:pt x="7457560" y="96461"/>
                    </a:lnTo>
                    <a:lnTo>
                      <a:pt x="7144071" y="0"/>
                    </a:lnTo>
                    <a:lnTo>
                      <a:pt x="6709998" y="259236"/>
                    </a:lnTo>
                    <a:lnTo>
                      <a:pt x="6239757" y="162775"/>
                    </a:lnTo>
                    <a:lnTo>
                      <a:pt x="5576594" y="247174"/>
                    </a:lnTo>
                    <a:lnTo>
                      <a:pt x="5220882" y="856065"/>
                    </a:lnTo>
                    <a:lnTo>
                      <a:pt x="5744200" y="1836359"/>
                    </a:lnTo>
                    <a:lnTo>
                      <a:pt x="5581424" y="2317455"/>
                    </a:lnTo>
                    <a:lnTo>
                      <a:pt x="4908615" y="2827488"/>
                    </a:lnTo>
                    <a:lnTo>
                      <a:pt x="3993447" y="3608819"/>
                    </a:lnTo>
                    <a:lnTo>
                      <a:pt x="3449906" y="3361159"/>
                    </a:lnTo>
                    <a:lnTo>
                      <a:pt x="3226593" y="3728180"/>
                    </a:lnTo>
                    <a:lnTo>
                      <a:pt x="2629744" y="3728180"/>
                    </a:lnTo>
                    <a:lnTo>
                      <a:pt x="2003958" y="3583489"/>
                    </a:lnTo>
                    <a:lnTo>
                      <a:pt x="1465852" y="3722609"/>
                    </a:lnTo>
                    <a:lnTo>
                      <a:pt x="753604" y="4804916"/>
                    </a:lnTo>
                    <a:lnTo>
                      <a:pt x="0" y="5443964"/>
                    </a:lnTo>
                    <a:lnTo>
                      <a:pt x="405571" y="5899247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20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97" name="任意多边形 93">
                <a:extLst>
                  <a:ext uri="{FF2B5EF4-FFF2-40B4-BE49-F238E27FC236}">
                    <a16:creationId xmlns:a16="http://schemas.microsoft.com/office/drawing/2014/main" xmlns="" id="{4EE739F0-B660-7D47-9B1E-5988066782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2214" y="2320925"/>
                <a:ext cx="1061551" cy="680403"/>
              </a:xfrm>
              <a:custGeom>
                <a:avLst/>
                <a:gdLst/>
                <a:ahLst/>
                <a:cxnLst/>
                <a:rect l="0" t="0" r="r" b="b"/>
                <a:pathLst>
                  <a:path w="12998892" h="8330529">
                    <a:moveTo>
                      <a:pt x="56654" y="7407720"/>
                    </a:moveTo>
                    <a:lnTo>
                      <a:pt x="0" y="6577494"/>
                    </a:lnTo>
                    <a:lnTo>
                      <a:pt x="534863" y="6069743"/>
                    </a:lnTo>
                    <a:lnTo>
                      <a:pt x="401029" y="5783984"/>
                    </a:lnTo>
                    <a:lnTo>
                      <a:pt x="534867" y="5505456"/>
                    </a:lnTo>
                    <a:lnTo>
                      <a:pt x="390176" y="4955630"/>
                    </a:lnTo>
                    <a:lnTo>
                      <a:pt x="708496" y="4716894"/>
                    </a:lnTo>
                    <a:lnTo>
                      <a:pt x="136963" y="4120046"/>
                    </a:lnTo>
                    <a:lnTo>
                      <a:pt x="777226" y="3678742"/>
                    </a:lnTo>
                    <a:lnTo>
                      <a:pt x="263569" y="3411068"/>
                    </a:lnTo>
                    <a:lnTo>
                      <a:pt x="223777" y="3092748"/>
                    </a:lnTo>
                    <a:lnTo>
                      <a:pt x="650619" y="3027641"/>
                    </a:lnTo>
                    <a:lnTo>
                      <a:pt x="321446" y="2535692"/>
                    </a:lnTo>
                    <a:lnTo>
                      <a:pt x="419114" y="2268018"/>
                    </a:lnTo>
                    <a:lnTo>
                      <a:pt x="1099154" y="1909906"/>
                    </a:lnTo>
                    <a:lnTo>
                      <a:pt x="2083052" y="1555417"/>
                    </a:lnTo>
                    <a:lnTo>
                      <a:pt x="2958428" y="1229866"/>
                    </a:lnTo>
                    <a:lnTo>
                      <a:pt x="3435901" y="1327534"/>
                    </a:lnTo>
                    <a:lnTo>
                      <a:pt x="3511862" y="864523"/>
                    </a:lnTo>
                    <a:lnTo>
                      <a:pt x="4097856" y="314697"/>
                    </a:lnTo>
                    <a:lnTo>
                      <a:pt x="4752581" y="0"/>
                    </a:lnTo>
                    <a:lnTo>
                      <a:pt x="5728272" y="81578"/>
                    </a:lnTo>
                    <a:lnTo>
                      <a:pt x="6463541" y="694516"/>
                    </a:lnTo>
                    <a:lnTo>
                      <a:pt x="6987061" y="262437"/>
                    </a:lnTo>
                    <a:lnTo>
                      <a:pt x="7422109" y="231505"/>
                    </a:lnTo>
                    <a:lnTo>
                      <a:pt x="7816390" y="549826"/>
                    </a:lnTo>
                    <a:lnTo>
                      <a:pt x="7921289" y="1464994"/>
                    </a:lnTo>
                    <a:lnTo>
                      <a:pt x="8246840" y="1884590"/>
                    </a:lnTo>
                    <a:lnTo>
                      <a:pt x="8275778" y="2684005"/>
                    </a:lnTo>
                    <a:lnTo>
                      <a:pt x="7888728" y="3085517"/>
                    </a:lnTo>
                    <a:lnTo>
                      <a:pt x="8333655" y="3530443"/>
                    </a:lnTo>
                    <a:lnTo>
                      <a:pt x="8756874" y="3114455"/>
                    </a:lnTo>
                    <a:lnTo>
                      <a:pt x="8908795" y="3327876"/>
                    </a:lnTo>
                    <a:lnTo>
                      <a:pt x="9899924" y="2698467"/>
                    </a:lnTo>
                    <a:lnTo>
                      <a:pt x="10301436" y="3114455"/>
                    </a:lnTo>
                    <a:cubicBezTo>
                      <a:pt x="10303846" y="3332697"/>
                      <a:pt x="10306257" y="3550938"/>
                      <a:pt x="10308667" y="3769180"/>
                    </a:cubicBezTo>
                    <a:lnTo>
                      <a:pt x="10731886" y="3700450"/>
                    </a:lnTo>
                    <a:lnTo>
                      <a:pt x="10876577" y="3150624"/>
                    </a:lnTo>
                    <a:lnTo>
                      <a:pt x="11173189" y="3063810"/>
                    </a:lnTo>
                    <a:lnTo>
                      <a:pt x="11607262" y="3508736"/>
                    </a:lnTo>
                    <a:lnTo>
                      <a:pt x="12081127" y="3664281"/>
                    </a:lnTo>
                    <a:lnTo>
                      <a:pt x="12475408" y="3237439"/>
                    </a:lnTo>
                    <a:lnTo>
                      <a:pt x="12714144" y="3682365"/>
                    </a:lnTo>
                    <a:lnTo>
                      <a:pt x="12583930" y="3874079"/>
                    </a:lnTo>
                    <a:lnTo>
                      <a:pt x="12160711" y="4036854"/>
                    </a:lnTo>
                    <a:lnTo>
                      <a:pt x="11864098" y="4402197"/>
                    </a:lnTo>
                    <a:lnTo>
                      <a:pt x="11889413" y="4915838"/>
                    </a:lnTo>
                    <a:lnTo>
                      <a:pt x="11940051" y="5440349"/>
                    </a:lnTo>
                    <a:lnTo>
                      <a:pt x="12374124" y="5132875"/>
                    </a:lnTo>
                    <a:lnTo>
                      <a:pt x="12536899" y="5548867"/>
                    </a:lnTo>
                    <a:lnTo>
                      <a:pt x="12066654" y="5783984"/>
                    </a:lnTo>
                    <a:lnTo>
                      <a:pt x="12482642" y="6037197"/>
                    </a:lnTo>
                    <a:lnTo>
                      <a:pt x="12998892" y="6082556"/>
                    </a:lnTo>
                    <a:lnTo>
                      <a:pt x="12934799" y="6507438"/>
                    </a:lnTo>
                    <a:lnTo>
                      <a:pt x="12573072" y="6579784"/>
                    </a:lnTo>
                    <a:lnTo>
                      <a:pt x="12756883" y="7003998"/>
                    </a:lnTo>
                    <a:lnTo>
                      <a:pt x="12012393" y="6822136"/>
                    </a:lnTo>
                    <a:lnTo>
                      <a:pt x="11270854" y="6775113"/>
                    </a:lnTo>
                    <a:lnTo>
                      <a:pt x="10934449" y="6185496"/>
                    </a:lnTo>
                    <a:lnTo>
                      <a:pt x="9697353" y="6496585"/>
                    </a:lnTo>
                    <a:lnTo>
                      <a:pt x="9284988" y="6026343"/>
                    </a:lnTo>
                    <a:lnTo>
                      <a:pt x="8872623" y="5476518"/>
                    </a:lnTo>
                    <a:lnTo>
                      <a:pt x="8304713" y="5534394"/>
                    </a:lnTo>
                    <a:lnTo>
                      <a:pt x="7527005" y="5349911"/>
                    </a:lnTo>
                    <a:lnTo>
                      <a:pt x="7114639" y="5718877"/>
                    </a:lnTo>
                    <a:lnTo>
                      <a:pt x="6393600" y="5132882"/>
                    </a:lnTo>
                    <a:lnTo>
                      <a:pt x="6122302" y="4698810"/>
                    </a:lnTo>
                    <a:lnTo>
                      <a:pt x="5808813" y="4602349"/>
                    </a:lnTo>
                    <a:lnTo>
                      <a:pt x="5374740" y="4861585"/>
                    </a:lnTo>
                    <a:lnTo>
                      <a:pt x="4904499" y="4765124"/>
                    </a:lnTo>
                    <a:lnTo>
                      <a:pt x="4241336" y="4849523"/>
                    </a:lnTo>
                    <a:lnTo>
                      <a:pt x="3885624" y="5458414"/>
                    </a:lnTo>
                    <a:lnTo>
                      <a:pt x="4408942" y="6438708"/>
                    </a:lnTo>
                    <a:lnTo>
                      <a:pt x="4246166" y="6919804"/>
                    </a:lnTo>
                    <a:lnTo>
                      <a:pt x="3573357" y="7429837"/>
                    </a:lnTo>
                    <a:lnTo>
                      <a:pt x="2658189" y="8211168"/>
                    </a:lnTo>
                    <a:lnTo>
                      <a:pt x="2114648" y="7963508"/>
                    </a:lnTo>
                    <a:lnTo>
                      <a:pt x="1891335" y="8330529"/>
                    </a:lnTo>
                    <a:lnTo>
                      <a:pt x="1294486" y="8330529"/>
                    </a:lnTo>
                    <a:lnTo>
                      <a:pt x="668700" y="8185838"/>
                    </a:lnTo>
                    <a:lnTo>
                      <a:pt x="130594" y="8324958"/>
                    </a:lnTo>
                    <a:cubicBezTo>
                      <a:pt x="133152" y="8054892"/>
                      <a:pt x="54096" y="7677786"/>
                      <a:pt x="56654" y="7407720"/>
                    </a:cubicBez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20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98" name="任意多边形 94">
                <a:extLst>
                  <a:ext uri="{FF2B5EF4-FFF2-40B4-BE49-F238E27FC236}">
                    <a16:creationId xmlns:a16="http://schemas.microsoft.com/office/drawing/2014/main" xmlns="" id="{E1FA80E9-50A9-EE4B-96B4-873C3035B0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835" y="3539490"/>
                <a:ext cx="1323130" cy="793750"/>
              </a:xfrm>
              <a:custGeom>
                <a:avLst/>
                <a:gdLst/>
                <a:ahLst/>
                <a:cxnLst/>
                <a:rect l="0" t="0" r="r" b="b"/>
                <a:pathLst>
                  <a:path w="16203348" h="9718224">
                    <a:moveTo>
                      <a:pt x="375091" y="608910"/>
                    </a:moveTo>
                    <a:lnTo>
                      <a:pt x="39792" y="995215"/>
                    </a:lnTo>
                    <a:lnTo>
                      <a:pt x="0" y="1552271"/>
                    </a:lnTo>
                    <a:lnTo>
                      <a:pt x="202567" y="1743985"/>
                    </a:lnTo>
                    <a:lnTo>
                      <a:pt x="694516" y="1396727"/>
                    </a:lnTo>
                    <a:lnTo>
                      <a:pt x="962191" y="1830800"/>
                    </a:lnTo>
                    <a:lnTo>
                      <a:pt x="1569893" y="1762069"/>
                    </a:lnTo>
                    <a:lnTo>
                      <a:pt x="1975027" y="2282957"/>
                    </a:lnTo>
                    <a:lnTo>
                      <a:pt x="2040134" y="2789367"/>
                    </a:lnTo>
                    <a:lnTo>
                      <a:pt x="2387392" y="3223440"/>
                    </a:lnTo>
                    <a:lnTo>
                      <a:pt x="2329516" y="3646659"/>
                    </a:lnTo>
                    <a:lnTo>
                      <a:pt x="2376539" y="4243507"/>
                    </a:lnTo>
                    <a:lnTo>
                      <a:pt x="2890195" y="5100799"/>
                    </a:lnTo>
                    <a:lnTo>
                      <a:pt x="2405477" y="5270805"/>
                    </a:lnTo>
                    <a:lnTo>
                      <a:pt x="2003965" y="4869294"/>
                    </a:lnTo>
                    <a:lnTo>
                      <a:pt x="1598831" y="4887378"/>
                    </a:lnTo>
                    <a:lnTo>
                      <a:pt x="1663938" y="5252721"/>
                    </a:lnTo>
                    <a:lnTo>
                      <a:pt x="2603631" y="6079544"/>
                    </a:lnTo>
                    <a:lnTo>
                      <a:pt x="3248292" y="5853177"/>
                    </a:lnTo>
                    <a:lnTo>
                      <a:pt x="4047708" y="5921907"/>
                    </a:lnTo>
                    <a:lnTo>
                      <a:pt x="5161820" y="5419104"/>
                    </a:lnTo>
                    <a:lnTo>
                      <a:pt x="6362747" y="5006739"/>
                    </a:lnTo>
                    <a:lnTo>
                      <a:pt x="7006618" y="4970570"/>
                    </a:lnTo>
                    <a:lnTo>
                      <a:pt x="7513029" y="5346766"/>
                    </a:lnTo>
                    <a:lnTo>
                      <a:pt x="8406489" y="6019575"/>
                    </a:lnTo>
                    <a:lnTo>
                      <a:pt x="8974399" y="5939991"/>
                    </a:lnTo>
                    <a:lnTo>
                      <a:pt x="9364309" y="5717573"/>
                    </a:lnTo>
                    <a:lnTo>
                      <a:pt x="10280226" y="6171497"/>
                    </a:lnTo>
                    <a:lnTo>
                      <a:pt x="10229580" y="6941974"/>
                    </a:lnTo>
                    <a:lnTo>
                      <a:pt x="10421293" y="7922249"/>
                    </a:lnTo>
                    <a:lnTo>
                      <a:pt x="10102973" y="8468451"/>
                    </a:lnTo>
                    <a:lnTo>
                      <a:pt x="10808344" y="8573351"/>
                    </a:lnTo>
                    <a:lnTo>
                      <a:pt x="11423276" y="8244177"/>
                    </a:lnTo>
                    <a:lnTo>
                      <a:pt x="11958625" y="8475682"/>
                    </a:lnTo>
                    <a:lnTo>
                      <a:pt x="12237153" y="8215239"/>
                    </a:lnTo>
                    <a:lnTo>
                      <a:pt x="13054653" y="8226092"/>
                    </a:lnTo>
                    <a:lnTo>
                      <a:pt x="13564687" y="8631227"/>
                    </a:lnTo>
                    <a:lnTo>
                      <a:pt x="13973429" y="8135655"/>
                    </a:lnTo>
                    <a:lnTo>
                      <a:pt x="15282878" y="9275098"/>
                    </a:lnTo>
                    <a:lnTo>
                      <a:pt x="16203348" y="9718224"/>
                    </a:lnTo>
                    <a:lnTo>
                      <a:pt x="16024417" y="8265884"/>
                    </a:lnTo>
                    <a:lnTo>
                      <a:pt x="15677159" y="7893311"/>
                    </a:lnTo>
                    <a:lnTo>
                      <a:pt x="15206917" y="7770327"/>
                    </a:lnTo>
                    <a:lnTo>
                      <a:pt x="14320687" y="7249440"/>
                    </a:lnTo>
                    <a:lnTo>
                      <a:pt x="14353249" y="6547693"/>
                    </a:lnTo>
                    <a:lnTo>
                      <a:pt x="14005990" y="5856800"/>
                    </a:lnTo>
                    <a:lnTo>
                      <a:pt x="14277288" y="5183991"/>
                    </a:lnTo>
                    <a:lnTo>
                      <a:pt x="14758383" y="4326699"/>
                    </a:lnTo>
                    <a:lnTo>
                      <a:pt x="14429209" y="3889018"/>
                    </a:lnTo>
                    <a:lnTo>
                      <a:pt x="14382187" y="2395087"/>
                    </a:lnTo>
                    <a:lnTo>
                      <a:pt x="14584754" y="1877822"/>
                    </a:lnTo>
                    <a:lnTo>
                      <a:pt x="14139828" y="1570356"/>
                    </a:lnTo>
                    <a:lnTo>
                      <a:pt x="13467019" y="1754839"/>
                    </a:lnTo>
                    <a:lnTo>
                      <a:pt x="13177637" y="1425665"/>
                    </a:lnTo>
                    <a:lnTo>
                      <a:pt x="13004008" y="948193"/>
                    </a:lnTo>
                    <a:lnTo>
                      <a:pt x="13344035" y="398367"/>
                    </a:lnTo>
                    <a:lnTo>
                      <a:pt x="12534905" y="0"/>
                    </a:lnTo>
                    <a:lnTo>
                      <a:pt x="12027355" y="479159"/>
                    </a:lnTo>
                    <a:lnTo>
                      <a:pt x="11141125" y="177715"/>
                    </a:lnTo>
                    <a:lnTo>
                      <a:pt x="10652799" y="1082030"/>
                    </a:lnTo>
                    <a:lnTo>
                      <a:pt x="10146388" y="1654770"/>
                    </a:lnTo>
                    <a:lnTo>
                      <a:pt x="9019466" y="675175"/>
                    </a:lnTo>
                    <a:lnTo>
                      <a:pt x="7994124" y="340491"/>
                    </a:lnTo>
                    <a:lnTo>
                      <a:pt x="7608756" y="988664"/>
                    </a:lnTo>
                    <a:lnTo>
                      <a:pt x="6306078" y="907193"/>
                    </a:lnTo>
                    <a:lnTo>
                      <a:pt x="5226927" y="1437726"/>
                    </a:lnTo>
                    <a:lnTo>
                      <a:pt x="4618018" y="1389496"/>
                    </a:lnTo>
                    <a:lnTo>
                      <a:pt x="4214091" y="1624625"/>
                    </a:lnTo>
                    <a:lnTo>
                      <a:pt x="2984241" y="744418"/>
                    </a:lnTo>
                    <a:lnTo>
                      <a:pt x="375091" y="608910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20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99" name="任意多边形 98">
                <a:extLst>
                  <a:ext uri="{FF2B5EF4-FFF2-40B4-BE49-F238E27FC236}">
                    <a16:creationId xmlns:a16="http://schemas.microsoft.com/office/drawing/2014/main" xmlns="" id="{12C46CB1-56AB-B04F-ACC5-D6417ECC7B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138" y="2930525"/>
                <a:ext cx="1264719" cy="744538"/>
              </a:xfrm>
              <a:custGeom>
                <a:avLst/>
                <a:gdLst>
                  <a:gd name="T0" fmla="*/ 268633 w 2569"/>
                  <a:gd name="T1" fmla="*/ 2124829 h 1512"/>
                  <a:gd name="T2" fmla="*/ 228602 w 2569"/>
                  <a:gd name="T3" fmla="*/ 1992205 h 1512"/>
                  <a:gd name="T4" fmla="*/ 0 w 2569"/>
                  <a:gd name="T5" fmla="*/ 1788951 h 1512"/>
                  <a:gd name="T6" fmla="*/ 186057 w 2569"/>
                  <a:gd name="T7" fmla="*/ 1506302 h 1512"/>
                  <a:gd name="T8" fmla="*/ 376558 w 2569"/>
                  <a:gd name="T9" fmla="*/ 1437704 h 1512"/>
                  <a:gd name="T10" fmla="*/ 406085 w 2569"/>
                  <a:gd name="T11" fmla="*/ 1350051 h 1512"/>
                  <a:gd name="T12" fmla="*/ 307024 w 2569"/>
                  <a:gd name="T13" fmla="*/ 1246201 h 1512"/>
                  <a:gd name="T14" fmla="*/ 430849 w 2569"/>
                  <a:gd name="T15" fmla="*/ 883201 h 1512"/>
                  <a:gd name="T16" fmla="*/ 572771 w 2569"/>
                  <a:gd name="T17" fmla="*/ 868912 h 1512"/>
                  <a:gd name="T18" fmla="*/ 699454 w 2569"/>
                  <a:gd name="T19" fmla="*/ 780305 h 1512"/>
                  <a:gd name="T20" fmla="*/ 681356 w 2569"/>
                  <a:gd name="T21" fmla="*/ 676455 h 1512"/>
                  <a:gd name="T22" fmla="*/ 819392 w 2569"/>
                  <a:gd name="T23" fmla="*/ 496787 h 1512"/>
                  <a:gd name="T24" fmla="*/ 947104 w 2569"/>
                  <a:gd name="T25" fmla="*/ 583086 h 1512"/>
                  <a:gd name="T26" fmla="*/ 1032828 w 2569"/>
                  <a:gd name="T27" fmla="*/ 717424 h 1512"/>
                  <a:gd name="T28" fmla="*/ 1063309 w 2569"/>
                  <a:gd name="T29" fmla="*/ 826038 h 1512"/>
                  <a:gd name="T30" fmla="*/ 1029970 w 2569"/>
                  <a:gd name="T31" fmla="*/ 990864 h 1512"/>
                  <a:gd name="T32" fmla="*/ 1106171 w 2569"/>
                  <a:gd name="T33" fmla="*/ 1091856 h 1512"/>
                  <a:gd name="T34" fmla="*/ 1263334 w 2569"/>
                  <a:gd name="T35" fmla="*/ 1028020 h 1512"/>
                  <a:gd name="T36" fmla="*/ 1405257 w 2569"/>
                  <a:gd name="T37" fmla="*/ 1043264 h 1512"/>
                  <a:gd name="T38" fmla="*/ 1427163 w 2569"/>
                  <a:gd name="T39" fmla="*/ 913690 h 1512"/>
                  <a:gd name="T40" fmla="*/ 1338391 w 2569"/>
                  <a:gd name="T41" fmla="*/ 826543 h 1512"/>
                  <a:gd name="T42" fmla="*/ 1369061 w 2569"/>
                  <a:gd name="T43" fmla="*/ 533541 h 1512"/>
                  <a:gd name="T44" fmla="*/ 1457643 w 2569"/>
                  <a:gd name="T45" fmla="*/ 567842 h 1512"/>
                  <a:gd name="T46" fmla="*/ 1599566 w 2569"/>
                  <a:gd name="T47" fmla="*/ 496385 h 1512"/>
                  <a:gd name="T48" fmla="*/ 1728152 w 2569"/>
                  <a:gd name="T49" fmla="*/ 453511 h 1512"/>
                  <a:gd name="T50" fmla="*/ 1748155 w 2569"/>
                  <a:gd name="T51" fmla="*/ 258196 h 1512"/>
                  <a:gd name="T52" fmla="*/ 1996758 w 2569"/>
                  <a:gd name="T53" fmla="*/ 309646 h 1512"/>
                  <a:gd name="T54" fmla="*/ 2018664 w 2569"/>
                  <a:gd name="T55" fmla="*/ 248670 h 1512"/>
                  <a:gd name="T56" fmla="*/ 2209165 w 2569"/>
                  <a:gd name="T57" fmla="*/ 233425 h 1512"/>
                  <a:gd name="T58" fmla="*/ 2458718 w 2569"/>
                  <a:gd name="T59" fmla="*/ 0 h 1512"/>
                  <a:gd name="T60" fmla="*/ 2649220 w 2569"/>
                  <a:gd name="T61" fmla="*/ 20962 h 1512"/>
                  <a:gd name="T62" fmla="*/ 2726371 w 2569"/>
                  <a:gd name="T63" fmla="*/ 208655 h 1512"/>
                  <a:gd name="T64" fmla="*/ 2861428 w 2569"/>
                  <a:gd name="T65" fmla="*/ 217740 h 1512"/>
                  <a:gd name="T66" fmla="*/ 3020695 w 2569"/>
                  <a:gd name="T67" fmla="*/ 68599 h 1512"/>
                  <a:gd name="T68" fmla="*/ 3157538 w 2569"/>
                  <a:gd name="T69" fmla="*/ 107341 h 1512"/>
                  <a:gd name="T70" fmla="*/ 3279772 w 2569"/>
                  <a:gd name="T71" fmla="*/ 262959 h 1512"/>
                  <a:gd name="T72" fmla="*/ 3495674 w 2569"/>
                  <a:gd name="T73" fmla="*/ 305833 h 1512"/>
                  <a:gd name="T74" fmla="*/ 3678236 w 2569"/>
                  <a:gd name="T75" fmla="*/ 420164 h 1512"/>
                  <a:gd name="T76" fmla="*/ 3708398 w 2569"/>
                  <a:gd name="T77" fmla="*/ 595471 h 1512"/>
                  <a:gd name="T78" fmla="*/ 3835399 w 2569"/>
                  <a:gd name="T79" fmla="*/ 663116 h 1512"/>
                  <a:gd name="T80" fmla="*/ 3913618 w 2569"/>
                  <a:gd name="T81" fmla="*/ 717293 h 1512"/>
                  <a:gd name="T82" fmla="*/ 3920806 w 2569"/>
                  <a:gd name="T83" fmla="*/ 843186 h 1512"/>
                  <a:gd name="T84" fmla="*/ 4030664 w 2569"/>
                  <a:gd name="T85" fmla="*/ 890187 h 1512"/>
                  <a:gd name="T86" fmla="*/ 4076701 w 2569"/>
                  <a:gd name="T87" fmla="*/ 1123613 h 1512"/>
                  <a:gd name="T88" fmla="*/ 3982318 w 2569"/>
                  <a:gd name="T89" fmla="*/ 1208414 h 1512"/>
                  <a:gd name="T90" fmla="*/ 4078287 w 2569"/>
                  <a:gd name="T91" fmla="*/ 1514242 h 1512"/>
                  <a:gd name="T92" fmla="*/ 3890962 w 2569"/>
                  <a:gd name="T93" fmla="*/ 1714320 h 1512"/>
                  <a:gd name="T94" fmla="*/ 3551235 w 2569"/>
                  <a:gd name="T95" fmla="*/ 1787364 h 1512"/>
                  <a:gd name="T96" fmla="*/ 3470575 w 2569"/>
                  <a:gd name="T97" fmla="*/ 1964448 h 1512"/>
                  <a:gd name="T98" fmla="*/ 3336925 w 2569"/>
                  <a:gd name="T99" fmla="*/ 2090655 h 1512"/>
                  <a:gd name="T100" fmla="*/ 3103561 w 2569"/>
                  <a:gd name="T101" fmla="*/ 2011257 h 1512"/>
                  <a:gd name="T102" fmla="*/ 2974974 w 2569"/>
                  <a:gd name="T103" fmla="*/ 2249444 h 1512"/>
                  <a:gd name="T104" fmla="*/ 2841626 w 2569"/>
                  <a:gd name="T105" fmla="*/ 2400300 h 1512"/>
                  <a:gd name="T106" fmla="*/ 2544884 w 2569"/>
                  <a:gd name="T107" fmla="*/ 2142284 h 1512"/>
                  <a:gd name="T108" fmla="*/ 2274888 w 2569"/>
                  <a:gd name="T109" fmla="*/ 2054131 h 1512"/>
                  <a:gd name="T110" fmla="*/ 2173412 w 2569"/>
                  <a:gd name="T111" fmla="*/ 2224854 h 1512"/>
                  <a:gd name="T112" fmla="*/ 1830390 w 2569"/>
                  <a:gd name="T113" fmla="*/ 2203395 h 1512"/>
                  <a:gd name="T114" fmla="*/ 1546226 w 2569"/>
                  <a:gd name="T115" fmla="*/ 2343131 h 1512"/>
                  <a:gd name="T116" fmla="*/ 1385887 w 2569"/>
                  <a:gd name="T117" fmla="*/ 2330430 h 1512"/>
                  <a:gd name="T118" fmla="*/ 1279524 w 2569"/>
                  <a:gd name="T119" fmla="*/ 2392360 h 1512"/>
                  <a:gd name="T120" fmla="*/ 955678 w 2569"/>
                  <a:gd name="T121" fmla="*/ 2160521 h 1512"/>
                  <a:gd name="T122" fmla="*/ 268633 w 2569"/>
                  <a:gd name="T123" fmla="*/ 2124829 h 151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2569" h="1512">
                    <a:moveTo>
                      <a:pt x="169" y="1338"/>
                    </a:moveTo>
                    <a:lnTo>
                      <a:pt x="144" y="1255"/>
                    </a:lnTo>
                    <a:lnTo>
                      <a:pt x="0" y="1127"/>
                    </a:lnTo>
                    <a:lnTo>
                      <a:pt x="117" y="949"/>
                    </a:lnTo>
                    <a:lnTo>
                      <a:pt x="237" y="906"/>
                    </a:lnTo>
                    <a:lnTo>
                      <a:pt x="256" y="850"/>
                    </a:lnTo>
                    <a:lnTo>
                      <a:pt x="193" y="785"/>
                    </a:lnTo>
                    <a:lnTo>
                      <a:pt x="271" y="556"/>
                    </a:lnTo>
                    <a:lnTo>
                      <a:pt x="361" y="547"/>
                    </a:lnTo>
                    <a:lnTo>
                      <a:pt x="441" y="492"/>
                    </a:lnTo>
                    <a:lnTo>
                      <a:pt x="429" y="426"/>
                    </a:lnTo>
                    <a:lnTo>
                      <a:pt x="516" y="313"/>
                    </a:lnTo>
                    <a:lnTo>
                      <a:pt x="597" y="367"/>
                    </a:lnTo>
                    <a:lnTo>
                      <a:pt x="651" y="452"/>
                    </a:lnTo>
                    <a:lnTo>
                      <a:pt x="670" y="520"/>
                    </a:lnTo>
                    <a:lnTo>
                      <a:pt x="649" y="624"/>
                    </a:lnTo>
                    <a:lnTo>
                      <a:pt x="697" y="688"/>
                    </a:lnTo>
                    <a:lnTo>
                      <a:pt x="796" y="648"/>
                    </a:lnTo>
                    <a:lnTo>
                      <a:pt x="885" y="657"/>
                    </a:lnTo>
                    <a:lnTo>
                      <a:pt x="899" y="576"/>
                    </a:lnTo>
                    <a:lnTo>
                      <a:pt x="843" y="521"/>
                    </a:lnTo>
                    <a:lnTo>
                      <a:pt x="862" y="336"/>
                    </a:lnTo>
                    <a:lnTo>
                      <a:pt x="918" y="358"/>
                    </a:lnTo>
                    <a:lnTo>
                      <a:pt x="1008" y="313"/>
                    </a:lnTo>
                    <a:lnTo>
                      <a:pt x="1089" y="286"/>
                    </a:lnTo>
                    <a:lnTo>
                      <a:pt x="1101" y="163"/>
                    </a:lnTo>
                    <a:lnTo>
                      <a:pt x="1258" y="195"/>
                    </a:lnTo>
                    <a:lnTo>
                      <a:pt x="1272" y="157"/>
                    </a:lnTo>
                    <a:lnTo>
                      <a:pt x="1392" y="147"/>
                    </a:lnTo>
                    <a:lnTo>
                      <a:pt x="1549" y="0"/>
                    </a:lnTo>
                    <a:lnTo>
                      <a:pt x="1669" y="13"/>
                    </a:lnTo>
                    <a:lnTo>
                      <a:pt x="1717" y="131"/>
                    </a:lnTo>
                    <a:lnTo>
                      <a:pt x="1802" y="137"/>
                    </a:lnTo>
                    <a:lnTo>
                      <a:pt x="1903" y="43"/>
                    </a:lnTo>
                    <a:lnTo>
                      <a:pt x="1989" y="68"/>
                    </a:lnTo>
                    <a:lnTo>
                      <a:pt x="2066" y="166"/>
                    </a:lnTo>
                    <a:lnTo>
                      <a:pt x="2202" y="193"/>
                    </a:lnTo>
                    <a:lnTo>
                      <a:pt x="2317" y="265"/>
                    </a:lnTo>
                    <a:lnTo>
                      <a:pt x="2336" y="375"/>
                    </a:lnTo>
                    <a:lnTo>
                      <a:pt x="2416" y="418"/>
                    </a:lnTo>
                    <a:lnTo>
                      <a:pt x="2465" y="452"/>
                    </a:lnTo>
                    <a:lnTo>
                      <a:pt x="2470" y="531"/>
                    </a:lnTo>
                    <a:lnTo>
                      <a:pt x="2539" y="561"/>
                    </a:lnTo>
                    <a:lnTo>
                      <a:pt x="2568" y="708"/>
                    </a:lnTo>
                    <a:lnTo>
                      <a:pt x="2509" y="761"/>
                    </a:lnTo>
                    <a:lnTo>
                      <a:pt x="2569" y="954"/>
                    </a:lnTo>
                    <a:lnTo>
                      <a:pt x="2451" y="1080"/>
                    </a:lnTo>
                    <a:lnTo>
                      <a:pt x="2237" y="1126"/>
                    </a:lnTo>
                    <a:lnTo>
                      <a:pt x="2186" y="1237"/>
                    </a:lnTo>
                    <a:lnTo>
                      <a:pt x="2102" y="1317"/>
                    </a:lnTo>
                    <a:lnTo>
                      <a:pt x="1955" y="1267"/>
                    </a:lnTo>
                    <a:lnTo>
                      <a:pt x="1874" y="1417"/>
                    </a:lnTo>
                    <a:lnTo>
                      <a:pt x="1790" y="1512"/>
                    </a:lnTo>
                    <a:lnTo>
                      <a:pt x="1603" y="1349"/>
                    </a:lnTo>
                    <a:lnTo>
                      <a:pt x="1433" y="1294"/>
                    </a:lnTo>
                    <a:lnTo>
                      <a:pt x="1369" y="1401"/>
                    </a:lnTo>
                    <a:lnTo>
                      <a:pt x="1153" y="1388"/>
                    </a:lnTo>
                    <a:lnTo>
                      <a:pt x="974" y="1476"/>
                    </a:lnTo>
                    <a:lnTo>
                      <a:pt x="873" y="1468"/>
                    </a:lnTo>
                    <a:lnTo>
                      <a:pt x="806" y="1507"/>
                    </a:lnTo>
                    <a:lnTo>
                      <a:pt x="602" y="1361"/>
                    </a:lnTo>
                    <a:lnTo>
                      <a:pt x="169" y="1338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20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00" name="任意多边形 100">
                <a:extLst>
                  <a:ext uri="{FF2B5EF4-FFF2-40B4-BE49-F238E27FC236}">
                    <a16:creationId xmlns:a16="http://schemas.microsoft.com/office/drawing/2014/main" xmlns="" id="{BF55ADF4-FBAC-FC4B-BE84-930BA5E1BF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07240" y="2977198"/>
                <a:ext cx="1506298" cy="1302385"/>
              </a:xfrm>
              <a:custGeom>
                <a:avLst/>
                <a:gdLst/>
                <a:ahLst/>
                <a:cxnLst/>
                <a:rect l="0" t="0" r="r" b="b"/>
                <a:pathLst>
                  <a:path w="18447968" h="15946069">
                    <a:moveTo>
                      <a:pt x="477776" y="7436569"/>
                    </a:moveTo>
                    <a:lnTo>
                      <a:pt x="271294" y="8060457"/>
                    </a:lnTo>
                    <a:lnTo>
                      <a:pt x="379812" y="8675382"/>
                    </a:lnTo>
                    <a:lnTo>
                      <a:pt x="759624" y="9217969"/>
                    </a:lnTo>
                    <a:lnTo>
                      <a:pt x="687278" y="9670126"/>
                    </a:lnTo>
                    <a:lnTo>
                      <a:pt x="144687" y="9941420"/>
                    </a:lnTo>
                    <a:lnTo>
                      <a:pt x="343643" y="10592536"/>
                    </a:lnTo>
                    <a:lnTo>
                      <a:pt x="940487" y="10954252"/>
                    </a:lnTo>
                    <a:lnTo>
                      <a:pt x="596844" y="11786221"/>
                    </a:lnTo>
                    <a:lnTo>
                      <a:pt x="633017" y="12780969"/>
                    </a:lnTo>
                    <a:lnTo>
                      <a:pt x="198944" y="13341645"/>
                    </a:lnTo>
                    <a:lnTo>
                      <a:pt x="723451" y="13757629"/>
                    </a:lnTo>
                    <a:lnTo>
                      <a:pt x="1640036" y="13197151"/>
                    </a:lnTo>
                    <a:lnTo>
                      <a:pt x="1880971" y="13395906"/>
                    </a:lnTo>
                    <a:lnTo>
                      <a:pt x="2930086" y="12952832"/>
                    </a:lnTo>
                    <a:lnTo>
                      <a:pt x="3828256" y="13245188"/>
                    </a:lnTo>
                    <a:lnTo>
                      <a:pt x="4768739" y="13040205"/>
                    </a:lnTo>
                    <a:lnTo>
                      <a:pt x="5190751" y="13649115"/>
                    </a:lnTo>
                    <a:lnTo>
                      <a:pt x="5932290" y="13444132"/>
                    </a:lnTo>
                    <a:lnTo>
                      <a:pt x="6498992" y="12991975"/>
                    </a:lnTo>
                    <a:lnTo>
                      <a:pt x="7373161" y="13582800"/>
                    </a:lnTo>
                    <a:lnTo>
                      <a:pt x="8512588" y="13570738"/>
                    </a:lnTo>
                    <a:lnTo>
                      <a:pt x="9416903" y="13281357"/>
                    </a:lnTo>
                    <a:lnTo>
                      <a:pt x="9742454" y="14004811"/>
                    </a:lnTo>
                    <a:lnTo>
                      <a:pt x="10080066" y="14716204"/>
                    </a:lnTo>
                    <a:lnTo>
                      <a:pt x="10616683" y="15358294"/>
                    </a:lnTo>
                    <a:lnTo>
                      <a:pt x="11117010" y="15946069"/>
                    </a:lnTo>
                    <a:lnTo>
                      <a:pt x="11593335" y="15822497"/>
                    </a:lnTo>
                    <a:lnTo>
                      <a:pt x="11780218" y="13579811"/>
                    </a:lnTo>
                    <a:lnTo>
                      <a:pt x="11954994" y="12135890"/>
                    </a:lnTo>
                    <a:lnTo>
                      <a:pt x="12196146" y="11388328"/>
                    </a:lnTo>
                    <a:lnTo>
                      <a:pt x="13166775" y="11707856"/>
                    </a:lnTo>
                    <a:lnTo>
                      <a:pt x="14004775" y="11611395"/>
                    </a:lnTo>
                    <a:lnTo>
                      <a:pt x="14939235" y="11322014"/>
                    </a:lnTo>
                    <a:lnTo>
                      <a:pt x="15409477" y="11882693"/>
                    </a:lnTo>
                    <a:lnTo>
                      <a:pt x="15861634" y="11273783"/>
                    </a:lnTo>
                    <a:lnTo>
                      <a:pt x="16413199" y="10920339"/>
                    </a:lnTo>
                    <a:lnTo>
                      <a:pt x="16765948" y="10200671"/>
                    </a:lnTo>
                    <a:lnTo>
                      <a:pt x="16428336" y="9374732"/>
                    </a:lnTo>
                    <a:lnTo>
                      <a:pt x="15946033" y="8440272"/>
                    </a:lnTo>
                    <a:lnTo>
                      <a:pt x="16024409" y="7433474"/>
                    </a:lnTo>
                    <a:lnTo>
                      <a:pt x="16958870" y="6776350"/>
                    </a:lnTo>
                    <a:lnTo>
                      <a:pt x="17911414" y="6083041"/>
                    </a:lnTo>
                    <a:lnTo>
                      <a:pt x="17694370" y="5570592"/>
                    </a:lnTo>
                    <a:lnTo>
                      <a:pt x="17385711" y="5219213"/>
                    </a:lnTo>
                    <a:lnTo>
                      <a:pt x="17637701" y="4819407"/>
                    </a:lnTo>
                    <a:lnTo>
                      <a:pt x="18171858" y="4701949"/>
                    </a:lnTo>
                    <a:lnTo>
                      <a:pt x="18447970" y="4316604"/>
                    </a:lnTo>
                    <a:lnTo>
                      <a:pt x="17814953" y="4117660"/>
                    </a:lnTo>
                    <a:lnTo>
                      <a:pt x="17067422" y="3472551"/>
                    </a:lnTo>
                    <a:lnTo>
                      <a:pt x="16852763" y="3282076"/>
                    </a:lnTo>
                    <a:lnTo>
                      <a:pt x="16161870" y="4063407"/>
                    </a:lnTo>
                    <a:lnTo>
                      <a:pt x="14429201" y="4027238"/>
                    </a:lnTo>
                    <a:lnTo>
                      <a:pt x="13854061" y="3658272"/>
                    </a:lnTo>
                    <a:lnTo>
                      <a:pt x="13383819" y="2963756"/>
                    </a:lnTo>
                    <a:lnTo>
                      <a:pt x="12493981" y="2927587"/>
                    </a:lnTo>
                    <a:lnTo>
                      <a:pt x="11976717" y="2139025"/>
                    </a:lnTo>
                    <a:lnTo>
                      <a:pt x="11484768" y="1495155"/>
                    </a:lnTo>
                    <a:lnTo>
                      <a:pt x="10830043" y="1256418"/>
                    </a:lnTo>
                    <a:lnTo>
                      <a:pt x="10323633" y="1220249"/>
                    </a:lnTo>
                    <a:lnTo>
                      <a:pt x="9802745" y="1603676"/>
                    </a:lnTo>
                    <a:lnTo>
                      <a:pt x="9223982" y="1621761"/>
                    </a:lnTo>
                    <a:lnTo>
                      <a:pt x="8782678" y="2171586"/>
                    </a:lnTo>
                    <a:lnTo>
                      <a:pt x="8272645" y="2102856"/>
                    </a:lnTo>
                    <a:lnTo>
                      <a:pt x="7853048" y="2526075"/>
                    </a:lnTo>
                    <a:lnTo>
                      <a:pt x="7323799" y="2632907"/>
                    </a:lnTo>
                    <a:lnTo>
                      <a:pt x="6977672" y="2178817"/>
                    </a:lnTo>
                    <a:lnTo>
                      <a:pt x="6594245" y="2055834"/>
                    </a:lnTo>
                    <a:lnTo>
                      <a:pt x="6431470" y="1314295"/>
                    </a:lnTo>
                    <a:lnTo>
                      <a:pt x="5642908" y="1343233"/>
                    </a:lnTo>
                    <a:lnTo>
                      <a:pt x="5150959" y="1610907"/>
                    </a:lnTo>
                    <a:lnTo>
                      <a:pt x="5480133" y="2167963"/>
                    </a:lnTo>
                    <a:lnTo>
                      <a:pt x="4742216" y="2862495"/>
                    </a:lnTo>
                    <a:lnTo>
                      <a:pt x="2658667" y="0"/>
                    </a:lnTo>
                    <a:lnTo>
                      <a:pt x="2658682" y="1018890"/>
                    </a:lnTo>
                    <a:lnTo>
                      <a:pt x="1850829" y="1730283"/>
                    </a:lnTo>
                    <a:lnTo>
                      <a:pt x="1404694" y="2272862"/>
                    </a:lnTo>
                    <a:lnTo>
                      <a:pt x="2351216" y="3388182"/>
                    </a:lnTo>
                    <a:lnTo>
                      <a:pt x="2658682" y="4286458"/>
                    </a:lnTo>
                    <a:lnTo>
                      <a:pt x="1935228" y="5220918"/>
                    </a:lnTo>
                    <a:lnTo>
                      <a:pt x="875281" y="5166646"/>
                    </a:lnTo>
                    <a:lnTo>
                      <a:pt x="0" y="5890112"/>
                    </a:lnTo>
                    <a:lnTo>
                      <a:pt x="72345" y="6921032"/>
                    </a:lnTo>
                    <a:lnTo>
                      <a:pt x="477776" y="7436569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 b="1" dirty="0">
                  <a:latin typeface="Arial" charset="0"/>
                </a:endParaRPr>
              </a:p>
            </p:txBody>
          </p:sp>
          <p:sp>
            <p:nvSpPr>
              <p:cNvPr id="301" name="任意多边形 101">
                <a:extLst>
                  <a:ext uri="{FF2B5EF4-FFF2-40B4-BE49-F238E27FC236}">
                    <a16:creationId xmlns:a16="http://schemas.microsoft.com/office/drawing/2014/main" xmlns="" id="{A972CBA9-7125-0E42-8A27-03789C86C6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6244" y="3167380"/>
                <a:ext cx="1550424" cy="1358583"/>
              </a:xfrm>
              <a:custGeom>
                <a:avLst/>
                <a:gdLst/>
                <a:ahLst/>
                <a:cxnLst/>
                <a:rect l="0" t="0" r="r" b="b"/>
                <a:pathLst>
                  <a:path w="4884" h="4279">
                    <a:moveTo>
                      <a:pt x="544" y="127"/>
                    </a:moveTo>
                    <a:lnTo>
                      <a:pt x="590" y="351"/>
                    </a:lnTo>
                    <a:lnTo>
                      <a:pt x="499" y="437"/>
                    </a:lnTo>
                    <a:lnTo>
                      <a:pt x="590" y="732"/>
                    </a:lnTo>
                    <a:lnTo>
                      <a:pt x="403" y="934"/>
                    </a:lnTo>
                    <a:lnTo>
                      <a:pt x="79" y="1000"/>
                    </a:lnTo>
                    <a:lnTo>
                      <a:pt x="0" y="1172"/>
                    </a:lnTo>
                    <a:lnTo>
                      <a:pt x="204" y="1276"/>
                    </a:lnTo>
                    <a:lnTo>
                      <a:pt x="120" y="1417"/>
                    </a:lnTo>
                    <a:lnTo>
                      <a:pt x="161" y="1538"/>
                    </a:lnTo>
                    <a:lnTo>
                      <a:pt x="239" y="1624"/>
                    </a:lnTo>
                    <a:lnTo>
                      <a:pt x="410" y="1577"/>
                    </a:lnTo>
                    <a:lnTo>
                      <a:pt x="523" y="1653"/>
                    </a:lnTo>
                    <a:lnTo>
                      <a:pt x="476" y="1787"/>
                    </a:lnTo>
                    <a:lnTo>
                      <a:pt x="486" y="2172"/>
                    </a:lnTo>
                    <a:lnTo>
                      <a:pt x="568" y="2287"/>
                    </a:lnTo>
                    <a:lnTo>
                      <a:pt x="448" y="2508"/>
                    </a:lnTo>
                    <a:lnTo>
                      <a:pt x="377" y="2683"/>
                    </a:lnTo>
                    <a:lnTo>
                      <a:pt x="464" y="2859"/>
                    </a:lnTo>
                    <a:lnTo>
                      <a:pt x="457" y="3038"/>
                    </a:lnTo>
                    <a:lnTo>
                      <a:pt x="685" y="3172"/>
                    </a:lnTo>
                    <a:lnTo>
                      <a:pt x="811" y="3206"/>
                    </a:lnTo>
                    <a:lnTo>
                      <a:pt x="898" y="3302"/>
                    </a:lnTo>
                    <a:lnTo>
                      <a:pt x="943" y="3673"/>
                    </a:lnTo>
                    <a:lnTo>
                      <a:pt x="1043" y="4279"/>
                    </a:lnTo>
                    <a:lnTo>
                      <a:pt x="1904" y="4098"/>
                    </a:lnTo>
                    <a:lnTo>
                      <a:pt x="2021" y="4051"/>
                    </a:lnTo>
                    <a:lnTo>
                      <a:pt x="1989" y="3979"/>
                    </a:lnTo>
                    <a:lnTo>
                      <a:pt x="2056" y="3893"/>
                    </a:lnTo>
                    <a:lnTo>
                      <a:pt x="2060" y="3814"/>
                    </a:lnTo>
                    <a:lnTo>
                      <a:pt x="2224" y="3774"/>
                    </a:lnTo>
                    <a:lnTo>
                      <a:pt x="2369" y="3651"/>
                    </a:lnTo>
                    <a:lnTo>
                      <a:pt x="2705" y="3438"/>
                    </a:lnTo>
                    <a:lnTo>
                      <a:pt x="2798" y="3396"/>
                    </a:lnTo>
                    <a:lnTo>
                      <a:pt x="2854" y="3305"/>
                    </a:lnTo>
                    <a:lnTo>
                      <a:pt x="2914" y="3215"/>
                    </a:lnTo>
                    <a:lnTo>
                      <a:pt x="3007" y="3248"/>
                    </a:lnTo>
                    <a:lnTo>
                      <a:pt x="3139" y="3230"/>
                    </a:lnTo>
                    <a:lnTo>
                      <a:pt x="3218" y="3147"/>
                    </a:lnTo>
                    <a:lnTo>
                      <a:pt x="3406" y="2847"/>
                    </a:lnTo>
                    <a:lnTo>
                      <a:pt x="3620" y="2846"/>
                    </a:lnTo>
                    <a:lnTo>
                      <a:pt x="3751" y="2933"/>
                    </a:lnTo>
                    <a:lnTo>
                      <a:pt x="3818" y="3038"/>
                    </a:lnTo>
                    <a:lnTo>
                      <a:pt x="3991" y="3096"/>
                    </a:lnTo>
                    <a:lnTo>
                      <a:pt x="4140" y="3230"/>
                    </a:lnTo>
                    <a:lnTo>
                      <a:pt x="4400" y="3032"/>
                    </a:lnTo>
                    <a:lnTo>
                      <a:pt x="4884" y="2731"/>
                    </a:lnTo>
                    <a:lnTo>
                      <a:pt x="4794" y="2593"/>
                    </a:lnTo>
                    <a:lnTo>
                      <a:pt x="4755" y="2422"/>
                    </a:lnTo>
                    <a:lnTo>
                      <a:pt x="4673" y="2234"/>
                    </a:lnTo>
                    <a:lnTo>
                      <a:pt x="4452" y="2187"/>
                    </a:lnTo>
                    <a:lnTo>
                      <a:pt x="4314" y="2026"/>
                    </a:lnTo>
                    <a:lnTo>
                      <a:pt x="4318" y="1915"/>
                    </a:lnTo>
                    <a:lnTo>
                      <a:pt x="4274" y="1878"/>
                    </a:lnTo>
                    <a:lnTo>
                      <a:pt x="4179" y="2007"/>
                    </a:lnTo>
                    <a:lnTo>
                      <a:pt x="4021" y="1780"/>
                    </a:lnTo>
                    <a:lnTo>
                      <a:pt x="4065" y="1572"/>
                    </a:lnTo>
                    <a:lnTo>
                      <a:pt x="3994" y="1448"/>
                    </a:lnTo>
                    <a:lnTo>
                      <a:pt x="4140" y="1294"/>
                    </a:lnTo>
                    <a:lnTo>
                      <a:pt x="4322" y="1231"/>
                    </a:lnTo>
                    <a:lnTo>
                      <a:pt x="4284" y="1073"/>
                    </a:lnTo>
                    <a:lnTo>
                      <a:pt x="4242" y="877"/>
                    </a:lnTo>
                    <a:lnTo>
                      <a:pt x="4159" y="719"/>
                    </a:lnTo>
                    <a:lnTo>
                      <a:pt x="4032" y="548"/>
                    </a:lnTo>
                    <a:lnTo>
                      <a:pt x="4153" y="494"/>
                    </a:lnTo>
                    <a:lnTo>
                      <a:pt x="4003" y="289"/>
                    </a:lnTo>
                    <a:lnTo>
                      <a:pt x="3896" y="364"/>
                    </a:lnTo>
                    <a:lnTo>
                      <a:pt x="3946" y="187"/>
                    </a:lnTo>
                    <a:lnTo>
                      <a:pt x="3763" y="204"/>
                    </a:lnTo>
                    <a:lnTo>
                      <a:pt x="3711" y="337"/>
                    </a:lnTo>
                    <a:lnTo>
                      <a:pt x="3647" y="498"/>
                    </a:lnTo>
                    <a:lnTo>
                      <a:pt x="3455" y="547"/>
                    </a:lnTo>
                    <a:lnTo>
                      <a:pt x="3142" y="565"/>
                    </a:lnTo>
                    <a:lnTo>
                      <a:pt x="3095" y="451"/>
                    </a:lnTo>
                    <a:lnTo>
                      <a:pt x="2977" y="482"/>
                    </a:lnTo>
                    <a:lnTo>
                      <a:pt x="2950" y="569"/>
                    </a:lnTo>
                    <a:lnTo>
                      <a:pt x="2906" y="668"/>
                    </a:lnTo>
                    <a:lnTo>
                      <a:pt x="2733" y="567"/>
                    </a:lnTo>
                    <a:lnTo>
                      <a:pt x="2545" y="570"/>
                    </a:lnTo>
                    <a:lnTo>
                      <a:pt x="2411" y="407"/>
                    </a:lnTo>
                    <a:lnTo>
                      <a:pt x="2357" y="213"/>
                    </a:lnTo>
                    <a:lnTo>
                      <a:pt x="2071" y="181"/>
                    </a:lnTo>
                    <a:lnTo>
                      <a:pt x="1947" y="285"/>
                    </a:lnTo>
                    <a:lnTo>
                      <a:pt x="1819" y="280"/>
                    </a:lnTo>
                    <a:lnTo>
                      <a:pt x="1769" y="164"/>
                    </a:lnTo>
                    <a:lnTo>
                      <a:pt x="1490" y="146"/>
                    </a:lnTo>
                    <a:lnTo>
                      <a:pt x="1403" y="221"/>
                    </a:lnTo>
                    <a:lnTo>
                      <a:pt x="1275" y="237"/>
                    </a:lnTo>
                    <a:lnTo>
                      <a:pt x="1211" y="354"/>
                    </a:lnTo>
                    <a:lnTo>
                      <a:pt x="1021" y="417"/>
                    </a:lnTo>
                    <a:lnTo>
                      <a:pt x="796" y="140"/>
                    </a:lnTo>
                    <a:lnTo>
                      <a:pt x="615" y="0"/>
                    </a:lnTo>
                    <a:lnTo>
                      <a:pt x="544" y="127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20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02" name="任意多边形 109">
                <a:extLst>
                  <a:ext uri="{FF2B5EF4-FFF2-40B4-BE49-F238E27FC236}">
                    <a16:creationId xmlns:a16="http://schemas.microsoft.com/office/drawing/2014/main" xmlns="" id="{E31FCC24-9DF4-8743-BF5E-443228216A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88274" y="2490788"/>
                <a:ext cx="1112343" cy="1445260"/>
              </a:xfrm>
              <a:custGeom>
                <a:avLst/>
                <a:gdLst/>
                <a:ahLst/>
                <a:cxnLst/>
                <a:rect l="0" t="0" r="r" b="b"/>
                <a:pathLst>
                  <a:path w="13622565" h="17699749">
                    <a:moveTo>
                      <a:pt x="10642295" y="190148"/>
                    </a:moveTo>
                    <a:lnTo>
                      <a:pt x="10541327" y="440405"/>
                    </a:lnTo>
                    <a:lnTo>
                      <a:pt x="10876011" y="946970"/>
                    </a:lnTo>
                    <a:lnTo>
                      <a:pt x="10454429" y="1010619"/>
                    </a:lnTo>
                    <a:lnTo>
                      <a:pt x="10487052" y="1326891"/>
                    </a:lnTo>
                    <a:lnTo>
                      <a:pt x="11002646" y="1598265"/>
                    </a:lnTo>
                    <a:lnTo>
                      <a:pt x="10369457" y="2041512"/>
                    </a:lnTo>
                    <a:lnTo>
                      <a:pt x="10948375" y="2647578"/>
                    </a:lnTo>
                    <a:lnTo>
                      <a:pt x="10622736" y="2882765"/>
                    </a:lnTo>
                    <a:lnTo>
                      <a:pt x="10752935" y="3452960"/>
                    </a:lnTo>
                    <a:lnTo>
                      <a:pt x="10626295" y="3697184"/>
                    </a:lnTo>
                    <a:lnTo>
                      <a:pt x="10758424" y="4004449"/>
                    </a:lnTo>
                    <a:lnTo>
                      <a:pt x="10215688" y="4529111"/>
                    </a:lnTo>
                    <a:lnTo>
                      <a:pt x="10282575" y="5542511"/>
                    </a:lnTo>
                    <a:lnTo>
                      <a:pt x="10362483" y="6248949"/>
                    </a:lnTo>
                    <a:lnTo>
                      <a:pt x="9654875" y="7324261"/>
                    </a:lnTo>
                    <a:lnTo>
                      <a:pt x="8885999" y="7975560"/>
                    </a:lnTo>
                    <a:lnTo>
                      <a:pt x="9293054" y="8427848"/>
                    </a:lnTo>
                    <a:lnTo>
                      <a:pt x="9342463" y="9786535"/>
                    </a:lnTo>
                    <a:lnTo>
                      <a:pt x="10161417" y="9793764"/>
                    </a:lnTo>
                    <a:lnTo>
                      <a:pt x="10532279" y="10454115"/>
                    </a:lnTo>
                    <a:lnTo>
                      <a:pt x="11482058" y="10463152"/>
                    </a:lnTo>
                    <a:lnTo>
                      <a:pt x="11653917" y="10779759"/>
                    </a:lnTo>
                    <a:lnTo>
                      <a:pt x="12033827" y="11051133"/>
                    </a:lnTo>
                    <a:lnTo>
                      <a:pt x="12531328" y="11331556"/>
                    </a:lnTo>
                    <a:lnTo>
                      <a:pt x="13525033" y="11264884"/>
                    </a:lnTo>
                    <a:lnTo>
                      <a:pt x="13622565" y="11784996"/>
                    </a:lnTo>
                    <a:lnTo>
                      <a:pt x="13072739" y="12075586"/>
                    </a:lnTo>
                    <a:lnTo>
                      <a:pt x="12397515" y="12497597"/>
                    </a:lnTo>
                    <a:lnTo>
                      <a:pt x="12090048" y="13287367"/>
                    </a:lnTo>
                    <a:lnTo>
                      <a:pt x="11571576" y="13691294"/>
                    </a:lnTo>
                    <a:lnTo>
                      <a:pt x="10824014" y="14318273"/>
                    </a:lnTo>
                    <a:lnTo>
                      <a:pt x="10691385" y="15186418"/>
                    </a:lnTo>
                    <a:lnTo>
                      <a:pt x="10076452" y="15753121"/>
                    </a:lnTo>
                    <a:lnTo>
                      <a:pt x="9690609" y="15897811"/>
                    </a:lnTo>
                    <a:lnTo>
                      <a:pt x="9316828" y="16253508"/>
                    </a:lnTo>
                    <a:lnTo>
                      <a:pt x="8762187" y="16349969"/>
                    </a:lnTo>
                    <a:lnTo>
                      <a:pt x="8117109" y="15867666"/>
                    </a:lnTo>
                    <a:lnTo>
                      <a:pt x="7616721" y="15873689"/>
                    </a:lnTo>
                    <a:lnTo>
                      <a:pt x="7435861" y="16741834"/>
                    </a:lnTo>
                    <a:lnTo>
                      <a:pt x="6887243" y="17181930"/>
                    </a:lnTo>
                    <a:lnTo>
                      <a:pt x="6676238" y="17664233"/>
                    </a:lnTo>
                    <a:lnTo>
                      <a:pt x="6335576" y="17699749"/>
                    </a:lnTo>
                    <a:lnTo>
                      <a:pt x="6015490" y="16968505"/>
                    </a:lnTo>
                    <a:lnTo>
                      <a:pt x="5158198" y="16787645"/>
                    </a:lnTo>
                    <a:lnTo>
                      <a:pt x="4619226" y="16161859"/>
                    </a:lnTo>
                    <a:lnTo>
                      <a:pt x="4637311" y="15727786"/>
                    </a:lnTo>
                    <a:lnTo>
                      <a:pt x="4467305" y="15583095"/>
                    </a:lnTo>
                    <a:lnTo>
                      <a:pt x="4097454" y="16087770"/>
                    </a:lnTo>
                    <a:lnTo>
                      <a:pt x="3482522" y="15203956"/>
                    </a:lnTo>
                    <a:lnTo>
                      <a:pt x="3653428" y="14396645"/>
                    </a:lnTo>
                    <a:lnTo>
                      <a:pt x="3378507" y="13914342"/>
                    </a:lnTo>
                    <a:lnTo>
                      <a:pt x="3945210" y="13317494"/>
                    </a:lnTo>
                    <a:lnTo>
                      <a:pt x="4650580" y="13070319"/>
                    </a:lnTo>
                    <a:lnTo>
                      <a:pt x="4505889" y="12455386"/>
                    </a:lnTo>
                    <a:lnTo>
                      <a:pt x="4343114" y="11695763"/>
                    </a:lnTo>
                    <a:lnTo>
                      <a:pt x="4017563" y="11080830"/>
                    </a:lnTo>
                    <a:lnTo>
                      <a:pt x="3523198" y="10417667"/>
                    </a:lnTo>
                    <a:lnTo>
                      <a:pt x="3996178" y="10206164"/>
                    </a:lnTo>
                    <a:lnTo>
                      <a:pt x="3411391" y="9409164"/>
                    </a:lnTo>
                    <a:lnTo>
                      <a:pt x="2997818" y="9699753"/>
                    </a:lnTo>
                    <a:lnTo>
                      <a:pt x="3191625" y="9012965"/>
                    </a:lnTo>
                    <a:lnTo>
                      <a:pt x="2481120" y="9079257"/>
                    </a:lnTo>
                    <a:lnTo>
                      <a:pt x="2307810" y="8862270"/>
                    </a:lnTo>
                    <a:lnTo>
                      <a:pt x="1902675" y="8435428"/>
                    </a:lnTo>
                    <a:lnTo>
                      <a:pt x="1461371" y="8522243"/>
                    </a:lnTo>
                    <a:lnTo>
                      <a:pt x="1211781" y="8156900"/>
                    </a:lnTo>
                    <a:lnTo>
                      <a:pt x="528118" y="8099024"/>
                    </a:lnTo>
                    <a:lnTo>
                      <a:pt x="549825" y="7444299"/>
                    </a:lnTo>
                    <a:lnTo>
                      <a:pt x="0" y="7252585"/>
                    </a:lnTo>
                    <a:lnTo>
                      <a:pt x="79584" y="6858305"/>
                    </a:lnTo>
                    <a:lnTo>
                      <a:pt x="745162" y="6648506"/>
                    </a:lnTo>
                    <a:lnTo>
                      <a:pt x="1291365" y="6409770"/>
                    </a:lnTo>
                    <a:lnTo>
                      <a:pt x="1645854" y="6207203"/>
                    </a:lnTo>
                    <a:lnTo>
                      <a:pt x="1663938" y="5650147"/>
                    </a:lnTo>
                    <a:lnTo>
                      <a:pt x="1171989" y="5140113"/>
                    </a:lnTo>
                    <a:lnTo>
                      <a:pt x="1848421" y="4217714"/>
                    </a:lnTo>
                    <a:lnTo>
                      <a:pt x="2492292" y="4441989"/>
                    </a:lnTo>
                    <a:lnTo>
                      <a:pt x="3280854" y="4470927"/>
                    </a:lnTo>
                    <a:lnTo>
                      <a:pt x="3761949" y="4152607"/>
                    </a:lnTo>
                    <a:lnTo>
                      <a:pt x="3114455" y="3606404"/>
                    </a:lnTo>
                    <a:lnTo>
                      <a:pt x="2673152" y="3541297"/>
                    </a:lnTo>
                    <a:lnTo>
                      <a:pt x="1989489" y="3570235"/>
                    </a:lnTo>
                    <a:lnTo>
                      <a:pt x="2018427" y="3063810"/>
                    </a:lnTo>
                    <a:lnTo>
                      <a:pt x="2831435" y="3080250"/>
                    </a:lnTo>
                    <a:lnTo>
                      <a:pt x="2904657" y="2857635"/>
                    </a:lnTo>
                    <a:lnTo>
                      <a:pt x="2307809" y="2694859"/>
                    </a:lnTo>
                    <a:lnTo>
                      <a:pt x="1757984" y="2579106"/>
                    </a:lnTo>
                    <a:lnTo>
                      <a:pt x="2376539" y="2040135"/>
                    </a:lnTo>
                    <a:lnTo>
                      <a:pt x="1786922" y="1692876"/>
                    </a:lnTo>
                    <a:lnTo>
                      <a:pt x="2353928" y="1376505"/>
                    </a:lnTo>
                    <a:lnTo>
                      <a:pt x="3392984" y="1616916"/>
                    </a:lnTo>
                    <a:lnTo>
                      <a:pt x="4807332" y="1461371"/>
                    </a:lnTo>
                    <a:lnTo>
                      <a:pt x="5613078" y="1412704"/>
                    </a:lnTo>
                    <a:lnTo>
                      <a:pt x="6427855" y="1211781"/>
                    </a:lnTo>
                    <a:lnTo>
                      <a:pt x="7110603" y="895439"/>
                    </a:lnTo>
                    <a:lnTo>
                      <a:pt x="8674165" y="1059859"/>
                    </a:lnTo>
                    <a:lnTo>
                      <a:pt x="8850487" y="790540"/>
                    </a:lnTo>
                    <a:lnTo>
                      <a:pt x="8804379" y="405135"/>
                    </a:lnTo>
                    <a:lnTo>
                      <a:pt x="9412081" y="144691"/>
                    </a:lnTo>
                    <a:lnTo>
                      <a:pt x="10153621" y="0"/>
                    </a:lnTo>
                    <a:lnTo>
                      <a:pt x="10642295" y="190148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20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03" name="任意多边形 110">
                <a:extLst>
                  <a:ext uri="{FF2B5EF4-FFF2-40B4-BE49-F238E27FC236}">
                    <a16:creationId xmlns:a16="http://schemas.microsoft.com/office/drawing/2014/main" xmlns="" id="{0331B626-CDB6-8A40-B6CC-BE314243EC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09851" y="3231198"/>
                <a:ext cx="2250717" cy="1237933"/>
              </a:xfrm>
              <a:custGeom>
                <a:avLst/>
                <a:gdLst/>
                <a:ahLst/>
                <a:cxnLst/>
                <a:rect l="0" t="0" r="r" b="b"/>
                <a:pathLst>
                  <a:path w="27560432" h="15152939">
                    <a:moveTo>
                      <a:pt x="26157237" y="4322377"/>
                    </a:moveTo>
                    <a:lnTo>
                      <a:pt x="25950755" y="4946265"/>
                    </a:lnTo>
                    <a:lnTo>
                      <a:pt x="26059273" y="5561190"/>
                    </a:lnTo>
                    <a:lnTo>
                      <a:pt x="26439085" y="6103777"/>
                    </a:lnTo>
                    <a:lnTo>
                      <a:pt x="26366739" y="6555934"/>
                    </a:lnTo>
                    <a:lnTo>
                      <a:pt x="25824148" y="6827228"/>
                    </a:lnTo>
                    <a:lnTo>
                      <a:pt x="26023104" y="7478344"/>
                    </a:lnTo>
                    <a:lnTo>
                      <a:pt x="26619948" y="7840060"/>
                    </a:lnTo>
                    <a:lnTo>
                      <a:pt x="26276305" y="8672029"/>
                    </a:lnTo>
                    <a:lnTo>
                      <a:pt x="26312478" y="9666777"/>
                    </a:lnTo>
                    <a:lnTo>
                      <a:pt x="25878405" y="10227453"/>
                    </a:lnTo>
                    <a:lnTo>
                      <a:pt x="26402912" y="10643437"/>
                    </a:lnTo>
                    <a:lnTo>
                      <a:pt x="27319497" y="10082959"/>
                    </a:lnTo>
                    <a:lnTo>
                      <a:pt x="27560432" y="10281714"/>
                    </a:lnTo>
                    <a:lnTo>
                      <a:pt x="27325315" y="10860465"/>
                    </a:lnTo>
                    <a:lnTo>
                      <a:pt x="27542355" y="12005935"/>
                    </a:lnTo>
                    <a:lnTo>
                      <a:pt x="26089423" y="11975789"/>
                    </a:lnTo>
                    <a:lnTo>
                      <a:pt x="24473715" y="12090334"/>
                    </a:lnTo>
                    <a:lnTo>
                      <a:pt x="23135328" y="12222964"/>
                    </a:lnTo>
                    <a:lnTo>
                      <a:pt x="22261159" y="12934357"/>
                    </a:lnTo>
                    <a:lnTo>
                      <a:pt x="20826342" y="14369204"/>
                    </a:lnTo>
                    <a:lnTo>
                      <a:pt x="12952786" y="14960014"/>
                    </a:lnTo>
                    <a:lnTo>
                      <a:pt x="11934663" y="15008264"/>
                    </a:lnTo>
                    <a:lnTo>
                      <a:pt x="8506848" y="15152939"/>
                    </a:lnTo>
                    <a:lnTo>
                      <a:pt x="7985095" y="14507857"/>
                    </a:lnTo>
                    <a:lnTo>
                      <a:pt x="7400308" y="14477712"/>
                    </a:lnTo>
                    <a:lnTo>
                      <a:pt x="6972273" y="14749009"/>
                    </a:lnTo>
                    <a:lnTo>
                      <a:pt x="5181729" y="14664610"/>
                    </a:lnTo>
                    <a:lnTo>
                      <a:pt x="4397998" y="14031593"/>
                    </a:lnTo>
                    <a:lnTo>
                      <a:pt x="2908896" y="13223739"/>
                    </a:lnTo>
                    <a:lnTo>
                      <a:pt x="1263043" y="12512346"/>
                    </a:lnTo>
                    <a:lnTo>
                      <a:pt x="485320" y="12060189"/>
                    </a:lnTo>
                    <a:lnTo>
                      <a:pt x="0" y="11767077"/>
                    </a:lnTo>
                    <a:lnTo>
                      <a:pt x="1003686" y="11021112"/>
                    </a:lnTo>
                    <a:lnTo>
                      <a:pt x="2902551" y="9836713"/>
                    </a:lnTo>
                    <a:lnTo>
                      <a:pt x="2558940" y="9303282"/>
                    </a:lnTo>
                    <a:lnTo>
                      <a:pt x="2402508" y="8616199"/>
                    </a:lnTo>
                    <a:lnTo>
                      <a:pt x="2730740" y="8589028"/>
                    </a:lnTo>
                    <a:lnTo>
                      <a:pt x="2947754" y="8118883"/>
                    </a:lnTo>
                    <a:lnTo>
                      <a:pt x="3499325" y="7675866"/>
                    </a:lnTo>
                    <a:lnTo>
                      <a:pt x="3680166" y="6798868"/>
                    </a:lnTo>
                    <a:lnTo>
                      <a:pt x="4186528" y="6807904"/>
                    </a:lnTo>
                    <a:lnTo>
                      <a:pt x="4837569" y="7278054"/>
                    </a:lnTo>
                    <a:lnTo>
                      <a:pt x="5352976" y="7196687"/>
                    </a:lnTo>
                    <a:lnTo>
                      <a:pt x="5741786" y="6825992"/>
                    </a:lnTo>
                    <a:lnTo>
                      <a:pt x="6157723" y="6663251"/>
                    </a:lnTo>
                    <a:lnTo>
                      <a:pt x="6745471" y="6093658"/>
                    </a:lnTo>
                    <a:lnTo>
                      <a:pt x="6890140" y="5243782"/>
                    </a:lnTo>
                    <a:lnTo>
                      <a:pt x="7568305" y="4674188"/>
                    </a:lnTo>
                    <a:lnTo>
                      <a:pt x="8137967" y="4231167"/>
                    </a:lnTo>
                    <a:lnTo>
                      <a:pt x="8463480" y="3426500"/>
                    </a:lnTo>
                    <a:lnTo>
                      <a:pt x="9024093" y="3073893"/>
                    </a:lnTo>
                    <a:lnTo>
                      <a:pt x="9675138" y="2721291"/>
                    </a:lnTo>
                    <a:lnTo>
                      <a:pt x="9558580" y="2173007"/>
                    </a:lnTo>
                    <a:lnTo>
                      <a:pt x="10353296" y="1500723"/>
                    </a:lnTo>
                    <a:lnTo>
                      <a:pt x="10832530" y="1428389"/>
                    </a:lnTo>
                    <a:lnTo>
                      <a:pt x="11058585" y="1880458"/>
                    </a:lnTo>
                    <a:lnTo>
                      <a:pt x="11411229" y="2260189"/>
                    </a:lnTo>
                    <a:lnTo>
                      <a:pt x="11998974" y="2341559"/>
                    </a:lnTo>
                    <a:lnTo>
                      <a:pt x="12315449" y="3001571"/>
                    </a:lnTo>
                    <a:lnTo>
                      <a:pt x="12785642" y="2820742"/>
                    </a:lnTo>
                    <a:lnTo>
                      <a:pt x="13671776" y="3272803"/>
                    </a:lnTo>
                    <a:lnTo>
                      <a:pt x="14123886" y="2974450"/>
                    </a:lnTo>
                    <a:lnTo>
                      <a:pt x="14259509" y="2404849"/>
                    </a:lnTo>
                    <a:lnTo>
                      <a:pt x="14892468" y="1762918"/>
                    </a:lnTo>
                    <a:lnTo>
                      <a:pt x="15778605" y="1211398"/>
                    </a:lnTo>
                    <a:lnTo>
                      <a:pt x="16022739" y="1681548"/>
                    </a:lnTo>
                    <a:lnTo>
                      <a:pt x="16013694" y="2169778"/>
                    </a:lnTo>
                    <a:lnTo>
                      <a:pt x="16556232" y="2260200"/>
                    </a:lnTo>
                    <a:lnTo>
                      <a:pt x="16863663" y="1744834"/>
                    </a:lnTo>
                    <a:lnTo>
                      <a:pt x="17406193" y="1410312"/>
                    </a:lnTo>
                    <a:lnTo>
                      <a:pt x="17623203" y="867840"/>
                    </a:lnTo>
                    <a:lnTo>
                      <a:pt x="18120524" y="831675"/>
                    </a:lnTo>
                    <a:lnTo>
                      <a:pt x="18201903" y="542358"/>
                    </a:lnTo>
                    <a:lnTo>
                      <a:pt x="18744437" y="117414"/>
                    </a:lnTo>
                    <a:lnTo>
                      <a:pt x="19443290" y="0"/>
                    </a:lnTo>
                    <a:lnTo>
                      <a:pt x="19982300" y="460880"/>
                    </a:lnTo>
                    <a:lnTo>
                      <a:pt x="19530143" y="913038"/>
                    </a:lnTo>
                    <a:lnTo>
                      <a:pt x="19837609" y="1238588"/>
                    </a:lnTo>
                    <a:lnTo>
                      <a:pt x="20886614" y="1546055"/>
                    </a:lnTo>
                    <a:lnTo>
                      <a:pt x="21881359" y="1889694"/>
                    </a:lnTo>
                    <a:lnTo>
                      <a:pt x="21772837" y="2269505"/>
                    </a:lnTo>
                    <a:lnTo>
                      <a:pt x="21537712" y="2884438"/>
                    </a:lnTo>
                    <a:lnTo>
                      <a:pt x="21996067" y="2911656"/>
                    </a:lnTo>
                    <a:lnTo>
                      <a:pt x="22478203" y="2414189"/>
                    </a:lnTo>
                    <a:lnTo>
                      <a:pt x="23292084" y="2016293"/>
                    </a:lnTo>
                    <a:lnTo>
                      <a:pt x="23888932" y="1998212"/>
                    </a:lnTo>
                    <a:lnTo>
                      <a:pt x="24612383" y="1582227"/>
                    </a:lnTo>
                    <a:lnTo>
                      <a:pt x="25010275" y="695990"/>
                    </a:lnTo>
                    <a:lnTo>
                      <a:pt x="25769899" y="840685"/>
                    </a:lnTo>
                    <a:lnTo>
                      <a:pt x="26402920" y="876857"/>
                    </a:lnTo>
                    <a:lnTo>
                      <a:pt x="26240141" y="1491794"/>
                    </a:lnTo>
                    <a:lnTo>
                      <a:pt x="26554742" y="2052454"/>
                    </a:lnTo>
                    <a:lnTo>
                      <a:pt x="25679461" y="2775920"/>
                    </a:lnTo>
                    <a:lnTo>
                      <a:pt x="25751806" y="3806840"/>
                    </a:lnTo>
                    <a:lnTo>
                      <a:pt x="26157237" y="4322377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20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04" name="任意多边形 111">
                <a:extLst>
                  <a:ext uri="{FF2B5EF4-FFF2-40B4-BE49-F238E27FC236}">
                    <a16:creationId xmlns:a16="http://schemas.microsoft.com/office/drawing/2014/main" xmlns="" id="{69513BF0-DDFB-BD4B-889D-5FF749D1BA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95197" y="2461260"/>
                <a:ext cx="830131" cy="1007110"/>
              </a:xfrm>
              <a:custGeom>
                <a:avLst/>
                <a:gdLst>
                  <a:gd name="T0" fmla="*/ 0 w 2615"/>
                  <a:gd name="T1" fmla="*/ 877971 h 3172"/>
                  <a:gd name="T2" fmla="*/ 9526 w 2615"/>
                  <a:gd name="T3" fmla="*/ 982701 h 3172"/>
                  <a:gd name="T4" fmla="*/ 123826 w 2615"/>
                  <a:gd name="T5" fmla="*/ 901738 h 3172"/>
                  <a:gd name="T6" fmla="*/ 164307 w 2615"/>
                  <a:gd name="T7" fmla="*/ 1013658 h 3172"/>
                  <a:gd name="T8" fmla="*/ 45243 w 2615"/>
                  <a:gd name="T9" fmla="*/ 1070806 h 3172"/>
                  <a:gd name="T10" fmla="*/ 150019 w 2615"/>
                  <a:gd name="T11" fmla="*/ 1139863 h 3172"/>
                  <a:gd name="T12" fmla="*/ 288132 w 2615"/>
                  <a:gd name="T13" fmla="*/ 1149388 h 3172"/>
                  <a:gd name="T14" fmla="*/ 269080 w 2615"/>
                  <a:gd name="T15" fmla="*/ 1258924 h 3172"/>
                  <a:gd name="T16" fmla="*/ 178593 w 2615"/>
                  <a:gd name="T17" fmla="*/ 1282737 h 3172"/>
                  <a:gd name="T18" fmla="*/ 228600 w 2615"/>
                  <a:gd name="T19" fmla="*/ 1401799 h 3172"/>
                  <a:gd name="T20" fmla="*/ 319086 w 2615"/>
                  <a:gd name="T21" fmla="*/ 1589915 h 3172"/>
                  <a:gd name="T22" fmla="*/ 340517 w 2615"/>
                  <a:gd name="T23" fmla="*/ 1861376 h 3172"/>
                  <a:gd name="T24" fmla="*/ 269079 w 2615"/>
                  <a:gd name="T25" fmla="*/ 2001869 h 3172"/>
                  <a:gd name="T26" fmla="*/ 371473 w 2615"/>
                  <a:gd name="T27" fmla="*/ 2180463 h 3172"/>
                  <a:gd name="T28" fmla="*/ 271460 w 2615"/>
                  <a:gd name="T29" fmla="*/ 2225705 h 3172"/>
                  <a:gd name="T30" fmla="*/ 238123 w 2615"/>
                  <a:gd name="T31" fmla="*/ 2368579 h 3172"/>
                  <a:gd name="T32" fmla="*/ 334487 w 2615"/>
                  <a:gd name="T33" fmla="*/ 2484765 h 3172"/>
                  <a:gd name="T34" fmla="*/ 471485 w 2615"/>
                  <a:gd name="T35" fmla="*/ 2606703 h 3172"/>
                  <a:gd name="T36" fmla="*/ 357185 w 2615"/>
                  <a:gd name="T37" fmla="*/ 2723382 h 3172"/>
                  <a:gd name="T38" fmla="*/ 440527 w 2615"/>
                  <a:gd name="T39" fmla="*/ 2811489 h 3172"/>
                  <a:gd name="T40" fmla="*/ 769139 w 2615"/>
                  <a:gd name="T41" fmla="*/ 2906739 h 3172"/>
                  <a:gd name="T42" fmla="*/ 973926 w 2615"/>
                  <a:gd name="T43" fmla="*/ 2985319 h 3172"/>
                  <a:gd name="T44" fmla="*/ 950112 w 2615"/>
                  <a:gd name="T45" fmla="*/ 3075806 h 3172"/>
                  <a:gd name="T46" fmla="*/ 885818 w 2615"/>
                  <a:gd name="T47" fmla="*/ 3242493 h 3172"/>
                  <a:gd name="T48" fmla="*/ 1007259 w 2615"/>
                  <a:gd name="T49" fmla="*/ 3249638 h 3172"/>
                  <a:gd name="T50" fmla="*/ 1131085 w 2615"/>
                  <a:gd name="T51" fmla="*/ 3121049 h 3172"/>
                  <a:gd name="T52" fmla="*/ 1345398 w 2615"/>
                  <a:gd name="T53" fmla="*/ 3013894 h 3172"/>
                  <a:gd name="T54" fmla="*/ 1502558 w 2615"/>
                  <a:gd name="T55" fmla="*/ 3009131 h 3172"/>
                  <a:gd name="T56" fmla="*/ 1697821 w 2615"/>
                  <a:gd name="T57" fmla="*/ 2899594 h 3172"/>
                  <a:gd name="T58" fmla="*/ 1800212 w 2615"/>
                  <a:gd name="T59" fmla="*/ 2668613 h 3172"/>
                  <a:gd name="T60" fmla="*/ 2016905 w 2615"/>
                  <a:gd name="T61" fmla="*/ 2709095 h 3172"/>
                  <a:gd name="T62" fmla="*/ 2164543 w 2615"/>
                  <a:gd name="T63" fmla="*/ 2713858 h 3172"/>
                  <a:gd name="T64" fmla="*/ 2121679 w 2615"/>
                  <a:gd name="T65" fmla="*/ 2871020 h 3172"/>
                  <a:gd name="T66" fmla="*/ 2207907 w 2615"/>
                  <a:gd name="T67" fmla="*/ 3025008 h 3172"/>
                  <a:gd name="T68" fmla="*/ 2488389 w 2615"/>
                  <a:gd name="T69" fmla="*/ 3037709 h 3172"/>
                  <a:gd name="T70" fmla="*/ 2676509 w 2615"/>
                  <a:gd name="T71" fmla="*/ 2792441 h 3172"/>
                  <a:gd name="T72" fmla="*/ 2595546 w 2615"/>
                  <a:gd name="T73" fmla="*/ 2559078 h 3172"/>
                  <a:gd name="T74" fmla="*/ 2347133 w 2615"/>
                  <a:gd name="T75" fmla="*/ 2261454 h 3172"/>
                  <a:gd name="T76" fmla="*/ 2464577 w 2615"/>
                  <a:gd name="T77" fmla="*/ 2116168 h 3172"/>
                  <a:gd name="T78" fmla="*/ 2678889 w 2615"/>
                  <a:gd name="T79" fmla="*/ 1930432 h 3172"/>
                  <a:gd name="T80" fmla="*/ 2678093 w 2615"/>
                  <a:gd name="T81" fmla="*/ 1666453 h 3172"/>
                  <a:gd name="T82" fmla="*/ 2048418 w 2615"/>
                  <a:gd name="T83" fmla="*/ 889742 h 3172"/>
                  <a:gd name="T84" fmla="*/ 1796250 w 2615"/>
                  <a:gd name="T85" fmla="*/ 626836 h 3172"/>
                  <a:gd name="T86" fmla="*/ 1502649 w 2615"/>
                  <a:gd name="T87" fmla="*/ 460378 h 3172"/>
                  <a:gd name="T88" fmla="*/ 1364578 w 2615"/>
                  <a:gd name="T89" fmla="*/ 395289 h 3172"/>
                  <a:gd name="T90" fmla="*/ 1264594 w 2615"/>
                  <a:gd name="T91" fmla="*/ 266701 h 3172"/>
                  <a:gd name="T92" fmla="*/ 1435995 w 2615"/>
                  <a:gd name="T93" fmla="*/ 190501 h 3172"/>
                  <a:gd name="T94" fmla="*/ 1469322 w 2615"/>
                  <a:gd name="T95" fmla="*/ 0 h 3172"/>
                  <a:gd name="T96" fmla="*/ 1231267 w 2615"/>
                  <a:gd name="T97" fmla="*/ 104775 h 3172"/>
                  <a:gd name="T98" fmla="*/ 1144255 w 2615"/>
                  <a:gd name="T99" fmla="*/ 92908 h 3172"/>
                  <a:gd name="T100" fmla="*/ 1102720 w 2615"/>
                  <a:gd name="T101" fmla="*/ 257179 h 3172"/>
                  <a:gd name="T102" fmla="*/ 888470 w 2615"/>
                  <a:gd name="T103" fmla="*/ 357191 h 3172"/>
                  <a:gd name="T104" fmla="*/ 755159 w 2615"/>
                  <a:gd name="T105" fmla="*/ 528641 h 3172"/>
                  <a:gd name="T106" fmla="*/ 531389 w 2615"/>
                  <a:gd name="T107" fmla="*/ 623889 h 3172"/>
                  <a:gd name="T108" fmla="*/ 459972 w 2615"/>
                  <a:gd name="T109" fmla="*/ 766766 h 3172"/>
                  <a:gd name="T110" fmla="*/ 264769 w 2615"/>
                  <a:gd name="T111" fmla="*/ 728663 h 3172"/>
                  <a:gd name="T112" fmla="*/ 0 w 2615"/>
                  <a:gd name="T113" fmla="*/ 877971 h 317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2615" h="3172">
                    <a:moveTo>
                      <a:pt x="0" y="858"/>
                    </a:moveTo>
                    <a:lnTo>
                      <a:pt x="7" y="955"/>
                    </a:lnTo>
                    <a:lnTo>
                      <a:pt x="119" y="880"/>
                    </a:lnTo>
                    <a:lnTo>
                      <a:pt x="160" y="990"/>
                    </a:lnTo>
                    <a:lnTo>
                      <a:pt x="44" y="1046"/>
                    </a:lnTo>
                    <a:lnTo>
                      <a:pt x="146" y="1114"/>
                    </a:lnTo>
                    <a:lnTo>
                      <a:pt x="281" y="1123"/>
                    </a:lnTo>
                    <a:lnTo>
                      <a:pt x="263" y="1230"/>
                    </a:lnTo>
                    <a:lnTo>
                      <a:pt x="174" y="1253"/>
                    </a:lnTo>
                    <a:lnTo>
                      <a:pt x="223" y="1370"/>
                    </a:lnTo>
                    <a:lnTo>
                      <a:pt x="312" y="1553"/>
                    </a:lnTo>
                    <a:lnTo>
                      <a:pt x="333" y="1819"/>
                    </a:lnTo>
                    <a:lnTo>
                      <a:pt x="263" y="1956"/>
                    </a:lnTo>
                    <a:lnTo>
                      <a:pt x="363" y="2130"/>
                    </a:lnTo>
                    <a:lnTo>
                      <a:pt x="265" y="2175"/>
                    </a:lnTo>
                    <a:lnTo>
                      <a:pt x="233" y="2314"/>
                    </a:lnTo>
                    <a:lnTo>
                      <a:pt x="327" y="2428"/>
                    </a:lnTo>
                    <a:lnTo>
                      <a:pt x="460" y="2547"/>
                    </a:lnTo>
                    <a:lnTo>
                      <a:pt x="349" y="2661"/>
                    </a:lnTo>
                    <a:lnTo>
                      <a:pt x="430" y="2747"/>
                    </a:lnTo>
                    <a:lnTo>
                      <a:pt x="751" y="2840"/>
                    </a:lnTo>
                    <a:lnTo>
                      <a:pt x="952" y="2913"/>
                    </a:lnTo>
                    <a:lnTo>
                      <a:pt x="922" y="3013"/>
                    </a:lnTo>
                    <a:lnTo>
                      <a:pt x="863" y="3165"/>
                    </a:lnTo>
                    <a:lnTo>
                      <a:pt x="977" y="3172"/>
                    </a:lnTo>
                    <a:lnTo>
                      <a:pt x="1105" y="3049"/>
                    </a:lnTo>
                    <a:lnTo>
                      <a:pt x="1314" y="2945"/>
                    </a:lnTo>
                    <a:lnTo>
                      <a:pt x="1467" y="2940"/>
                    </a:lnTo>
                    <a:lnTo>
                      <a:pt x="1651" y="2835"/>
                    </a:lnTo>
                    <a:lnTo>
                      <a:pt x="1756" y="2602"/>
                    </a:lnTo>
                    <a:lnTo>
                      <a:pt x="1948" y="2641"/>
                    </a:lnTo>
                    <a:lnTo>
                      <a:pt x="2114" y="2652"/>
                    </a:lnTo>
                    <a:lnTo>
                      <a:pt x="2072" y="2805"/>
                    </a:lnTo>
                    <a:lnTo>
                      <a:pt x="2156" y="2956"/>
                    </a:lnTo>
                    <a:lnTo>
                      <a:pt x="2430" y="2968"/>
                    </a:lnTo>
                    <a:lnTo>
                      <a:pt x="2614" y="2728"/>
                    </a:lnTo>
                    <a:lnTo>
                      <a:pt x="2535" y="2500"/>
                    </a:lnTo>
                    <a:lnTo>
                      <a:pt x="2292" y="2210"/>
                    </a:lnTo>
                    <a:lnTo>
                      <a:pt x="2407" y="2068"/>
                    </a:lnTo>
                    <a:lnTo>
                      <a:pt x="2609" y="1891"/>
                    </a:lnTo>
                    <a:lnTo>
                      <a:pt x="2615" y="1628"/>
                    </a:lnTo>
                    <a:lnTo>
                      <a:pt x="2000" y="869"/>
                    </a:lnTo>
                    <a:lnTo>
                      <a:pt x="1754" y="612"/>
                    </a:lnTo>
                    <a:lnTo>
                      <a:pt x="1467" y="450"/>
                    </a:lnTo>
                    <a:lnTo>
                      <a:pt x="1333" y="386"/>
                    </a:lnTo>
                    <a:lnTo>
                      <a:pt x="1235" y="261"/>
                    </a:lnTo>
                    <a:lnTo>
                      <a:pt x="1402" y="186"/>
                    </a:lnTo>
                    <a:lnTo>
                      <a:pt x="1435" y="0"/>
                    </a:lnTo>
                    <a:lnTo>
                      <a:pt x="1207" y="97"/>
                    </a:lnTo>
                    <a:lnTo>
                      <a:pt x="1123" y="94"/>
                    </a:lnTo>
                    <a:lnTo>
                      <a:pt x="1077" y="251"/>
                    </a:lnTo>
                    <a:lnTo>
                      <a:pt x="868" y="349"/>
                    </a:lnTo>
                    <a:lnTo>
                      <a:pt x="737" y="516"/>
                    </a:lnTo>
                    <a:lnTo>
                      <a:pt x="519" y="610"/>
                    </a:lnTo>
                    <a:lnTo>
                      <a:pt x="449" y="749"/>
                    </a:lnTo>
                    <a:lnTo>
                      <a:pt x="259" y="712"/>
                    </a:lnTo>
                    <a:lnTo>
                      <a:pt x="0" y="858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20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05" name="任意多边形 112">
                <a:extLst>
                  <a:ext uri="{FF2B5EF4-FFF2-40B4-BE49-F238E27FC236}">
                    <a16:creationId xmlns:a16="http://schemas.microsoft.com/office/drawing/2014/main" xmlns="" id="{D55AF839-47F6-B943-883B-DB5DF58825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82516" y="4405630"/>
                <a:ext cx="1070440" cy="855980"/>
              </a:xfrm>
              <a:custGeom>
                <a:avLst/>
                <a:gdLst>
                  <a:gd name="T0" fmla="*/ 215558 w 13103724"/>
                  <a:gd name="T1" fmla="*/ 1849899 h 10479261"/>
                  <a:gd name="T2" fmla="*/ 264663 w 13103724"/>
                  <a:gd name="T3" fmla="*/ 2011576 h 10479261"/>
                  <a:gd name="T4" fmla="*/ 339518 w 13103724"/>
                  <a:gd name="T5" fmla="*/ 2103213 h 10479261"/>
                  <a:gd name="T6" fmla="*/ 499210 w 13103724"/>
                  <a:gd name="T7" fmla="*/ 2104344 h 10479261"/>
                  <a:gd name="T8" fmla="*/ 617617 w 13103724"/>
                  <a:gd name="T9" fmla="*/ 2307580 h 10479261"/>
                  <a:gd name="T10" fmla="*/ 633269 w 13103724"/>
                  <a:gd name="T11" fmla="*/ 2513082 h 10479261"/>
                  <a:gd name="T12" fmla="*/ 773543 w 13103724"/>
                  <a:gd name="T13" fmla="*/ 2644339 h 10479261"/>
                  <a:gd name="T14" fmla="*/ 1027507 w 13103724"/>
                  <a:gd name="T15" fmla="*/ 2759865 h 10479261"/>
                  <a:gd name="T16" fmla="*/ 1051685 w 13103724"/>
                  <a:gd name="T17" fmla="*/ 2610750 h 10479261"/>
                  <a:gd name="T18" fmla="*/ 1166964 w 13103724"/>
                  <a:gd name="T19" fmla="*/ 2547876 h 10479261"/>
                  <a:gd name="T20" fmla="*/ 1146003 w 13103724"/>
                  <a:gd name="T21" fmla="*/ 2436415 h 10479261"/>
                  <a:gd name="T22" fmla="*/ 1506126 w 13103724"/>
                  <a:gd name="T23" fmla="*/ 2365920 h 10479261"/>
                  <a:gd name="T24" fmla="*/ 1740489 w 13103724"/>
                  <a:gd name="T25" fmla="*/ 2396405 h 10479261"/>
                  <a:gd name="T26" fmla="*/ 1973903 w 13103724"/>
                  <a:gd name="T27" fmla="*/ 2426890 h 10479261"/>
                  <a:gd name="T28" fmla="*/ 2112996 w 13103724"/>
                  <a:gd name="T29" fmla="*/ 2515488 h 10479261"/>
                  <a:gd name="T30" fmla="*/ 2225144 w 13103724"/>
                  <a:gd name="T31" fmla="*/ 2500704 h 10479261"/>
                  <a:gd name="T32" fmla="*/ 2314968 w 13103724"/>
                  <a:gd name="T33" fmla="*/ 2588842 h 10479261"/>
                  <a:gd name="T34" fmla="*/ 2423577 w 13103724"/>
                  <a:gd name="T35" fmla="*/ 2555498 h 10479261"/>
                  <a:gd name="T36" fmla="*/ 2370225 w 13103724"/>
                  <a:gd name="T37" fmla="*/ 2466900 h 10479261"/>
                  <a:gd name="T38" fmla="*/ 2377846 w 13103724"/>
                  <a:gd name="T39" fmla="*/ 2324955 h 10479261"/>
                  <a:gd name="T40" fmla="*/ 2454063 w 13103724"/>
                  <a:gd name="T41" fmla="*/ 2147761 h 10479261"/>
                  <a:gd name="T42" fmla="*/ 2550287 w 13103724"/>
                  <a:gd name="T43" fmla="*/ 2046780 h 10479261"/>
                  <a:gd name="T44" fmla="*/ 2727489 w 13103724"/>
                  <a:gd name="T45" fmla="*/ 1942940 h 10479261"/>
                  <a:gd name="T46" fmla="*/ 2885636 w 13103724"/>
                  <a:gd name="T47" fmla="*/ 2026775 h 10479261"/>
                  <a:gd name="T48" fmla="*/ 3164778 w 13103724"/>
                  <a:gd name="T49" fmla="*/ 2145856 h 10479261"/>
                  <a:gd name="T50" fmla="*/ 3450477 w 13103724"/>
                  <a:gd name="T51" fmla="*/ 2203796 h 10479261"/>
                  <a:gd name="T52" fmla="*/ 3451225 w 13103724"/>
                  <a:gd name="T53" fmla="*/ 1928333 h 10479261"/>
                  <a:gd name="T54" fmla="*/ 3260683 w 13103724"/>
                  <a:gd name="T55" fmla="*/ 1567910 h 10479261"/>
                  <a:gd name="T56" fmla="*/ 3182087 w 13103724"/>
                  <a:gd name="T57" fmla="*/ 1211289 h 10479261"/>
                  <a:gd name="T58" fmla="*/ 2804975 w 13103724"/>
                  <a:gd name="T59" fmla="*/ 1066182 h 10479261"/>
                  <a:gd name="T60" fmla="*/ 2749400 w 13103724"/>
                  <a:gd name="T61" fmla="*/ 853422 h 10479261"/>
                  <a:gd name="T62" fmla="*/ 2511225 w 13103724"/>
                  <a:gd name="T63" fmla="*/ 615257 h 10479261"/>
                  <a:gd name="T64" fmla="*/ 2442947 w 13103724"/>
                  <a:gd name="T65" fmla="*/ 336606 h 10479261"/>
                  <a:gd name="T66" fmla="*/ 2352490 w 13103724"/>
                  <a:gd name="T67" fmla="*/ 0 h 10479261"/>
                  <a:gd name="T68" fmla="*/ 420012 w 13103724"/>
                  <a:gd name="T69" fmla="*/ 146051 h 10479261"/>
                  <a:gd name="T70" fmla="*/ 0 w 13103724"/>
                  <a:gd name="T71" fmla="*/ 165957 h 10479261"/>
                  <a:gd name="T72" fmla="*/ 420954 w 13103724"/>
                  <a:gd name="T73" fmla="*/ 1212935 h 10479261"/>
                  <a:gd name="T74" fmla="*/ 391919 w 13103724"/>
                  <a:gd name="T75" fmla="*/ 1419571 h 10479261"/>
                  <a:gd name="T76" fmla="*/ 331583 w 13103724"/>
                  <a:gd name="T77" fmla="*/ 1649571 h 10479261"/>
                  <a:gd name="T78" fmla="*/ 215558 w 13103724"/>
                  <a:gd name="T79" fmla="*/ 1849899 h 1047926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3103724" h="10479261">
                    <a:moveTo>
                      <a:pt x="818438" y="7024103"/>
                    </a:moveTo>
                    <a:lnTo>
                      <a:pt x="1004880" y="7637995"/>
                    </a:lnTo>
                    <a:lnTo>
                      <a:pt x="1289094" y="7985936"/>
                    </a:lnTo>
                    <a:lnTo>
                      <a:pt x="1895417" y="7990235"/>
                    </a:lnTo>
                    <a:lnTo>
                      <a:pt x="2344988" y="8761920"/>
                    </a:lnTo>
                    <a:lnTo>
                      <a:pt x="2404414" y="9542218"/>
                    </a:lnTo>
                    <a:lnTo>
                      <a:pt x="2937013" y="10040601"/>
                    </a:lnTo>
                    <a:lnTo>
                      <a:pt x="3901270" y="10479261"/>
                    </a:lnTo>
                    <a:lnTo>
                      <a:pt x="3993071" y="9913071"/>
                    </a:lnTo>
                    <a:lnTo>
                      <a:pt x="4430767" y="9674335"/>
                    </a:lnTo>
                    <a:lnTo>
                      <a:pt x="4351183" y="9251116"/>
                    </a:lnTo>
                    <a:lnTo>
                      <a:pt x="5718509" y="8983442"/>
                    </a:lnTo>
                    <a:lnTo>
                      <a:pt x="6608347" y="9099194"/>
                    </a:lnTo>
                    <a:lnTo>
                      <a:pt x="7494577" y="9214947"/>
                    </a:lnTo>
                    <a:lnTo>
                      <a:pt x="8022695" y="9551352"/>
                    </a:lnTo>
                    <a:lnTo>
                      <a:pt x="8448500" y="9495222"/>
                    </a:lnTo>
                    <a:lnTo>
                      <a:pt x="8789549" y="9829880"/>
                    </a:lnTo>
                    <a:lnTo>
                      <a:pt x="9201915" y="9703273"/>
                    </a:lnTo>
                    <a:lnTo>
                      <a:pt x="8999347" y="9366869"/>
                    </a:lnTo>
                    <a:lnTo>
                      <a:pt x="9028285" y="8827897"/>
                    </a:lnTo>
                    <a:lnTo>
                      <a:pt x="9317667" y="8155088"/>
                    </a:lnTo>
                    <a:lnTo>
                      <a:pt x="9683010" y="7771661"/>
                    </a:lnTo>
                    <a:lnTo>
                      <a:pt x="10355819" y="7377380"/>
                    </a:lnTo>
                    <a:lnTo>
                      <a:pt x="10956275" y="7695700"/>
                    </a:lnTo>
                    <a:lnTo>
                      <a:pt x="12016134" y="8147857"/>
                    </a:lnTo>
                    <a:lnTo>
                      <a:pt x="13100884" y="8367852"/>
                    </a:lnTo>
                    <a:cubicBezTo>
                      <a:pt x="13101831" y="8019208"/>
                      <a:pt x="13102777" y="7670563"/>
                      <a:pt x="13103724" y="7321919"/>
                    </a:cubicBezTo>
                    <a:lnTo>
                      <a:pt x="12380269" y="5953386"/>
                    </a:lnTo>
                    <a:lnTo>
                      <a:pt x="12081849" y="4599284"/>
                    </a:lnTo>
                    <a:lnTo>
                      <a:pt x="10650016" y="4048312"/>
                    </a:lnTo>
                    <a:lnTo>
                      <a:pt x="10439011" y="3240458"/>
                    </a:lnTo>
                    <a:lnTo>
                      <a:pt x="9534696" y="2336143"/>
                    </a:lnTo>
                    <a:lnTo>
                      <a:pt x="9275460" y="1278099"/>
                    </a:lnTo>
                    <a:lnTo>
                      <a:pt x="8932015" y="0"/>
                    </a:lnTo>
                    <a:lnTo>
                      <a:pt x="1594715" y="554558"/>
                    </a:lnTo>
                    <a:lnTo>
                      <a:pt x="0" y="630142"/>
                    </a:lnTo>
                    <a:lnTo>
                      <a:pt x="1598292" y="4605539"/>
                    </a:lnTo>
                    <a:lnTo>
                      <a:pt x="1488049" y="5390136"/>
                    </a:lnTo>
                    <a:lnTo>
                      <a:pt x="1258963" y="6263454"/>
                    </a:lnTo>
                    <a:lnTo>
                      <a:pt x="818438" y="7024103"/>
                    </a:lnTo>
                    <a:close/>
                  </a:path>
                </a:pathLst>
              </a:custGeom>
              <a:solidFill>
                <a:srgbClr val="9DC3E6"/>
              </a:solidFill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200">
                  <a:solidFill>
                    <a:srgbClr val="70AD47">
                      <a:lumMod val="50000"/>
                    </a:srgbClr>
                  </a:solidFill>
                </a:endParaRPr>
              </a:p>
            </p:txBody>
          </p:sp>
          <p:sp>
            <p:nvSpPr>
              <p:cNvPr id="306" name="任意多边形 113">
                <a:extLst>
                  <a:ext uri="{FF2B5EF4-FFF2-40B4-BE49-F238E27FC236}">
                    <a16:creationId xmlns:a16="http://schemas.microsoft.com/office/drawing/2014/main" xmlns="" id="{F572BA84-F17F-B448-B56F-6BDA950543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8406" y="4457383"/>
                <a:ext cx="830765" cy="1209993"/>
              </a:xfrm>
              <a:custGeom>
                <a:avLst/>
                <a:gdLst>
                  <a:gd name="T0" fmla="*/ 1841986 w 10172266"/>
                  <a:gd name="T1" fmla="*/ 1683352 h 14815417"/>
                  <a:gd name="T2" fmla="*/ 1891073 w 10172266"/>
                  <a:gd name="T3" fmla="*/ 1844973 h 14815417"/>
                  <a:gd name="T4" fmla="*/ 1965899 w 10172266"/>
                  <a:gd name="T5" fmla="*/ 1936575 h 14815417"/>
                  <a:gd name="T6" fmla="*/ 2125529 w 10172266"/>
                  <a:gd name="T7" fmla="*/ 1937708 h 14815417"/>
                  <a:gd name="T8" fmla="*/ 2243890 w 10172266"/>
                  <a:gd name="T9" fmla="*/ 2140870 h 14815417"/>
                  <a:gd name="T10" fmla="*/ 2259535 w 10172266"/>
                  <a:gd name="T11" fmla="*/ 2346301 h 14815417"/>
                  <a:gd name="T12" fmla="*/ 2399756 w 10172266"/>
                  <a:gd name="T13" fmla="*/ 2477512 h 14815417"/>
                  <a:gd name="T14" fmla="*/ 2653621 w 10172266"/>
                  <a:gd name="T15" fmla="*/ 2592998 h 14815417"/>
                  <a:gd name="T16" fmla="*/ 2678112 w 10172266"/>
                  <a:gd name="T17" fmla="*/ 2693443 h 14815417"/>
                  <a:gd name="T18" fmla="*/ 2565419 w 10172266"/>
                  <a:gd name="T19" fmla="*/ 2728360 h 14815417"/>
                  <a:gd name="T20" fmla="*/ 2479707 w 10172266"/>
                  <a:gd name="T21" fmla="*/ 2874385 h 14815417"/>
                  <a:gd name="T22" fmla="*/ 2355905 w 10172266"/>
                  <a:gd name="T23" fmla="*/ 2798198 h 14815417"/>
                  <a:gd name="T24" fmla="*/ 2194007 w 10172266"/>
                  <a:gd name="T25" fmla="*/ 3021994 h 14815417"/>
                  <a:gd name="T26" fmla="*/ 1917831 w 10172266"/>
                  <a:gd name="T27" fmla="*/ 3136271 h 14815417"/>
                  <a:gd name="T28" fmla="*/ 1746412 w 10172266"/>
                  <a:gd name="T29" fmla="*/ 3312451 h 14815417"/>
                  <a:gd name="T30" fmla="*/ 1427378 w 10172266"/>
                  <a:gd name="T31" fmla="*/ 3664810 h 14815417"/>
                  <a:gd name="T32" fmla="*/ 1451188 w 10172266"/>
                  <a:gd name="T33" fmla="*/ 3850512 h 14815417"/>
                  <a:gd name="T34" fmla="*/ 1243325 w 10172266"/>
                  <a:gd name="T35" fmla="*/ 3900487 h 14815417"/>
                  <a:gd name="T36" fmla="*/ 1103584 w 10172266"/>
                  <a:gd name="T37" fmla="*/ 3764805 h 14815417"/>
                  <a:gd name="T38" fmla="*/ 1203582 w 10172266"/>
                  <a:gd name="T39" fmla="*/ 3588625 h 14815417"/>
                  <a:gd name="T40" fmla="*/ 998830 w 10172266"/>
                  <a:gd name="T41" fmla="*/ 3464824 h 14815417"/>
                  <a:gd name="T42" fmla="*/ 379810 w 10172266"/>
                  <a:gd name="T43" fmla="*/ 3493399 h 14815417"/>
                  <a:gd name="T44" fmla="*/ 256009 w 10172266"/>
                  <a:gd name="T45" fmla="*/ 2874383 h 14815417"/>
                  <a:gd name="T46" fmla="*/ 0 w 10172266"/>
                  <a:gd name="T47" fmla="*/ 2870986 h 14815417"/>
                  <a:gd name="T48" fmla="*/ 21025 w 10172266"/>
                  <a:gd name="T49" fmla="*/ 2662512 h 14815417"/>
                  <a:gd name="T50" fmla="*/ 189345 w 10172266"/>
                  <a:gd name="T51" fmla="*/ 2512504 h 14815417"/>
                  <a:gd name="T52" fmla="*/ 379813 w 10172266"/>
                  <a:gd name="T53" fmla="*/ 2369657 h 14815417"/>
                  <a:gd name="T54" fmla="*/ 598850 w 10172266"/>
                  <a:gd name="T55" fmla="*/ 2217285 h 14815417"/>
                  <a:gd name="T56" fmla="*/ 770270 w 10172266"/>
                  <a:gd name="T57" fmla="*/ 2164907 h 14815417"/>
                  <a:gd name="T58" fmla="*/ 967152 w 10172266"/>
                  <a:gd name="T59" fmla="*/ 2010141 h 14815417"/>
                  <a:gd name="T60" fmla="*/ 865501 w 10172266"/>
                  <a:gd name="T61" fmla="*/ 1864925 h 14815417"/>
                  <a:gd name="T62" fmla="*/ 1046447 w 10172266"/>
                  <a:gd name="T63" fmla="*/ 1669700 h 14815417"/>
                  <a:gd name="T64" fmla="*/ 1003590 w 10172266"/>
                  <a:gd name="T65" fmla="*/ 1550660 h 14815417"/>
                  <a:gd name="T66" fmla="*/ 1070254 w 10172266"/>
                  <a:gd name="T67" fmla="*/ 1379243 h 14815417"/>
                  <a:gd name="T68" fmla="*/ 832169 w 10172266"/>
                  <a:gd name="T69" fmla="*/ 1160207 h 14815417"/>
                  <a:gd name="T70" fmla="*/ 813123 w 10172266"/>
                  <a:gd name="T71" fmla="*/ 712616 h 14815417"/>
                  <a:gd name="T72" fmla="*/ 675034 w 10172266"/>
                  <a:gd name="T73" fmla="*/ 455490 h 14815417"/>
                  <a:gd name="T74" fmla="*/ 703605 w 10172266"/>
                  <a:gd name="T75" fmla="*/ 322166 h 14815417"/>
                  <a:gd name="T76" fmla="*/ 732174 w 10172266"/>
                  <a:gd name="T77" fmla="*/ 40437 h 14815417"/>
                  <a:gd name="T78" fmla="*/ 1626512 w 10172266"/>
                  <a:gd name="T79" fmla="*/ 0 h 14815417"/>
                  <a:gd name="T80" fmla="*/ 2047304 w 10172266"/>
                  <a:gd name="T81" fmla="*/ 1046611 h 14815417"/>
                  <a:gd name="T82" fmla="*/ 2018279 w 10172266"/>
                  <a:gd name="T83" fmla="*/ 1253174 h 14815417"/>
                  <a:gd name="T84" fmla="*/ 1957966 w 10172266"/>
                  <a:gd name="T85" fmla="*/ 1483095 h 14815417"/>
                  <a:gd name="T86" fmla="*/ 1841986 w 10172266"/>
                  <a:gd name="T87" fmla="*/ 1683352 h 14815417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0172266" h="14815417">
                    <a:moveTo>
                      <a:pt x="6996414" y="6393961"/>
                    </a:moveTo>
                    <a:lnTo>
                      <a:pt x="7182856" y="7007853"/>
                    </a:lnTo>
                    <a:lnTo>
                      <a:pt x="7467070" y="7355794"/>
                    </a:lnTo>
                    <a:lnTo>
                      <a:pt x="8073393" y="7360093"/>
                    </a:lnTo>
                    <a:lnTo>
                      <a:pt x="8522964" y="8131778"/>
                    </a:lnTo>
                    <a:lnTo>
                      <a:pt x="8582390" y="8912076"/>
                    </a:lnTo>
                    <a:lnTo>
                      <a:pt x="9114989" y="9410459"/>
                    </a:lnTo>
                    <a:lnTo>
                      <a:pt x="10079246" y="9849119"/>
                    </a:lnTo>
                    <a:lnTo>
                      <a:pt x="10172266" y="10230640"/>
                    </a:lnTo>
                    <a:lnTo>
                      <a:pt x="9744224" y="10363269"/>
                    </a:lnTo>
                    <a:lnTo>
                      <a:pt x="9418669" y="10917922"/>
                    </a:lnTo>
                    <a:lnTo>
                      <a:pt x="8948428" y="10628536"/>
                    </a:lnTo>
                    <a:lnTo>
                      <a:pt x="8333495" y="11478594"/>
                    </a:lnTo>
                    <a:lnTo>
                      <a:pt x="7284493" y="11912659"/>
                    </a:lnTo>
                    <a:lnTo>
                      <a:pt x="6633392" y="12581849"/>
                    </a:lnTo>
                    <a:lnTo>
                      <a:pt x="5421607" y="13920232"/>
                    </a:lnTo>
                    <a:lnTo>
                      <a:pt x="5512045" y="14625598"/>
                    </a:lnTo>
                    <a:lnTo>
                      <a:pt x="4722518" y="14815417"/>
                    </a:lnTo>
                    <a:lnTo>
                      <a:pt x="4191742" y="14300055"/>
                    </a:lnTo>
                    <a:lnTo>
                      <a:pt x="4571561" y="13630861"/>
                    </a:lnTo>
                    <a:lnTo>
                      <a:pt x="3793853" y="13160620"/>
                    </a:lnTo>
                    <a:lnTo>
                      <a:pt x="1442633" y="13269153"/>
                    </a:lnTo>
                    <a:lnTo>
                      <a:pt x="972399" y="10917914"/>
                    </a:lnTo>
                    <a:lnTo>
                      <a:pt x="0" y="10905013"/>
                    </a:lnTo>
                    <a:lnTo>
                      <a:pt x="79861" y="10113155"/>
                    </a:lnTo>
                    <a:lnTo>
                      <a:pt x="719190" y="9543373"/>
                    </a:lnTo>
                    <a:lnTo>
                      <a:pt x="1442641" y="9000786"/>
                    </a:lnTo>
                    <a:lnTo>
                      <a:pt x="2274610" y="8422026"/>
                    </a:lnTo>
                    <a:lnTo>
                      <a:pt x="2925715" y="8223078"/>
                    </a:lnTo>
                    <a:lnTo>
                      <a:pt x="3673532" y="7635222"/>
                    </a:lnTo>
                    <a:lnTo>
                      <a:pt x="3287431" y="7083642"/>
                    </a:lnTo>
                    <a:lnTo>
                      <a:pt x="3974717" y="6342107"/>
                    </a:lnTo>
                    <a:lnTo>
                      <a:pt x="3811934" y="5889950"/>
                    </a:lnTo>
                    <a:lnTo>
                      <a:pt x="4065143" y="5238848"/>
                    </a:lnTo>
                    <a:lnTo>
                      <a:pt x="3160825" y="4406875"/>
                    </a:lnTo>
                    <a:lnTo>
                      <a:pt x="3088483" y="2706765"/>
                    </a:lnTo>
                    <a:lnTo>
                      <a:pt x="2563980" y="1730112"/>
                    </a:lnTo>
                    <a:lnTo>
                      <a:pt x="2672502" y="1223698"/>
                    </a:lnTo>
                    <a:lnTo>
                      <a:pt x="2781017" y="153593"/>
                    </a:lnTo>
                    <a:lnTo>
                      <a:pt x="6177976" y="0"/>
                    </a:lnTo>
                    <a:lnTo>
                      <a:pt x="7776268" y="3975397"/>
                    </a:lnTo>
                    <a:lnTo>
                      <a:pt x="7666025" y="4759994"/>
                    </a:lnTo>
                    <a:lnTo>
                      <a:pt x="7436939" y="5633312"/>
                    </a:lnTo>
                    <a:lnTo>
                      <a:pt x="6996414" y="6393961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1200" b="1" dirty="0">
                  <a:latin typeface="Arial" charset="0"/>
                </a:endParaRPr>
              </a:p>
            </p:txBody>
          </p:sp>
          <p:sp>
            <p:nvSpPr>
              <p:cNvPr id="307" name="任意多边形 114">
                <a:extLst>
                  <a:ext uri="{FF2B5EF4-FFF2-40B4-BE49-F238E27FC236}">
                    <a16:creationId xmlns:a16="http://schemas.microsoft.com/office/drawing/2014/main" xmlns="" id="{E6E110D2-6E90-DB4B-9BB4-4E782873FD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2333" y="4036060"/>
                <a:ext cx="1400587" cy="1052195"/>
              </a:xfrm>
              <a:custGeom>
                <a:avLst/>
                <a:gdLst/>
                <a:ahLst/>
                <a:cxnLst/>
                <a:rect l="0" t="0" r="r" b="b"/>
                <a:pathLst>
                  <a:path w="17157070" h="12886678">
                    <a:moveTo>
                      <a:pt x="0" y="4521645"/>
                    </a:moveTo>
                    <a:lnTo>
                      <a:pt x="613837" y="6900003"/>
                    </a:lnTo>
                    <a:lnTo>
                      <a:pt x="1518338" y="7768153"/>
                    </a:lnTo>
                    <a:lnTo>
                      <a:pt x="1735898" y="8600077"/>
                    </a:lnTo>
                    <a:lnTo>
                      <a:pt x="3137400" y="9124637"/>
                    </a:lnTo>
                    <a:lnTo>
                      <a:pt x="3453963" y="10481128"/>
                    </a:lnTo>
                    <a:lnTo>
                      <a:pt x="4168520" y="11855697"/>
                    </a:lnTo>
                    <a:lnTo>
                      <a:pt x="4162343" y="12886678"/>
                    </a:lnTo>
                    <a:lnTo>
                      <a:pt x="4605215" y="12802514"/>
                    </a:lnTo>
                    <a:lnTo>
                      <a:pt x="4840336" y="12513132"/>
                    </a:lnTo>
                    <a:lnTo>
                      <a:pt x="6070201" y="12531224"/>
                    </a:lnTo>
                    <a:lnTo>
                      <a:pt x="6884082" y="11934372"/>
                    </a:lnTo>
                    <a:lnTo>
                      <a:pt x="7716051" y="12259931"/>
                    </a:lnTo>
                    <a:lnTo>
                      <a:pt x="8584189" y="12060979"/>
                    </a:lnTo>
                    <a:lnTo>
                      <a:pt x="9289552" y="12259931"/>
                    </a:lnTo>
                    <a:lnTo>
                      <a:pt x="10139605" y="11862031"/>
                    </a:lnTo>
                    <a:lnTo>
                      <a:pt x="10664108" y="12079067"/>
                    </a:lnTo>
                    <a:lnTo>
                      <a:pt x="11387555" y="11988637"/>
                    </a:lnTo>
                    <a:lnTo>
                      <a:pt x="11966315" y="12712092"/>
                    </a:lnTo>
                    <a:lnTo>
                      <a:pt x="12942975" y="12476963"/>
                    </a:lnTo>
                    <a:lnTo>
                      <a:pt x="13575992" y="12874863"/>
                    </a:lnTo>
                    <a:lnTo>
                      <a:pt x="13973888" y="12784430"/>
                    </a:lnTo>
                    <a:lnTo>
                      <a:pt x="14028146" y="12241839"/>
                    </a:lnTo>
                    <a:lnTo>
                      <a:pt x="13594073" y="12187582"/>
                    </a:lnTo>
                    <a:lnTo>
                      <a:pt x="13612161" y="11500303"/>
                    </a:lnTo>
                    <a:lnTo>
                      <a:pt x="14190925" y="11355616"/>
                    </a:lnTo>
                    <a:lnTo>
                      <a:pt x="13865366" y="10885371"/>
                    </a:lnTo>
                    <a:lnTo>
                      <a:pt x="14136664" y="10487475"/>
                    </a:lnTo>
                    <a:lnTo>
                      <a:pt x="14703435" y="10514571"/>
                    </a:lnTo>
                    <a:lnTo>
                      <a:pt x="14661163" y="10342787"/>
                    </a:lnTo>
                    <a:lnTo>
                      <a:pt x="14335608" y="10180012"/>
                    </a:lnTo>
                    <a:lnTo>
                      <a:pt x="14498387" y="9601248"/>
                    </a:lnTo>
                    <a:lnTo>
                      <a:pt x="13847278" y="8696934"/>
                    </a:lnTo>
                    <a:lnTo>
                      <a:pt x="13340864" y="7991571"/>
                    </a:lnTo>
                    <a:lnTo>
                      <a:pt x="13123831" y="6906393"/>
                    </a:lnTo>
                    <a:lnTo>
                      <a:pt x="13232349" y="6219119"/>
                    </a:lnTo>
                    <a:lnTo>
                      <a:pt x="12273778" y="6252280"/>
                    </a:lnTo>
                    <a:lnTo>
                      <a:pt x="12201432" y="5854380"/>
                    </a:lnTo>
                    <a:lnTo>
                      <a:pt x="12508887" y="5350985"/>
                    </a:lnTo>
                    <a:lnTo>
                      <a:pt x="13774933" y="4573269"/>
                    </a:lnTo>
                    <a:lnTo>
                      <a:pt x="15294184" y="4066854"/>
                    </a:lnTo>
                    <a:lnTo>
                      <a:pt x="15746333" y="4392409"/>
                    </a:lnTo>
                    <a:lnTo>
                      <a:pt x="16578306" y="4103027"/>
                    </a:lnTo>
                    <a:lnTo>
                      <a:pt x="17084732" y="4500935"/>
                    </a:lnTo>
                    <a:lnTo>
                      <a:pt x="17157070" y="3560444"/>
                    </a:lnTo>
                    <a:lnTo>
                      <a:pt x="16433615" y="3470014"/>
                    </a:lnTo>
                    <a:lnTo>
                      <a:pt x="16415865" y="2853862"/>
                    </a:lnTo>
                    <a:lnTo>
                      <a:pt x="15963191" y="2993318"/>
                    </a:lnTo>
                    <a:lnTo>
                      <a:pt x="14923009" y="1763435"/>
                    </a:lnTo>
                    <a:lnTo>
                      <a:pt x="14244644" y="325540"/>
                    </a:lnTo>
                    <a:lnTo>
                      <a:pt x="13367278" y="614945"/>
                    </a:lnTo>
                    <a:lnTo>
                      <a:pt x="12218563" y="623988"/>
                    </a:lnTo>
                    <a:lnTo>
                      <a:pt x="11323109" y="36169"/>
                    </a:lnTo>
                    <a:lnTo>
                      <a:pt x="10780410" y="488337"/>
                    </a:lnTo>
                    <a:lnTo>
                      <a:pt x="10038717" y="687288"/>
                    </a:lnTo>
                    <a:lnTo>
                      <a:pt x="9622651" y="81389"/>
                    </a:lnTo>
                    <a:lnTo>
                      <a:pt x="8672925" y="280344"/>
                    </a:lnTo>
                    <a:lnTo>
                      <a:pt x="7759379" y="0"/>
                    </a:lnTo>
                    <a:lnTo>
                      <a:pt x="6729494" y="443189"/>
                    </a:lnTo>
                    <a:lnTo>
                      <a:pt x="6493079" y="1012843"/>
                    </a:lnTo>
                    <a:lnTo>
                      <a:pt x="6710175" y="2161345"/>
                    </a:lnTo>
                    <a:lnTo>
                      <a:pt x="5290099" y="2134207"/>
                    </a:lnTo>
                    <a:lnTo>
                      <a:pt x="2314296" y="2369327"/>
                    </a:lnTo>
                    <a:lnTo>
                      <a:pt x="1334589" y="3174199"/>
                    </a:lnTo>
                    <a:lnTo>
                      <a:pt x="0" y="4521645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20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08" name="任意多边形 115">
                <a:extLst>
                  <a:ext uri="{FF2B5EF4-FFF2-40B4-BE49-F238E27FC236}">
                    <a16:creationId xmlns:a16="http://schemas.microsoft.com/office/drawing/2014/main" xmlns="" id="{B874D720-424E-794C-8FB8-696056C5C0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61349" y="4204335"/>
                <a:ext cx="1065678" cy="1160145"/>
              </a:xfrm>
              <a:custGeom>
                <a:avLst/>
                <a:gdLst>
                  <a:gd name="T0" fmla="*/ 610215 w 2165"/>
                  <a:gd name="T1" fmla="*/ 867849 h 2356"/>
                  <a:gd name="T2" fmla="*/ 666918 w 2165"/>
                  <a:gd name="T3" fmla="*/ 1036045 h 2356"/>
                  <a:gd name="T4" fmla="*/ 466843 w 2165"/>
                  <a:gd name="T5" fmla="*/ 978906 h 2356"/>
                  <a:gd name="T6" fmla="*/ 414444 w 2165"/>
                  <a:gd name="T7" fmla="*/ 874947 h 2356"/>
                  <a:gd name="T8" fmla="*/ 85749 w 2165"/>
                  <a:gd name="T9" fmla="*/ 789239 h 2356"/>
                  <a:gd name="T10" fmla="*/ 4766 w 2165"/>
                  <a:gd name="T11" fmla="*/ 826537 h 2356"/>
                  <a:gd name="T12" fmla="*/ 0 w 2165"/>
                  <a:gd name="T13" fmla="*/ 1017789 h 2356"/>
                  <a:gd name="T14" fmla="*/ 238190 w 2165"/>
                  <a:gd name="T15" fmla="*/ 1117782 h 2356"/>
                  <a:gd name="T16" fmla="*/ 257243 w 2165"/>
                  <a:gd name="T17" fmla="*/ 1370144 h 2356"/>
                  <a:gd name="T18" fmla="*/ 357280 w 2165"/>
                  <a:gd name="T19" fmla="*/ 1670119 h 2356"/>
                  <a:gd name="T20" fmla="*/ 400154 w 2165"/>
                  <a:gd name="T21" fmla="*/ 1812965 h 2356"/>
                  <a:gd name="T22" fmla="*/ 292304 w 2165"/>
                  <a:gd name="T23" fmla="*/ 1996277 h 2356"/>
                  <a:gd name="T24" fmla="*/ 540015 w 2165"/>
                  <a:gd name="T25" fmla="*/ 1981991 h 2356"/>
                  <a:gd name="T26" fmla="*/ 614518 w 2165"/>
                  <a:gd name="T27" fmla="*/ 2265306 h 2356"/>
                  <a:gd name="T28" fmla="*/ 766956 w 2165"/>
                  <a:gd name="T29" fmla="*/ 2274830 h 2356"/>
                  <a:gd name="T30" fmla="*/ 952739 w 2165"/>
                  <a:gd name="T31" fmla="*/ 2365299 h 2356"/>
                  <a:gd name="T32" fmla="*/ 1009903 w 2165"/>
                  <a:gd name="T33" fmla="*/ 2503384 h 2356"/>
                  <a:gd name="T34" fmla="*/ 771718 w 2165"/>
                  <a:gd name="T35" fmla="*/ 2831929 h 2356"/>
                  <a:gd name="T36" fmla="*/ 770098 w 2165"/>
                  <a:gd name="T37" fmla="*/ 3077228 h 2356"/>
                  <a:gd name="T38" fmla="*/ 1194094 w 2165"/>
                  <a:gd name="T39" fmla="*/ 2879544 h 2356"/>
                  <a:gd name="T40" fmla="*/ 1513260 w 2165"/>
                  <a:gd name="T41" fmla="*/ 2849389 h 2356"/>
                  <a:gd name="T42" fmla="*/ 1757794 w 2165"/>
                  <a:gd name="T43" fmla="*/ 2855736 h 2356"/>
                  <a:gd name="T44" fmla="*/ 2142066 w 2165"/>
                  <a:gd name="T45" fmla="*/ 3169997 h 2356"/>
                  <a:gd name="T46" fmla="*/ 2100779 w 2165"/>
                  <a:gd name="T47" fmla="*/ 3354108 h 2356"/>
                  <a:gd name="T48" fmla="*/ 2370719 w 2165"/>
                  <a:gd name="T49" fmla="*/ 3739792 h 2356"/>
                  <a:gd name="T50" fmla="*/ 2608902 w 2165"/>
                  <a:gd name="T51" fmla="*/ 3731869 h 2356"/>
                  <a:gd name="T52" fmla="*/ 2959820 w 2165"/>
                  <a:gd name="T53" fmla="*/ 1113016 h 2356"/>
                  <a:gd name="T54" fmla="*/ 3436938 w 2165"/>
                  <a:gd name="T55" fmla="*/ 1033503 h 2356"/>
                  <a:gd name="T56" fmla="*/ 3340126 w 2165"/>
                  <a:gd name="T57" fmla="*/ 413238 h 2356"/>
                  <a:gd name="T58" fmla="*/ 3090563 w 2165"/>
                  <a:gd name="T59" fmla="*/ 300724 h 2356"/>
                  <a:gd name="T60" fmla="*/ 2745757 w 2165"/>
                  <a:gd name="T61" fmla="*/ 0 h 2356"/>
                  <a:gd name="T62" fmla="*/ 2639556 w 2165"/>
                  <a:gd name="T63" fmla="*/ 131187 h 2356"/>
                  <a:gd name="T64" fmla="*/ 2503712 w 2165"/>
                  <a:gd name="T65" fmla="*/ 20629 h 2356"/>
                  <a:gd name="T66" fmla="*/ 2292074 w 2165"/>
                  <a:gd name="T67" fmla="*/ 23075 h 2356"/>
                  <a:gd name="T68" fmla="*/ 2214906 w 2165"/>
                  <a:gd name="T69" fmla="*/ 89622 h 2356"/>
                  <a:gd name="T70" fmla="*/ 2071192 w 2165"/>
                  <a:gd name="T71" fmla="*/ 30409 h 2356"/>
                  <a:gd name="T72" fmla="*/ 1918768 w 2165"/>
                  <a:gd name="T73" fmla="*/ 113536 h 2356"/>
                  <a:gd name="T74" fmla="*/ 1729255 w 2165"/>
                  <a:gd name="T75" fmla="*/ 88595 h 2356"/>
                  <a:gd name="T76" fmla="*/ 1648230 w 2165"/>
                  <a:gd name="T77" fmla="*/ 246426 h 2356"/>
                  <a:gd name="T78" fmla="*/ 1572011 w 2165"/>
                  <a:gd name="T79" fmla="*/ 351179 h 2356"/>
                  <a:gd name="T80" fmla="*/ 1643466 w 2165"/>
                  <a:gd name="T81" fmla="*/ 551163 h 2356"/>
                  <a:gd name="T82" fmla="*/ 1786377 w 2165"/>
                  <a:gd name="T83" fmla="*/ 617826 h 2356"/>
                  <a:gd name="T84" fmla="*/ 1938814 w 2165"/>
                  <a:gd name="T85" fmla="*/ 646395 h 2356"/>
                  <a:gd name="T86" fmla="*/ 2053143 w 2165"/>
                  <a:gd name="T87" fmla="*/ 551163 h 2356"/>
                  <a:gd name="T88" fmla="*/ 2157943 w 2165"/>
                  <a:gd name="T89" fmla="*/ 598778 h 2356"/>
                  <a:gd name="T90" fmla="*/ 2096015 w 2165"/>
                  <a:gd name="T91" fmla="*/ 722579 h 2356"/>
                  <a:gd name="T92" fmla="*/ 2191292 w 2165"/>
                  <a:gd name="T93" fmla="*/ 913044 h 2356"/>
                  <a:gd name="T94" fmla="*/ 1914995 w 2165"/>
                  <a:gd name="T95" fmla="*/ 979701 h 2356"/>
                  <a:gd name="T96" fmla="*/ 1891177 w 2165"/>
                  <a:gd name="T97" fmla="*/ 889232 h 2356"/>
                  <a:gd name="T98" fmla="*/ 2091252 w 2165"/>
                  <a:gd name="T99" fmla="*/ 803524 h 2356"/>
                  <a:gd name="T100" fmla="*/ 2015033 w 2165"/>
                  <a:gd name="T101" fmla="*/ 722578 h 2356"/>
                  <a:gd name="T102" fmla="*/ 1867359 w 2165"/>
                  <a:gd name="T103" fmla="*/ 736863 h 2356"/>
                  <a:gd name="T104" fmla="*/ 1714924 w 2165"/>
                  <a:gd name="T105" fmla="*/ 703536 h 2356"/>
                  <a:gd name="T106" fmla="*/ 1471977 w 2165"/>
                  <a:gd name="T107" fmla="*/ 608304 h 2356"/>
                  <a:gd name="T108" fmla="*/ 981317 w 2165"/>
                  <a:gd name="T109" fmla="*/ 398796 h 2356"/>
                  <a:gd name="T110" fmla="*/ 833647 w 2165"/>
                  <a:gd name="T111" fmla="*/ 422604 h 2356"/>
                  <a:gd name="T112" fmla="*/ 666918 w 2165"/>
                  <a:gd name="T113" fmla="*/ 408318 h 2356"/>
                  <a:gd name="T114" fmla="*/ 590700 w 2165"/>
                  <a:gd name="T115" fmla="*/ 608302 h 2356"/>
                  <a:gd name="T116" fmla="*/ 409678 w 2165"/>
                  <a:gd name="T117" fmla="*/ 679724 h 2356"/>
                  <a:gd name="T118" fmla="*/ 610215 w 2165"/>
                  <a:gd name="T119" fmla="*/ 867849 h 235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2165" h="2356">
                    <a:moveTo>
                      <a:pt x="384" y="547"/>
                    </a:moveTo>
                    <a:lnTo>
                      <a:pt x="420" y="653"/>
                    </a:lnTo>
                    <a:lnTo>
                      <a:pt x="294" y="617"/>
                    </a:lnTo>
                    <a:lnTo>
                      <a:pt x="261" y="551"/>
                    </a:lnTo>
                    <a:lnTo>
                      <a:pt x="54" y="497"/>
                    </a:lnTo>
                    <a:lnTo>
                      <a:pt x="3" y="521"/>
                    </a:lnTo>
                    <a:lnTo>
                      <a:pt x="0" y="641"/>
                    </a:lnTo>
                    <a:lnTo>
                      <a:pt x="150" y="704"/>
                    </a:lnTo>
                    <a:lnTo>
                      <a:pt x="162" y="863"/>
                    </a:lnTo>
                    <a:lnTo>
                      <a:pt x="225" y="1052"/>
                    </a:lnTo>
                    <a:lnTo>
                      <a:pt x="252" y="1142"/>
                    </a:lnTo>
                    <a:lnTo>
                      <a:pt x="184" y="1258"/>
                    </a:lnTo>
                    <a:lnTo>
                      <a:pt x="340" y="1249"/>
                    </a:lnTo>
                    <a:lnTo>
                      <a:pt x="387" y="1427"/>
                    </a:lnTo>
                    <a:lnTo>
                      <a:pt x="483" y="1433"/>
                    </a:lnTo>
                    <a:lnTo>
                      <a:pt x="600" y="1490"/>
                    </a:lnTo>
                    <a:lnTo>
                      <a:pt x="636" y="1577"/>
                    </a:lnTo>
                    <a:lnTo>
                      <a:pt x="486" y="1784"/>
                    </a:lnTo>
                    <a:cubicBezTo>
                      <a:pt x="486" y="1836"/>
                      <a:pt x="485" y="1887"/>
                      <a:pt x="485" y="1939"/>
                    </a:cubicBezTo>
                    <a:lnTo>
                      <a:pt x="752" y="1814"/>
                    </a:lnTo>
                    <a:lnTo>
                      <a:pt x="953" y="1795"/>
                    </a:lnTo>
                    <a:lnTo>
                      <a:pt x="1107" y="1799"/>
                    </a:lnTo>
                    <a:lnTo>
                      <a:pt x="1349" y="1997"/>
                    </a:lnTo>
                    <a:lnTo>
                      <a:pt x="1323" y="2113"/>
                    </a:lnTo>
                    <a:lnTo>
                      <a:pt x="1493" y="2356"/>
                    </a:lnTo>
                    <a:lnTo>
                      <a:pt x="1643" y="2351"/>
                    </a:lnTo>
                    <a:lnTo>
                      <a:pt x="1864" y="701"/>
                    </a:lnTo>
                    <a:lnTo>
                      <a:pt x="2165" y="651"/>
                    </a:lnTo>
                    <a:lnTo>
                      <a:pt x="2104" y="260"/>
                    </a:lnTo>
                    <a:lnTo>
                      <a:pt x="1947" y="189"/>
                    </a:lnTo>
                    <a:lnTo>
                      <a:pt x="1730" y="0"/>
                    </a:lnTo>
                    <a:lnTo>
                      <a:pt x="1663" y="83"/>
                    </a:lnTo>
                    <a:lnTo>
                      <a:pt x="1577" y="13"/>
                    </a:lnTo>
                    <a:lnTo>
                      <a:pt x="1444" y="15"/>
                    </a:lnTo>
                    <a:lnTo>
                      <a:pt x="1395" y="56"/>
                    </a:lnTo>
                    <a:lnTo>
                      <a:pt x="1305" y="19"/>
                    </a:lnTo>
                    <a:lnTo>
                      <a:pt x="1209" y="72"/>
                    </a:lnTo>
                    <a:lnTo>
                      <a:pt x="1089" y="56"/>
                    </a:lnTo>
                    <a:lnTo>
                      <a:pt x="1038" y="155"/>
                    </a:lnTo>
                    <a:lnTo>
                      <a:pt x="990" y="221"/>
                    </a:lnTo>
                    <a:lnTo>
                      <a:pt x="1035" y="347"/>
                    </a:lnTo>
                    <a:lnTo>
                      <a:pt x="1125" y="389"/>
                    </a:lnTo>
                    <a:lnTo>
                      <a:pt x="1221" y="407"/>
                    </a:lnTo>
                    <a:lnTo>
                      <a:pt x="1293" y="347"/>
                    </a:lnTo>
                    <a:lnTo>
                      <a:pt x="1359" y="377"/>
                    </a:lnTo>
                    <a:lnTo>
                      <a:pt x="1320" y="455"/>
                    </a:lnTo>
                    <a:lnTo>
                      <a:pt x="1380" y="575"/>
                    </a:lnTo>
                    <a:lnTo>
                      <a:pt x="1206" y="617"/>
                    </a:lnTo>
                    <a:lnTo>
                      <a:pt x="1191" y="560"/>
                    </a:lnTo>
                    <a:lnTo>
                      <a:pt x="1317" y="506"/>
                    </a:lnTo>
                    <a:lnTo>
                      <a:pt x="1269" y="455"/>
                    </a:lnTo>
                    <a:lnTo>
                      <a:pt x="1176" y="464"/>
                    </a:lnTo>
                    <a:lnTo>
                      <a:pt x="1080" y="443"/>
                    </a:lnTo>
                    <a:lnTo>
                      <a:pt x="927" y="383"/>
                    </a:lnTo>
                    <a:lnTo>
                      <a:pt x="618" y="251"/>
                    </a:lnTo>
                    <a:lnTo>
                      <a:pt x="525" y="266"/>
                    </a:lnTo>
                    <a:lnTo>
                      <a:pt x="420" y="257"/>
                    </a:lnTo>
                    <a:lnTo>
                      <a:pt x="372" y="383"/>
                    </a:lnTo>
                    <a:lnTo>
                      <a:pt x="258" y="428"/>
                    </a:lnTo>
                    <a:lnTo>
                      <a:pt x="384" y="547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200">
                  <a:solidFill>
                    <a:srgbClr val="70AD47">
                      <a:lumMod val="75000"/>
                    </a:srgbClr>
                  </a:solidFill>
                </a:endParaRPr>
              </a:p>
            </p:txBody>
          </p:sp>
          <p:sp>
            <p:nvSpPr>
              <p:cNvPr id="309" name="任意多边形 116">
                <a:extLst>
                  <a:ext uri="{FF2B5EF4-FFF2-40B4-BE49-F238E27FC236}">
                    <a16:creationId xmlns:a16="http://schemas.microsoft.com/office/drawing/2014/main" xmlns="" id="{365EE186-46FE-7146-8E1F-EB3A949F74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8602" y="4070985"/>
                <a:ext cx="1421222" cy="1212215"/>
              </a:xfrm>
              <a:custGeom>
                <a:avLst/>
                <a:gdLst>
                  <a:gd name="T0" fmla="*/ 1155932 w 4477"/>
                  <a:gd name="T1" fmla="*/ 0 h 3818"/>
                  <a:gd name="T2" fmla="*/ 0 w 4477"/>
                  <a:gd name="T3" fmla="*/ 497666 h 3818"/>
                  <a:gd name="T4" fmla="*/ 1209770 w 4477"/>
                  <a:gd name="T5" fmla="*/ 1447800 h 3818"/>
                  <a:gd name="T6" fmla="*/ 1235166 w 4477"/>
                  <a:gd name="T7" fmla="*/ 1633535 h 3818"/>
                  <a:gd name="T8" fmla="*/ 1676486 w 4477"/>
                  <a:gd name="T9" fmla="*/ 2171696 h 3818"/>
                  <a:gd name="T10" fmla="*/ 2024148 w 4477"/>
                  <a:gd name="T11" fmla="*/ 2098668 h 3818"/>
                  <a:gd name="T12" fmla="*/ 2286081 w 4477"/>
                  <a:gd name="T13" fmla="*/ 2044692 h 3818"/>
                  <a:gd name="T14" fmla="*/ 2448006 w 4477"/>
                  <a:gd name="T15" fmla="*/ 2141530 h 3818"/>
                  <a:gd name="T16" fmla="*/ 2670254 w 4477"/>
                  <a:gd name="T17" fmla="*/ 2130416 h 3818"/>
                  <a:gd name="T18" fmla="*/ 2929015 w 4477"/>
                  <a:gd name="T19" fmla="*/ 2197092 h 3818"/>
                  <a:gd name="T20" fmla="*/ 3175077 w 4477"/>
                  <a:gd name="T21" fmla="*/ 2024055 h 3818"/>
                  <a:gd name="T22" fmla="*/ 3352877 w 4477"/>
                  <a:gd name="T23" fmla="*/ 2262181 h 3818"/>
                  <a:gd name="T24" fmla="*/ 3532265 w 4477"/>
                  <a:gd name="T25" fmla="*/ 2341555 h 3818"/>
                  <a:gd name="T26" fmla="*/ 3630687 w 4477"/>
                  <a:gd name="T27" fmla="*/ 2687631 h 3818"/>
                  <a:gd name="T28" fmla="*/ 3833889 w 4477"/>
                  <a:gd name="T29" fmla="*/ 2617778 h 3818"/>
                  <a:gd name="T30" fmla="*/ 3797351 w 4477"/>
                  <a:gd name="T31" fmla="*/ 3075550 h 3818"/>
                  <a:gd name="T32" fmla="*/ 4318074 w 4477"/>
                  <a:gd name="T33" fmla="*/ 2492368 h 3818"/>
                  <a:gd name="T34" fmla="*/ 3921210 w 4477"/>
                  <a:gd name="T35" fmla="*/ 695326 h 3818"/>
                  <a:gd name="T36" fmla="*/ 1186022 w 4477"/>
                  <a:gd name="T37" fmla="*/ 0 h 3818"/>
                  <a:gd name="T38" fmla="*/ 1155932 w 4477"/>
                  <a:gd name="T39" fmla="*/ 0 h 381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4477" h="3818">
                    <a:moveTo>
                      <a:pt x="680" y="448"/>
                    </a:moveTo>
                    <a:lnTo>
                      <a:pt x="616" y="552"/>
                    </a:lnTo>
                    <a:lnTo>
                      <a:pt x="528" y="592"/>
                    </a:lnTo>
                    <a:lnTo>
                      <a:pt x="197" y="797"/>
                    </a:lnTo>
                    <a:lnTo>
                      <a:pt x="41" y="928"/>
                    </a:lnTo>
                    <a:lnTo>
                      <a:pt x="0" y="1032"/>
                    </a:lnTo>
                    <a:lnTo>
                      <a:pt x="120" y="1024"/>
                    </a:lnTo>
                    <a:lnTo>
                      <a:pt x="176" y="1056"/>
                    </a:lnTo>
                    <a:lnTo>
                      <a:pt x="152" y="1112"/>
                    </a:lnTo>
                    <a:lnTo>
                      <a:pt x="120" y="1184"/>
                    </a:lnTo>
                    <a:lnTo>
                      <a:pt x="240" y="1128"/>
                    </a:lnTo>
                    <a:lnTo>
                      <a:pt x="224" y="1008"/>
                    </a:lnTo>
                    <a:lnTo>
                      <a:pt x="272" y="920"/>
                    </a:lnTo>
                    <a:lnTo>
                      <a:pt x="232" y="800"/>
                    </a:lnTo>
                    <a:lnTo>
                      <a:pt x="336" y="824"/>
                    </a:lnTo>
                    <a:lnTo>
                      <a:pt x="392" y="864"/>
                    </a:lnTo>
                    <a:lnTo>
                      <a:pt x="400" y="984"/>
                    </a:lnTo>
                    <a:lnTo>
                      <a:pt x="488" y="936"/>
                    </a:lnTo>
                    <a:lnTo>
                      <a:pt x="560" y="936"/>
                    </a:lnTo>
                    <a:lnTo>
                      <a:pt x="632" y="968"/>
                    </a:lnTo>
                    <a:lnTo>
                      <a:pt x="696" y="960"/>
                    </a:lnTo>
                    <a:lnTo>
                      <a:pt x="776" y="984"/>
                    </a:lnTo>
                    <a:lnTo>
                      <a:pt x="832" y="984"/>
                    </a:lnTo>
                    <a:lnTo>
                      <a:pt x="816" y="912"/>
                    </a:lnTo>
                    <a:lnTo>
                      <a:pt x="656" y="904"/>
                    </a:lnTo>
                    <a:lnTo>
                      <a:pt x="552" y="888"/>
                    </a:lnTo>
                    <a:lnTo>
                      <a:pt x="512" y="800"/>
                    </a:lnTo>
                    <a:lnTo>
                      <a:pt x="480" y="760"/>
                    </a:lnTo>
                    <a:lnTo>
                      <a:pt x="456" y="704"/>
                    </a:lnTo>
                    <a:lnTo>
                      <a:pt x="520" y="640"/>
                    </a:lnTo>
                    <a:lnTo>
                      <a:pt x="648" y="600"/>
                    </a:lnTo>
                    <a:lnTo>
                      <a:pt x="768" y="648"/>
                    </a:lnTo>
                    <a:lnTo>
                      <a:pt x="832" y="680"/>
                    </a:lnTo>
                    <a:lnTo>
                      <a:pt x="816" y="616"/>
                    </a:lnTo>
                    <a:lnTo>
                      <a:pt x="760" y="552"/>
                    </a:lnTo>
                    <a:lnTo>
                      <a:pt x="864" y="552"/>
                    </a:lnTo>
                    <a:lnTo>
                      <a:pt x="920" y="608"/>
                    </a:lnTo>
                    <a:lnTo>
                      <a:pt x="912" y="680"/>
                    </a:lnTo>
                    <a:lnTo>
                      <a:pt x="952" y="720"/>
                    </a:lnTo>
                    <a:lnTo>
                      <a:pt x="1024" y="752"/>
                    </a:lnTo>
                    <a:lnTo>
                      <a:pt x="1080" y="720"/>
                    </a:lnTo>
                    <a:lnTo>
                      <a:pt x="1096" y="640"/>
                    </a:lnTo>
                    <a:lnTo>
                      <a:pt x="1184" y="584"/>
                    </a:lnTo>
                    <a:lnTo>
                      <a:pt x="1256" y="560"/>
                    </a:lnTo>
                    <a:lnTo>
                      <a:pt x="1360" y="616"/>
                    </a:lnTo>
                    <a:lnTo>
                      <a:pt x="1288" y="704"/>
                    </a:lnTo>
                    <a:lnTo>
                      <a:pt x="1200" y="784"/>
                    </a:lnTo>
                    <a:lnTo>
                      <a:pt x="1120" y="888"/>
                    </a:lnTo>
                    <a:lnTo>
                      <a:pt x="1048" y="1016"/>
                    </a:lnTo>
                    <a:lnTo>
                      <a:pt x="960" y="1000"/>
                    </a:lnTo>
                    <a:lnTo>
                      <a:pt x="920" y="1056"/>
                    </a:lnTo>
                    <a:lnTo>
                      <a:pt x="984" y="1128"/>
                    </a:lnTo>
                    <a:lnTo>
                      <a:pt x="992" y="1192"/>
                    </a:lnTo>
                    <a:lnTo>
                      <a:pt x="928" y="1264"/>
                    </a:lnTo>
                    <a:lnTo>
                      <a:pt x="896" y="1368"/>
                    </a:lnTo>
                    <a:lnTo>
                      <a:pt x="1008" y="1312"/>
                    </a:lnTo>
                    <a:lnTo>
                      <a:pt x="1080" y="1384"/>
                    </a:lnTo>
                    <a:lnTo>
                      <a:pt x="1040" y="1472"/>
                    </a:lnTo>
                    <a:lnTo>
                      <a:pt x="1144" y="1568"/>
                    </a:lnTo>
                    <a:lnTo>
                      <a:pt x="1176" y="1648"/>
                    </a:lnTo>
                    <a:lnTo>
                      <a:pt x="1208" y="1696"/>
                    </a:lnTo>
                    <a:lnTo>
                      <a:pt x="1296" y="1728"/>
                    </a:lnTo>
                    <a:lnTo>
                      <a:pt x="1280" y="1792"/>
                    </a:lnTo>
                    <a:lnTo>
                      <a:pt x="1384" y="1816"/>
                    </a:lnTo>
                    <a:lnTo>
                      <a:pt x="1312" y="1912"/>
                    </a:lnTo>
                    <a:lnTo>
                      <a:pt x="1128" y="2024"/>
                    </a:lnTo>
                    <a:lnTo>
                      <a:pt x="984" y="2072"/>
                    </a:lnTo>
                    <a:lnTo>
                      <a:pt x="946" y="2186"/>
                    </a:lnTo>
                    <a:lnTo>
                      <a:pt x="970" y="2368"/>
                    </a:lnTo>
                    <a:lnTo>
                      <a:pt x="1402" y="2894"/>
                    </a:lnTo>
                    <a:lnTo>
                      <a:pt x="1741" y="2822"/>
                    </a:lnTo>
                    <a:lnTo>
                      <a:pt x="1997" y="2769"/>
                    </a:lnTo>
                    <a:lnTo>
                      <a:pt x="2155" y="2864"/>
                    </a:lnTo>
                    <a:lnTo>
                      <a:pt x="2372" y="2853"/>
                    </a:lnTo>
                    <a:lnTo>
                      <a:pt x="2625" y="2918"/>
                    </a:lnTo>
                    <a:lnTo>
                      <a:pt x="2866" y="2749"/>
                    </a:lnTo>
                    <a:lnTo>
                      <a:pt x="3039" y="2982"/>
                    </a:lnTo>
                    <a:lnTo>
                      <a:pt x="3215" y="3060"/>
                    </a:lnTo>
                    <a:lnTo>
                      <a:pt x="3311" y="3399"/>
                    </a:lnTo>
                    <a:lnTo>
                      <a:pt x="3509" y="3331"/>
                    </a:lnTo>
                    <a:lnTo>
                      <a:pt x="3453" y="3818"/>
                    </a:lnTo>
                    <a:lnTo>
                      <a:pt x="3621" y="3669"/>
                    </a:lnTo>
                    <a:lnTo>
                      <a:pt x="3801" y="3534"/>
                    </a:lnTo>
                    <a:lnTo>
                      <a:pt x="4015" y="3385"/>
                    </a:lnTo>
                    <a:lnTo>
                      <a:pt x="4184" y="3329"/>
                    </a:lnTo>
                    <a:lnTo>
                      <a:pt x="4379" y="3184"/>
                    </a:lnTo>
                    <a:lnTo>
                      <a:pt x="4280" y="3041"/>
                    </a:lnTo>
                    <a:lnTo>
                      <a:pt x="4454" y="2849"/>
                    </a:lnTo>
                    <a:lnTo>
                      <a:pt x="4415" y="2734"/>
                    </a:lnTo>
                    <a:lnTo>
                      <a:pt x="4477" y="2566"/>
                    </a:lnTo>
                    <a:lnTo>
                      <a:pt x="4244" y="2348"/>
                    </a:lnTo>
                    <a:lnTo>
                      <a:pt x="4230" y="1913"/>
                    </a:lnTo>
                    <a:lnTo>
                      <a:pt x="4091" y="1662"/>
                    </a:lnTo>
                    <a:lnTo>
                      <a:pt x="4122" y="1533"/>
                    </a:lnTo>
                    <a:lnTo>
                      <a:pt x="4150" y="1254"/>
                    </a:lnTo>
                    <a:lnTo>
                      <a:pt x="4012" y="1090"/>
                    </a:lnTo>
                    <a:lnTo>
                      <a:pt x="3861" y="1082"/>
                    </a:lnTo>
                    <a:lnTo>
                      <a:pt x="3747" y="1152"/>
                    </a:lnTo>
                    <a:lnTo>
                      <a:pt x="3294" y="1127"/>
                    </a:lnTo>
                    <a:lnTo>
                      <a:pt x="3090" y="966"/>
                    </a:lnTo>
                    <a:lnTo>
                      <a:pt x="2717" y="761"/>
                    </a:lnTo>
                    <a:lnTo>
                      <a:pt x="2284" y="575"/>
                    </a:lnTo>
                    <a:lnTo>
                      <a:pt x="1960" y="382"/>
                    </a:lnTo>
                    <a:lnTo>
                      <a:pt x="1809" y="249"/>
                    </a:lnTo>
                    <a:lnTo>
                      <a:pt x="1640" y="192"/>
                    </a:lnTo>
                    <a:lnTo>
                      <a:pt x="1568" y="88"/>
                    </a:lnTo>
                    <a:lnTo>
                      <a:pt x="1440" y="0"/>
                    </a:lnTo>
                    <a:lnTo>
                      <a:pt x="1224" y="0"/>
                    </a:lnTo>
                    <a:lnTo>
                      <a:pt x="1040" y="296"/>
                    </a:lnTo>
                    <a:lnTo>
                      <a:pt x="960" y="384"/>
                    </a:lnTo>
                    <a:lnTo>
                      <a:pt x="824" y="400"/>
                    </a:lnTo>
                    <a:lnTo>
                      <a:pt x="736" y="368"/>
                    </a:lnTo>
                    <a:lnTo>
                      <a:pt x="680" y="448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20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10" name="任意多边形 117">
                <a:extLst>
                  <a:ext uri="{FF2B5EF4-FFF2-40B4-BE49-F238E27FC236}">
                    <a16:creationId xmlns:a16="http://schemas.microsoft.com/office/drawing/2014/main" xmlns="" id="{295AB303-22C6-DB4A-B5E9-E077B607B6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91455" y="4479925"/>
                <a:ext cx="59681" cy="27940"/>
              </a:xfrm>
              <a:custGeom>
                <a:avLst/>
                <a:gdLst>
                  <a:gd name="T0" fmla="*/ 195587 w 188"/>
                  <a:gd name="T1" fmla="*/ 0 h 88"/>
                  <a:gd name="T2" fmla="*/ 0 w 188"/>
                  <a:gd name="T3" fmla="*/ 2919412 h 88"/>
                  <a:gd name="T4" fmla="*/ 3309938 w 188"/>
                  <a:gd name="T5" fmla="*/ 827669 h 88"/>
                  <a:gd name="T6" fmla="*/ 225678 w 188"/>
                  <a:gd name="T7" fmla="*/ 0 h 88"/>
                  <a:gd name="T8" fmla="*/ 195587 w 188"/>
                  <a:gd name="T9" fmla="*/ 0 h 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88" h="88">
                    <a:moveTo>
                      <a:pt x="32" y="32"/>
                    </a:moveTo>
                    <a:lnTo>
                      <a:pt x="0" y="60"/>
                    </a:lnTo>
                    <a:lnTo>
                      <a:pt x="64" y="88"/>
                    </a:lnTo>
                    <a:lnTo>
                      <a:pt x="108" y="60"/>
                    </a:lnTo>
                    <a:lnTo>
                      <a:pt x="188" y="12"/>
                    </a:lnTo>
                    <a:lnTo>
                      <a:pt x="152" y="12"/>
                    </a:lnTo>
                    <a:lnTo>
                      <a:pt x="76" y="0"/>
                    </a:lnTo>
                    <a:lnTo>
                      <a:pt x="48" y="0"/>
                    </a:lnTo>
                    <a:lnTo>
                      <a:pt x="32" y="32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20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11" name="任意多边形 10">
                <a:extLst>
                  <a:ext uri="{FF2B5EF4-FFF2-40B4-BE49-F238E27FC236}">
                    <a16:creationId xmlns:a16="http://schemas.microsoft.com/office/drawing/2014/main" xmlns="" id="{14B4EAE0-699E-AD4C-A1F3-476575BD8F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4317" y="4485005"/>
                <a:ext cx="71109" cy="97790"/>
              </a:xfrm>
              <a:custGeom>
                <a:avLst/>
                <a:gdLst>
                  <a:gd name="T0" fmla="*/ 195587 w 224"/>
                  <a:gd name="T1" fmla="*/ 0 h 308"/>
                  <a:gd name="T2" fmla="*/ 0 w 224"/>
                  <a:gd name="T3" fmla="*/ 2919412 h 308"/>
                  <a:gd name="T4" fmla="*/ 3309938 w 224"/>
                  <a:gd name="T5" fmla="*/ 827669 h 308"/>
                  <a:gd name="T6" fmla="*/ 225678 w 224"/>
                  <a:gd name="T7" fmla="*/ 0 h 308"/>
                  <a:gd name="T8" fmla="*/ 195587 w 224"/>
                  <a:gd name="T9" fmla="*/ 0 h 3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24" h="308">
                    <a:moveTo>
                      <a:pt x="28" y="72"/>
                    </a:moveTo>
                    <a:lnTo>
                      <a:pt x="0" y="108"/>
                    </a:lnTo>
                    <a:lnTo>
                      <a:pt x="140" y="226"/>
                    </a:lnTo>
                    <a:lnTo>
                      <a:pt x="180" y="216"/>
                    </a:lnTo>
                    <a:lnTo>
                      <a:pt x="224" y="200"/>
                    </a:lnTo>
                    <a:lnTo>
                      <a:pt x="224" y="308"/>
                    </a:lnTo>
                    <a:lnTo>
                      <a:pt x="140" y="224"/>
                    </a:lnTo>
                    <a:lnTo>
                      <a:pt x="140" y="132"/>
                    </a:lnTo>
                    <a:lnTo>
                      <a:pt x="164" y="80"/>
                    </a:lnTo>
                    <a:lnTo>
                      <a:pt x="200" y="36"/>
                    </a:lnTo>
                    <a:lnTo>
                      <a:pt x="180" y="4"/>
                    </a:lnTo>
                    <a:lnTo>
                      <a:pt x="132" y="0"/>
                    </a:lnTo>
                    <a:lnTo>
                      <a:pt x="108" y="36"/>
                    </a:lnTo>
                    <a:lnTo>
                      <a:pt x="80" y="52"/>
                    </a:lnTo>
                    <a:lnTo>
                      <a:pt x="28" y="72"/>
                    </a:lnTo>
                    <a:close/>
                  </a:path>
                </a:pathLst>
              </a:custGeom>
              <a:grpFill/>
              <a:ln w="19050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>
                <a:outerShdw dist="28398" dir="6993903" algn="ctr" rotWithShape="0">
                  <a:srgbClr val="B2B2B2">
                    <a:alpha val="50000"/>
                  </a:srgbClr>
                </a:outerShdw>
              </a:effectLst>
            </p:spPr>
            <p:txBody>
              <a:bodyPr/>
              <a:lstStyle/>
              <a:p>
                <a:endParaRPr lang="zh-CN" altLang="en-US" sz="120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293" name="任意多边形 110">
              <a:extLst>
                <a:ext uri="{FF2B5EF4-FFF2-40B4-BE49-F238E27FC236}">
                  <a16:creationId xmlns:a16="http://schemas.microsoft.com/office/drawing/2014/main" xmlns="" id="{0331B626-CDB6-8A40-B6CC-BE314243E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8285" y="2556790"/>
              <a:ext cx="2702927" cy="1810255"/>
            </a:xfrm>
            <a:custGeom>
              <a:avLst/>
              <a:gdLst>
                <a:gd name="connsiteX0" fmla="*/ 26157237 w 27560432"/>
                <a:gd name="connsiteY0" fmla="*/ 4322377 h 15152939"/>
                <a:gd name="connsiteX1" fmla="*/ 25950755 w 27560432"/>
                <a:gd name="connsiteY1" fmla="*/ 4946265 h 15152939"/>
                <a:gd name="connsiteX2" fmla="*/ 26059273 w 27560432"/>
                <a:gd name="connsiteY2" fmla="*/ 5561190 h 15152939"/>
                <a:gd name="connsiteX3" fmla="*/ 26439085 w 27560432"/>
                <a:gd name="connsiteY3" fmla="*/ 6103777 h 15152939"/>
                <a:gd name="connsiteX4" fmla="*/ 26366739 w 27560432"/>
                <a:gd name="connsiteY4" fmla="*/ 6555934 h 15152939"/>
                <a:gd name="connsiteX5" fmla="*/ 25824148 w 27560432"/>
                <a:gd name="connsiteY5" fmla="*/ 6827228 h 15152939"/>
                <a:gd name="connsiteX6" fmla="*/ 26023104 w 27560432"/>
                <a:gd name="connsiteY6" fmla="*/ 7478344 h 15152939"/>
                <a:gd name="connsiteX7" fmla="*/ 26619948 w 27560432"/>
                <a:gd name="connsiteY7" fmla="*/ 7840060 h 15152939"/>
                <a:gd name="connsiteX8" fmla="*/ 26276305 w 27560432"/>
                <a:gd name="connsiteY8" fmla="*/ 8672029 h 15152939"/>
                <a:gd name="connsiteX9" fmla="*/ 26312478 w 27560432"/>
                <a:gd name="connsiteY9" fmla="*/ 9666777 h 15152939"/>
                <a:gd name="connsiteX10" fmla="*/ 25878405 w 27560432"/>
                <a:gd name="connsiteY10" fmla="*/ 10227453 h 15152939"/>
                <a:gd name="connsiteX11" fmla="*/ 26402912 w 27560432"/>
                <a:gd name="connsiteY11" fmla="*/ 10643437 h 15152939"/>
                <a:gd name="connsiteX12" fmla="*/ 27319497 w 27560432"/>
                <a:gd name="connsiteY12" fmla="*/ 10082959 h 15152939"/>
                <a:gd name="connsiteX13" fmla="*/ 27560432 w 27560432"/>
                <a:gd name="connsiteY13" fmla="*/ 10281714 h 15152939"/>
                <a:gd name="connsiteX14" fmla="*/ 27542355 w 27560432"/>
                <a:gd name="connsiteY14" fmla="*/ 12005935 h 15152939"/>
                <a:gd name="connsiteX15" fmla="*/ 26089423 w 27560432"/>
                <a:gd name="connsiteY15" fmla="*/ 11975789 h 15152939"/>
                <a:gd name="connsiteX16" fmla="*/ 24473715 w 27560432"/>
                <a:gd name="connsiteY16" fmla="*/ 12090334 h 15152939"/>
                <a:gd name="connsiteX17" fmla="*/ 23135328 w 27560432"/>
                <a:gd name="connsiteY17" fmla="*/ 12222964 h 15152939"/>
                <a:gd name="connsiteX18" fmla="*/ 22261159 w 27560432"/>
                <a:gd name="connsiteY18" fmla="*/ 12934357 h 15152939"/>
                <a:gd name="connsiteX19" fmla="*/ 20826342 w 27560432"/>
                <a:gd name="connsiteY19" fmla="*/ 14369204 h 15152939"/>
                <a:gd name="connsiteX20" fmla="*/ 12952786 w 27560432"/>
                <a:gd name="connsiteY20" fmla="*/ 14960014 h 15152939"/>
                <a:gd name="connsiteX21" fmla="*/ 11934663 w 27560432"/>
                <a:gd name="connsiteY21" fmla="*/ 15008264 h 15152939"/>
                <a:gd name="connsiteX22" fmla="*/ 8506848 w 27560432"/>
                <a:gd name="connsiteY22" fmla="*/ 15152939 h 15152939"/>
                <a:gd name="connsiteX23" fmla="*/ 7985095 w 27560432"/>
                <a:gd name="connsiteY23" fmla="*/ 14507857 h 15152939"/>
                <a:gd name="connsiteX24" fmla="*/ 7400308 w 27560432"/>
                <a:gd name="connsiteY24" fmla="*/ 14477712 h 15152939"/>
                <a:gd name="connsiteX25" fmla="*/ 6972273 w 27560432"/>
                <a:gd name="connsiteY25" fmla="*/ 14749009 h 15152939"/>
                <a:gd name="connsiteX26" fmla="*/ 5181729 w 27560432"/>
                <a:gd name="connsiteY26" fmla="*/ 14664610 h 15152939"/>
                <a:gd name="connsiteX27" fmla="*/ 4397998 w 27560432"/>
                <a:gd name="connsiteY27" fmla="*/ 14031593 h 15152939"/>
                <a:gd name="connsiteX28" fmla="*/ 2908896 w 27560432"/>
                <a:gd name="connsiteY28" fmla="*/ 13223739 h 15152939"/>
                <a:gd name="connsiteX29" fmla="*/ 1263043 w 27560432"/>
                <a:gd name="connsiteY29" fmla="*/ 12512346 h 15152939"/>
                <a:gd name="connsiteX30" fmla="*/ 485320 w 27560432"/>
                <a:gd name="connsiteY30" fmla="*/ 12060189 h 15152939"/>
                <a:gd name="connsiteX31" fmla="*/ 0 w 27560432"/>
                <a:gd name="connsiteY31" fmla="*/ 11767077 h 15152939"/>
                <a:gd name="connsiteX32" fmla="*/ 1003686 w 27560432"/>
                <a:gd name="connsiteY32" fmla="*/ 11021112 h 15152939"/>
                <a:gd name="connsiteX33" fmla="*/ 2902551 w 27560432"/>
                <a:gd name="connsiteY33" fmla="*/ 9836713 h 15152939"/>
                <a:gd name="connsiteX34" fmla="*/ 2558940 w 27560432"/>
                <a:gd name="connsiteY34" fmla="*/ 9303282 h 15152939"/>
                <a:gd name="connsiteX35" fmla="*/ 2402508 w 27560432"/>
                <a:gd name="connsiteY35" fmla="*/ 8616199 h 15152939"/>
                <a:gd name="connsiteX36" fmla="*/ 2730740 w 27560432"/>
                <a:gd name="connsiteY36" fmla="*/ 8589028 h 15152939"/>
                <a:gd name="connsiteX37" fmla="*/ 2947754 w 27560432"/>
                <a:gd name="connsiteY37" fmla="*/ 8118883 h 15152939"/>
                <a:gd name="connsiteX38" fmla="*/ 3499325 w 27560432"/>
                <a:gd name="connsiteY38" fmla="*/ 7675866 h 15152939"/>
                <a:gd name="connsiteX39" fmla="*/ 3680166 w 27560432"/>
                <a:gd name="connsiteY39" fmla="*/ 6798868 h 15152939"/>
                <a:gd name="connsiteX40" fmla="*/ 4186528 w 27560432"/>
                <a:gd name="connsiteY40" fmla="*/ 6807904 h 15152939"/>
                <a:gd name="connsiteX41" fmla="*/ 4837569 w 27560432"/>
                <a:gd name="connsiteY41" fmla="*/ 7278054 h 15152939"/>
                <a:gd name="connsiteX42" fmla="*/ 5352976 w 27560432"/>
                <a:gd name="connsiteY42" fmla="*/ 7196687 h 15152939"/>
                <a:gd name="connsiteX43" fmla="*/ 5741786 w 27560432"/>
                <a:gd name="connsiteY43" fmla="*/ 6825992 h 15152939"/>
                <a:gd name="connsiteX44" fmla="*/ 6157723 w 27560432"/>
                <a:gd name="connsiteY44" fmla="*/ 6663251 h 15152939"/>
                <a:gd name="connsiteX45" fmla="*/ 6745471 w 27560432"/>
                <a:gd name="connsiteY45" fmla="*/ 6093658 h 15152939"/>
                <a:gd name="connsiteX46" fmla="*/ 6890140 w 27560432"/>
                <a:gd name="connsiteY46" fmla="*/ 5243782 h 15152939"/>
                <a:gd name="connsiteX47" fmla="*/ 7568305 w 27560432"/>
                <a:gd name="connsiteY47" fmla="*/ 4674188 h 15152939"/>
                <a:gd name="connsiteX48" fmla="*/ 8137967 w 27560432"/>
                <a:gd name="connsiteY48" fmla="*/ 4231167 h 15152939"/>
                <a:gd name="connsiteX49" fmla="*/ 8463480 w 27560432"/>
                <a:gd name="connsiteY49" fmla="*/ 3426500 h 15152939"/>
                <a:gd name="connsiteX50" fmla="*/ 9024093 w 27560432"/>
                <a:gd name="connsiteY50" fmla="*/ 3073893 h 15152939"/>
                <a:gd name="connsiteX51" fmla="*/ 9675138 w 27560432"/>
                <a:gd name="connsiteY51" fmla="*/ 2721291 h 15152939"/>
                <a:gd name="connsiteX52" fmla="*/ 9558580 w 27560432"/>
                <a:gd name="connsiteY52" fmla="*/ 2173007 h 15152939"/>
                <a:gd name="connsiteX53" fmla="*/ 10353296 w 27560432"/>
                <a:gd name="connsiteY53" fmla="*/ 1500723 h 15152939"/>
                <a:gd name="connsiteX54" fmla="*/ 10832530 w 27560432"/>
                <a:gd name="connsiteY54" fmla="*/ 1428389 h 15152939"/>
                <a:gd name="connsiteX55" fmla="*/ 11058585 w 27560432"/>
                <a:gd name="connsiteY55" fmla="*/ 1880458 h 15152939"/>
                <a:gd name="connsiteX56" fmla="*/ 11411229 w 27560432"/>
                <a:gd name="connsiteY56" fmla="*/ 2260189 h 15152939"/>
                <a:gd name="connsiteX57" fmla="*/ 11998974 w 27560432"/>
                <a:gd name="connsiteY57" fmla="*/ 2341559 h 15152939"/>
                <a:gd name="connsiteX58" fmla="*/ 12315449 w 27560432"/>
                <a:gd name="connsiteY58" fmla="*/ 3001571 h 15152939"/>
                <a:gd name="connsiteX59" fmla="*/ 12785642 w 27560432"/>
                <a:gd name="connsiteY59" fmla="*/ 2820742 h 15152939"/>
                <a:gd name="connsiteX60" fmla="*/ 13671776 w 27560432"/>
                <a:gd name="connsiteY60" fmla="*/ 3272803 h 15152939"/>
                <a:gd name="connsiteX61" fmla="*/ 14123886 w 27560432"/>
                <a:gd name="connsiteY61" fmla="*/ 2974450 h 15152939"/>
                <a:gd name="connsiteX62" fmla="*/ 14259509 w 27560432"/>
                <a:gd name="connsiteY62" fmla="*/ 2404849 h 15152939"/>
                <a:gd name="connsiteX63" fmla="*/ 14892468 w 27560432"/>
                <a:gd name="connsiteY63" fmla="*/ 1762918 h 15152939"/>
                <a:gd name="connsiteX64" fmla="*/ 15778605 w 27560432"/>
                <a:gd name="connsiteY64" fmla="*/ 1211398 h 15152939"/>
                <a:gd name="connsiteX65" fmla="*/ 16022739 w 27560432"/>
                <a:gd name="connsiteY65" fmla="*/ 1681548 h 15152939"/>
                <a:gd name="connsiteX66" fmla="*/ 16013694 w 27560432"/>
                <a:gd name="connsiteY66" fmla="*/ 2169778 h 15152939"/>
                <a:gd name="connsiteX67" fmla="*/ 16556232 w 27560432"/>
                <a:gd name="connsiteY67" fmla="*/ 2260200 h 15152939"/>
                <a:gd name="connsiteX68" fmla="*/ 16863663 w 27560432"/>
                <a:gd name="connsiteY68" fmla="*/ 1744834 h 15152939"/>
                <a:gd name="connsiteX69" fmla="*/ 17406193 w 27560432"/>
                <a:gd name="connsiteY69" fmla="*/ 1410312 h 15152939"/>
                <a:gd name="connsiteX70" fmla="*/ 17623203 w 27560432"/>
                <a:gd name="connsiteY70" fmla="*/ 867840 h 15152939"/>
                <a:gd name="connsiteX71" fmla="*/ 18120524 w 27560432"/>
                <a:gd name="connsiteY71" fmla="*/ 831675 h 15152939"/>
                <a:gd name="connsiteX72" fmla="*/ 18201903 w 27560432"/>
                <a:gd name="connsiteY72" fmla="*/ 542358 h 15152939"/>
                <a:gd name="connsiteX73" fmla="*/ 18744437 w 27560432"/>
                <a:gd name="connsiteY73" fmla="*/ 117414 h 15152939"/>
                <a:gd name="connsiteX74" fmla="*/ 19443290 w 27560432"/>
                <a:gd name="connsiteY74" fmla="*/ 0 h 15152939"/>
                <a:gd name="connsiteX75" fmla="*/ 19982300 w 27560432"/>
                <a:gd name="connsiteY75" fmla="*/ 460880 h 15152939"/>
                <a:gd name="connsiteX76" fmla="*/ 19530143 w 27560432"/>
                <a:gd name="connsiteY76" fmla="*/ 913038 h 15152939"/>
                <a:gd name="connsiteX77" fmla="*/ 19837609 w 27560432"/>
                <a:gd name="connsiteY77" fmla="*/ 1238588 h 15152939"/>
                <a:gd name="connsiteX78" fmla="*/ 20886614 w 27560432"/>
                <a:gd name="connsiteY78" fmla="*/ 1546055 h 15152939"/>
                <a:gd name="connsiteX79" fmla="*/ 21881359 w 27560432"/>
                <a:gd name="connsiteY79" fmla="*/ 1889694 h 15152939"/>
                <a:gd name="connsiteX80" fmla="*/ 21772837 w 27560432"/>
                <a:gd name="connsiteY80" fmla="*/ 2269505 h 15152939"/>
                <a:gd name="connsiteX81" fmla="*/ 21537712 w 27560432"/>
                <a:gd name="connsiteY81" fmla="*/ 2884438 h 15152939"/>
                <a:gd name="connsiteX82" fmla="*/ 21996067 w 27560432"/>
                <a:gd name="connsiteY82" fmla="*/ 2911656 h 15152939"/>
                <a:gd name="connsiteX83" fmla="*/ 22478203 w 27560432"/>
                <a:gd name="connsiteY83" fmla="*/ 2414189 h 15152939"/>
                <a:gd name="connsiteX84" fmla="*/ 23292084 w 27560432"/>
                <a:gd name="connsiteY84" fmla="*/ 2016293 h 15152939"/>
                <a:gd name="connsiteX85" fmla="*/ 23888932 w 27560432"/>
                <a:gd name="connsiteY85" fmla="*/ 1998212 h 15152939"/>
                <a:gd name="connsiteX86" fmla="*/ 24612383 w 27560432"/>
                <a:gd name="connsiteY86" fmla="*/ 1582227 h 15152939"/>
                <a:gd name="connsiteX87" fmla="*/ 25010275 w 27560432"/>
                <a:gd name="connsiteY87" fmla="*/ 695990 h 15152939"/>
                <a:gd name="connsiteX88" fmla="*/ 25769899 w 27560432"/>
                <a:gd name="connsiteY88" fmla="*/ 840685 h 15152939"/>
                <a:gd name="connsiteX89" fmla="*/ 26402920 w 27560432"/>
                <a:gd name="connsiteY89" fmla="*/ 876857 h 15152939"/>
                <a:gd name="connsiteX90" fmla="*/ 26240141 w 27560432"/>
                <a:gd name="connsiteY90" fmla="*/ 1491794 h 15152939"/>
                <a:gd name="connsiteX91" fmla="*/ 26554742 w 27560432"/>
                <a:gd name="connsiteY91" fmla="*/ 2052454 h 15152939"/>
                <a:gd name="connsiteX92" fmla="*/ 25679461 w 27560432"/>
                <a:gd name="connsiteY92" fmla="*/ 2775920 h 15152939"/>
                <a:gd name="connsiteX93" fmla="*/ 25751806 w 27560432"/>
                <a:gd name="connsiteY93" fmla="*/ 3806840 h 15152939"/>
                <a:gd name="connsiteX94" fmla="*/ 26157237 w 27560432"/>
                <a:gd name="connsiteY94" fmla="*/ 4322377 h 15152939"/>
                <a:gd name="connsiteX0" fmla="*/ 26157237 w 27542354"/>
                <a:gd name="connsiteY0" fmla="*/ 4322377 h 15152939"/>
                <a:gd name="connsiteX1" fmla="*/ 25950755 w 27542354"/>
                <a:gd name="connsiteY1" fmla="*/ 4946265 h 15152939"/>
                <a:gd name="connsiteX2" fmla="*/ 26059273 w 27542354"/>
                <a:gd name="connsiteY2" fmla="*/ 5561190 h 15152939"/>
                <a:gd name="connsiteX3" fmla="*/ 26439085 w 27542354"/>
                <a:gd name="connsiteY3" fmla="*/ 6103777 h 15152939"/>
                <a:gd name="connsiteX4" fmla="*/ 26366739 w 27542354"/>
                <a:gd name="connsiteY4" fmla="*/ 6555934 h 15152939"/>
                <a:gd name="connsiteX5" fmla="*/ 25824148 w 27542354"/>
                <a:gd name="connsiteY5" fmla="*/ 6827228 h 15152939"/>
                <a:gd name="connsiteX6" fmla="*/ 26023104 w 27542354"/>
                <a:gd name="connsiteY6" fmla="*/ 7478344 h 15152939"/>
                <a:gd name="connsiteX7" fmla="*/ 26619948 w 27542354"/>
                <a:gd name="connsiteY7" fmla="*/ 7840060 h 15152939"/>
                <a:gd name="connsiteX8" fmla="*/ 26276305 w 27542354"/>
                <a:gd name="connsiteY8" fmla="*/ 8672029 h 15152939"/>
                <a:gd name="connsiteX9" fmla="*/ 26312478 w 27542354"/>
                <a:gd name="connsiteY9" fmla="*/ 9666777 h 15152939"/>
                <a:gd name="connsiteX10" fmla="*/ 25878405 w 27542354"/>
                <a:gd name="connsiteY10" fmla="*/ 10227453 h 15152939"/>
                <a:gd name="connsiteX11" fmla="*/ 26402912 w 27542354"/>
                <a:gd name="connsiteY11" fmla="*/ 10643437 h 15152939"/>
                <a:gd name="connsiteX12" fmla="*/ 27319497 w 27542354"/>
                <a:gd name="connsiteY12" fmla="*/ 10082959 h 15152939"/>
                <a:gd name="connsiteX13" fmla="*/ 27542355 w 27542354"/>
                <a:gd name="connsiteY13" fmla="*/ 12005935 h 15152939"/>
                <a:gd name="connsiteX14" fmla="*/ 26089423 w 27542354"/>
                <a:gd name="connsiteY14" fmla="*/ 11975789 h 15152939"/>
                <a:gd name="connsiteX15" fmla="*/ 24473715 w 27542354"/>
                <a:gd name="connsiteY15" fmla="*/ 12090334 h 15152939"/>
                <a:gd name="connsiteX16" fmla="*/ 23135328 w 27542354"/>
                <a:gd name="connsiteY16" fmla="*/ 12222964 h 15152939"/>
                <a:gd name="connsiteX17" fmla="*/ 22261159 w 27542354"/>
                <a:gd name="connsiteY17" fmla="*/ 12934357 h 15152939"/>
                <a:gd name="connsiteX18" fmla="*/ 20826342 w 27542354"/>
                <a:gd name="connsiteY18" fmla="*/ 14369204 h 15152939"/>
                <a:gd name="connsiteX19" fmla="*/ 12952786 w 27542354"/>
                <a:gd name="connsiteY19" fmla="*/ 14960014 h 15152939"/>
                <a:gd name="connsiteX20" fmla="*/ 11934663 w 27542354"/>
                <a:gd name="connsiteY20" fmla="*/ 15008264 h 15152939"/>
                <a:gd name="connsiteX21" fmla="*/ 8506848 w 27542354"/>
                <a:gd name="connsiteY21" fmla="*/ 15152939 h 15152939"/>
                <a:gd name="connsiteX22" fmla="*/ 7985095 w 27542354"/>
                <a:gd name="connsiteY22" fmla="*/ 14507857 h 15152939"/>
                <a:gd name="connsiteX23" fmla="*/ 7400308 w 27542354"/>
                <a:gd name="connsiteY23" fmla="*/ 14477712 h 15152939"/>
                <a:gd name="connsiteX24" fmla="*/ 6972273 w 27542354"/>
                <a:gd name="connsiteY24" fmla="*/ 14749009 h 15152939"/>
                <a:gd name="connsiteX25" fmla="*/ 5181729 w 27542354"/>
                <a:gd name="connsiteY25" fmla="*/ 14664610 h 15152939"/>
                <a:gd name="connsiteX26" fmla="*/ 4397998 w 27542354"/>
                <a:gd name="connsiteY26" fmla="*/ 14031593 h 15152939"/>
                <a:gd name="connsiteX27" fmla="*/ 2908896 w 27542354"/>
                <a:gd name="connsiteY27" fmla="*/ 13223739 h 15152939"/>
                <a:gd name="connsiteX28" fmla="*/ 1263043 w 27542354"/>
                <a:gd name="connsiteY28" fmla="*/ 12512346 h 15152939"/>
                <a:gd name="connsiteX29" fmla="*/ 485320 w 27542354"/>
                <a:gd name="connsiteY29" fmla="*/ 12060189 h 15152939"/>
                <a:gd name="connsiteX30" fmla="*/ 0 w 27542354"/>
                <a:gd name="connsiteY30" fmla="*/ 11767077 h 15152939"/>
                <a:gd name="connsiteX31" fmla="*/ 1003686 w 27542354"/>
                <a:gd name="connsiteY31" fmla="*/ 11021112 h 15152939"/>
                <a:gd name="connsiteX32" fmla="*/ 2902551 w 27542354"/>
                <a:gd name="connsiteY32" fmla="*/ 9836713 h 15152939"/>
                <a:gd name="connsiteX33" fmla="*/ 2558940 w 27542354"/>
                <a:gd name="connsiteY33" fmla="*/ 9303282 h 15152939"/>
                <a:gd name="connsiteX34" fmla="*/ 2402508 w 27542354"/>
                <a:gd name="connsiteY34" fmla="*/ 8616199 h 15152939"/>
                <a:gd name="connsiteX35" fmla="*/ 2730740 w 27542354"/>
                <a:gd name="connsiteY35" fmla="*/ 8589028 h 15152939"/>
                <a:gd name="connsiteX36" fmla="*/ 2947754 w 27542354"/>
                <a:gd name="connsiteY36" fmla="*/ 8118883 h 15152939"/>
                <a:gd name="connsiteX37" fmla="*/ 3499325 w 27542354"/>
                <a:gd name="connsiteY37" fmla="*/ 7675866 h 15152939"/>
                <a:gd name="connsiteX38" fmla="*/ 3680166 w 27542354"/>
                <a:gd name="connsiteY38" fmla="*/ 6798868 h 15152939"/>
                <a:gd name="connsiteX39" fmla="*/ 4186528 w 27542354"/>
                <a:gd name="connsiteY39" fmla="*/ 6807904 h 15152939"/>
                <a:gd name="connsiteX40" fmla="*/ 4837569 w 27542354"/>
                <a:gd name="connsiteY40" fmla="*/ 7278054 h 15152939"/>
                <a:gd name="connsiteX41" fmla="*/ 5352976 w 27542354"/>
                <a:gd name="connsiteY41" fmla="*/ 7196687 h 15152939"/>
                <a:gd name="connsiteX42" fmla="*/ 5741786 w 27542354"/>
                <a:gd name="connsiteY42" fmla="*/ 6825992 h 15152939"/>
                <a:gd name="connsiteX43" fmla="*/ 6157723 w 27542354"/>
                <a:gd name="connsiteY43" fmla="*/ 6663251 h 15152939"/>
                <a:gd name="connsiteX44" fmla="*/ 6745471 w 27542354"/>
                <a:gd name="connsiteY44" fmla="*/ 6093658 h 15152939"/>
                <a:gd name="connsiteX45" fmla="*/ 6890140 w 27542354"/>
                <a:gd name="connsiteY45" fmla="*/ 5243782 h 15152939"/>
                <a:gd name="connsiteX46" fmla="*/ 7568305 w 27542354"/>
                <a:gd name="connsiteY46" fmla="*/ 4674188 h 15152939"/>
                <a:gd name="connsiteX47" fmla="*/ 8137967 w 27542354"/>
                <a:gd name="connsiteY47" fmla="*/ 4231167 h 15152939"/>
                <a:gd name="connsiteX48" fmla="*/ 8463480 w 27542354"/>
                <a:gd name="connsiteY48" fmla="*/ 3426500 h 15152939"/>
                <a:gd name="connsiteX49" fmla="*/ 9024093 w 27542354"/>
                <a:gd name="connsiteY49" fmla="*/ 3073893 h 15152939"/>
                <a:gd name="connsiteX50" fmla="*/ 9675138 w 27542354"/>
                <a:gd name="connsiteY50" fmla="*/ 2721291 h 15152939"/>
                <a:gd name="connsiteX51" fmla="*/ 9558580 w 27542354"/>
                <a:gd name="connsiteY51" fmla="*/ 2173007 h 15152939"/>
                <a:gd name="connsiteX52" fmla="*/ 10353296 w 27542354"/>
                <a:gd name="connsiteY52" fmla="*/ 1500723 h 15152939"/>
                <a:gd name="connsiteX53" fmla="*/ 10832530 w 27542354"/>
                <a:gd name="connsiteY53" fmla="*/ 1428389 h 15152939"/>
                <a:gd name="connsiteX54" fmla="*/ 11058585 w 27542354"/>
                <a:gd name="connsiteY54" fmla="*/ 1880458 h 15152939"/>
                <a:gd name="connsiteX55" fmla="*/ 11411229 w 27542354"/>
                <a:gd name="connsiteY55" fmla="*/ 2260189 h 15152939"/>
                <a:gd name="connsiteX56" fmla="*/ 11998974 w 27542354"/>
                <a:gd name="connsiteY56" fmla="*/ 2341559 h 15152939"/>
                <a:gd name="connsiteX57" fmla="*/ 12315449 w 27542354"/>
                <a:gd name="connsiteY57" fmla="*/ 3001571 h 15152939"/>
                <a:gd name="connsiteX58" fmla="*/ 12785642 w 27542354"/>
                <a:gd name="connsiteY58" fmla="*/ 2820742 h 15152939"/>
                <a:gd name="connsiteX59" fmla="*/ 13671776 w 27542354"/>
                <a:gd name="connsiteY59" fmla="*/ 3272803 h 15152939"/>
                <a:gd name="connsiteX60" fmla="*/ 14123886 w 27542354"/>
                <a:gd name="connsiteY60" fmla="*/ 2974450 h 15152939"/>
                <a:gd name="connsiteX61" fmla="*/ 14259509 w 27542354"/>
                <a:gd name="connsiteY61" fmla="*/ 2404849 h 15152939"/>
                <a:gd name="connsiteX62" fmla="*/ 14892468 w 27542354"/>
                <a:gd name="connsiteY62" fmla="*/ 1762918 h 15152939"/>
                <a:gd name="connsiteX63" fmla="*/ 15778605 w 27542354"/>
                <a:gd name="connsiteY63" fmla="*/ 1211398 h 15152939"/>
                <a:gd name="connsiteX64" fmla="*/ 16022739 w 27542354"/>
                <a:gd name="connsiteY64" fmla="*/ 1681548 h 15152939"/>
                <a:gd name="connsiteX65" fmla="*/ 16013694 w 27542354"/>
                <a:gd name="connsiteY65" fmla="*/ 2169778 h 15152939"/>
                <a:gd name="connsiteX66" fmla="*/ 16556232 w 27542354"/>
                <a:gd name="connsiteY66" fmla="*/ 2260200 h 15152939"/>
                <a:gd name="connsiteX67" fmla="*/ 16863663 w 27542354"/>
                <a:gd name="connsiteY67" fmla="*/ 1744834 h 15152939"/>
                <a:gd name="connsiteX68" fmla="*/ 17406193 w 27542354"/>
                <a:gd name="connsiteY68" fmla="*/ 1410312 h 15152939"/>
                <a:gd name="connsiteX69" fmla="*/ 17623203 w 27542354"/>
                <a:gd name="connsiteY69" fmla="*/ 867840 h 15152939"/>
                <a:gd name="connsiteX70" fmla="*/ 18120524 w 27542354"/>
                <a:gd name="connsiteY70" fmla="*/ 831675 h 15152939"/>
                <a:gd name="connsiteX71" fmla="*/ 18201903 w 27542354"/>
                <a:gd name="connsiteY71" fmla="*/ 542358 h 15152939"/>
                <a:gd name="connsiteX72" fmla="*/ 18744437 w 27542354"/>
                <a:gd name="connsiteY72" fmla="*/ 117414 h 15152939"/>
                <a:gd name="connsiteX73" fmla="*/ 19443290 w 27542354"/>
                <a:gd name="connsiteY73" fmla="*/ 0 h 15152939"/>
                <a:gd name="connsiteX74" fmla="*/ 19982300 w 27542354"/>
                <a:gd name="connsiteY74" fmla="*/ 460880 h 15152939"/>
                <a:gd name="connsiteX75" fmla="*/ 19530143 w 27542354"/>
                <a:gd name="connsiteY75" fmla="*/ 913038 h 15152939"/>
                <a:gd name="connsiteX76" fmla="*/ 19837609 w 27542354"/>
                <a:gd name="connsiteY76" fmla="*/ 1238588 h 15152939"/>
                <a:gd name="connsiteX77" fmla="*/ 20886614 w 27542354"/>
                <a:gd name="connsiteY77" fmla="*/ 1546055 h 15152939"/>
                <a:gd name="connsiteX78" fmla="*/ 21881359 w 27542354"/>
                <a:gd name="connsiteY78" fmla="*/ 1889694 h 15152939"/>
                <a:gd name="connsiteX79" fmla="*/ 21772837 w 27542354"/>
                <a:gd name="connsiteY79" fmla="*/ 2269505 h 15152939"/>
                <a:gd name="connsiteX80" fmla="*/ 21537712 w 27542354"/>
                <a:gd name="connsiteY80" fmla="*/ 2884438 h 15152939"/>
                <a:gd name="connsiteX81" fmla="*/ 21996067 w 27542354"/>
                <a:gd name="connsiteY81" fmla="*/ 2911656 h 15152939"/>
                <a:gd name="connsiteX82" fmla="*/ 22478203 w 27542354"/>
                <a:gd name="connsiteY82" fmla="*/ 2414189 h 15152939"/>
                <a:gd name="connsiteX83" fmla="*/ 23292084 w 27542354"/>
                <a:gd name="connsiteY83" fmla="*/ 2016293 h 15152939"/>
                <a:gd name="connsiteX84" fmla="*/ 23888932 w 27542354"/>
                <a:gd name="connsiteY84" fmla="*/ 1998212 h 15152939"/>
                <a:gd name="connsiteX85" fmla="*/ 24612383 w 27542354"/>
                <a:gd name="connsiteY85" fmla="*/ 1582227 h 15152939"/>
                <a:gd name="connsiteX86" fmla="*/ 25010275 w 27542354"/>
                <a:gd name="connsiteY86" fmla="*/ 695990 h 15152939"/>
                <a:gd name="connsiteX87" fmla="*/ 25769899 w 27542354"/>
                <a:gd name="connsiteY87" fmla="*/ 840685 h 15152939"/>
                <a:gd name="connsiteX88" fmla="*/ 26402920 w 27542354"/>
                <a:gd name="connsiteY88" fmla="*/ 876857 h 15152939"/>
                <a:gd name="connsiteX89" fmla="*/ 26240141 w 27542354"/>
                <a:gd name="connsiteY89" fmla="*/ 1491794 h 15152939"/>
                <a:gd name="connsiteX90" fmla="*/ 26554742 w 27542354"/>
                <a:gd name="connsiteY90" fmla="*/ 2052454 h 15152939"/>
                <a:gd name="connsiteX91" fmla="*/ 25679461 w 27542354"/>
                <a:gd name="connsiteY91" fmla="*/ 2775920 h 15152939"/>
                <a:gd name="connsiteX92" fmla="*/ 25751806 w 27542354"/>
                <a:gd name="connsiteY92" fmla="*/ 3806840 h 15152939"/>
                <a:gd name="connsiteX93" fmla="*/ 26157237 w 27542354"/>
                <a:gd name="connsiteY93" fmla="*/ 4322377 h 15152939"/>
                <a:gd name="connsiteX0" fmla="*/ 26157237 w 27542354"/>
                <a:gd name="connsiteY0" fmla="*/ 4322377 h 15152939"/>
                <a:gd name="connsiteX1" fmla="*/ 25950755 w 27542354"/>
                <a:gd name="connsiteY1" fmla="*/ 4946265 h 15152939"/>
                <a:gd name="connsiteX2" fmla="*/ 26059273 w 27542354"/>
                <a:gd name="connsiteY2" fmla="*/ 5561190 h 15152939"/>
                <a:gd name="connsiteX3" fmla="*/ 26439085 w 27542354"/>
                <a:gd name="connsiteY3" fmla="*/ 6103777 h 15152939"/>
                <a:gd name="connsiteX4" fmla="*/ 26366739 w 27542354"/>
                <a:gd name="connsiteY4" fmla="*/ 6555934 h 15152939"/>
                <a:gd name="connsiteX5" fmla="*/ 25824148 w 27542354"/>
                <a:gd name="connsiteY5" fmla="*/ 6827228 h 15152939"/>
                <a:gd name="connsiteX6" fmla="*/ 26023104 w 27542354"/>
                <a:gd name="connsiteY6" fmla="*/ 7478344 h 15152939"/>
                <a:gd name="connsiteX7" fmla="*/ 26619948 w 27542354"/>
                <a:gd name="connsiteY7" fmla="*/ 7840060 h 15152939"/>
                <a:gd name="connsiteX8" fmla="*/ 26276305 w 27542354"/>
                <a:gd name="connsiteY8" fmla="*/ 8672029 h 15152939"/>
                <a:gd name="connsiteX9" fmla="*/ 26312478 w 27542354"/>
                <a:gd name="connsiteY9" fmla="*/ 9666777 h 15152939"/>
                <a:gd name="connsiteX10" fmla="*/ 25878405 w 27542354"/>
                <a:gd name="connsiteY10" fmla="*/ 10227453 h 15152939"/>
                <a:gd name="connsiteX11" fmla="*/ 26402912 w 27542354"/>
                <a:gd name="connsiteY11" fmla="*/ 10643437 h 15152939"/>
                <a:gd name="connsiteX12" fmla="*/ 27542355 w 27542354"/>
                <a:gd name="connsiteY12" fmla="*/ 12005935 h 15152939"/>
                <a:gd name="connsiteX13" fmla="*/ 26089423 w 27542354"/>
                <a:gd name="connsiteY13" fmla="*/ 11975789 h 15152939"/>
                <a:gd name="connsiteX14" fmla="*/ 24473715 w 27542354"/>
                <a:gd name="connsiteY14" fmla="*/ 12090334 h 15152939"/>
                <a:gd name="connsiteX15" fmla="*/ 23135328 w 27542354"/>
                <a:gd name="connsiteY15" fmla="*/ 12222964 h 15152939"/>
                <a:gd name="connsiteX16" fmla="*/ 22261159 w 27542354"/>
                <a:gd name="connsiteY16" fmla="*/ 12934357 h 15152939"/>
                <a:gd name="connsiteX17" fmla="*/ 20826342 w 27542354"/>
                <a:gd name="connsiteY17" fmla="*/ 14369204 h 15152939"/>
                <a:gd name="connsiteX18" fmla="*/ 12952786 w 27542354"/>
                <a:gd name="connsiteY18" fmla="*/ 14960014 h 15152939"/>
                <a:gd name="connsiteX19" fmla="*/ 11934663 w 27542354"/>
                <a:gd name="connsiteY19" fmla="*/ 15008264 h 15152939"/>
                <a:gd name="connsiteX20" fmla="*/ 8506848 w 27542354"/>
                <a:gd name="connsiteY20" fmla="*/ 15152939 h 15152939"/>
                <a:gd name="connsiteX21" fmla="*/ 7985095 w 27542354"/>
                <a:gd name="connsiteY21" fmla="*/ 14507857 h 15152939"/>
                <a:gd name="connsiteX22" fmla="*/ 7400308 w 27542354"/>
                <a:gd name="connsiteY22" fmla="*/ 14477712 h 15152939"/>
                <a:gd name="connsiteX23" fmla="*/ 6972273 w 27542354"/>
                <a:gd name="connsiteY23" fmla="*/ 14749009 h 15152939"/>
                <a:gd name="connsiteX24" fmla="*/ 5181729 w 27542354"/>
                <a:gd name="connsiteY24" fmla="*/ 14664610 h 15152939"/>
                <a:gd name="connsiteX25" fmla="*/ 4397998 w 27542354"/>
                <a:gd name="connsiteY25" fmla="*/ 14031593 h 15152939"/>
                <a:gd name="connsiteX26" fmla="*/ 2908896 w 27542354"/>
                <a:gd name="connsiteY26" fmla="*/ 13223739 h 15152939"/>
                <a:gd name="connsiteX27" fmla="*/ 1263043 w 27542354"/>
                <a:gd name="connsiteY27" fmla="*/ 12512346 h 15152939"/>
                <a:gd name="connsiteX28" fmla="*/ 485320 w 27542354"/>
                <a:gd name="connsiteY28" fmla="*/ 12060189 h 15152939"/>
                <a:gd name="connsiteX29" fmla="*/ 0 w 27542354"/>
                <a:gd name="connsiteY29" fmla="*/ 11767077 h 15152939"/>
                <a:gd name="connsiteX30" fmla="*/ 1003686 w 27542354"/>
                <a:gd name="connsiteY30" fmla="*/ 11021112 h 15152939"/>
                <a:gd name="connsiteX31" fmla="*/ 2902551 w 27542354"/>
                <a:gd name="connsiteY31" fmla="*/ 9836713 h 15152939"/>
                <a:gd name="connsiteX32" fmla="*/ 2558940 w 27542354"/>
                <a:gd name="connsiteY32" fmla="*/ 9303282 h 15152939"/>
                <a:gd name="connsiteX33" fmla="*/ 2402508 w 27542354"/>
                <a:gd name="connsiteY33" fmla="*/ 8616199 h 15152939"/>
                <a:gd name="connsiteX34" fmla="*/ 2730740 w 27542354"/>
                <a:gd name="connsiteY34" fmla="*/ 8589028 h 15152939"/>
                <a:gd name="connsiteX35" fmla="*/ 2947754 w 27542354"/>
                <a:gd name="connsiteY35" fmla="*/ 8118883 h 15152939"/>
                <a:gd name="connsiteX36" fmla="*/ 3499325 w 27542354"/>
                <a:gd name="connsiteY36" fmla="*/ 7675866 h 15152939"/>
                <a:gd name="connsiteX37" fmla="*/ 3680166 w 27542354"/>
                <a:gd name="connsiteY37" fmla="*/ 6798868 h 15152939"/>
                <a:gd name="connsiteX38" fmla="*/ 4186528 w 27542354"/>
                <a:gd name="connsiteY38" fmla="*/ 6807904 h 15152939"/>
                <a:gd name="connsiteX39" fmla="*/ 4837569 w 27542354"/>
                <a:gd name="connsiteY39" fmla="*/ 7278054 h 15152939"/>
                <a:gd name="connsiteX40" fmla="*/ 5352976 w 27542354"/>
                <a:gd name="connsiteY40" fmla="*/ 7196687 h 15152939"/>
                <a:gd name="connsiteX41" fmla="*/ 5741786 w 27542354"/>
                <a:gd name="connsiteY41" fmla="*/ 6825992 h 15152939"/>
                <a:gd name="connsiteX42" fmla="*/ 6157723 w 27542354"/>
                <a:gd name="connsiteY42" fmla="*/ 6663251 h 15152939"/>
                <a:gd name="connsiteX43" fmla="*/ 6745471 w 27542354"/>
                <a:gd name="connsiteY43" fmla="*/ 6093658 h 15152939"/>
                <a:gd name="connsiteX44" fmla="*/ 6890140 w 27542354"/>
                <a:gd name="connsiteY44" fmla="*/ 5243782 h 15152939"/>
                <a:gd name="connsiteX45" fmla="*/ 7568305 w 27542354"/>
                <a:gd name="connsiteY45" fmla="*/ 4674188 h 15152939"/>
                <a:gd name="connsiteX46" fmla="*/ 8137967 w 27542354"/>
                <a:gd name="connsiteY46" fmla="*/ 4231167 h 15152939"/>
                <a:gd name="connsiteX47" fmla="*/ 8463480 w 27542354"/>
                <a:gd name="connsiteY47" fmla="*/ 3426500 h 15152939"/>
                <a:gd name="connsiteX48" fmla="*/ 9024093 w 27542354"/>
                <a:gd name="connsiteY48" fmla="*/ 3073893 h 15152939"/>
                <a:gd name="connsiteX49" fmla="*/ 9675138 w 27542354"/>
                <a:gd name="connsiteY49" fmla="*/ 2721291 h 15152939"/>
                <a:gd name="connsiteX50" fmla="*/ 9558580 w 27542354"/>
                <a:gd name="connsiteY50" fmla="*/ 2173007 h 15152939"/>
                <a:gd name="connsiteX51" fmla="*/ 10353296 w 27542354"/>
                <a:gd name="connsiteY51" fmla="*/ 1500723 h 15152939"/>
                <a:gd name="connsiteX52" fmla="*/ 10832530 w 27542354"/>
                <a:gd name="connsiteY52" fmla="*/ 1428389 h 15152939"/>
                <a:gd name="connsiteX53" fmla="*/ 11058585 w 27542354"/>
                <a:gd name="connsiteY53" fmla="*/ 1880458 h 15152939"/>
                <a:gd name="connsiteX54" fmla="*/ 11411229 w 27542354"/>
                <a:gd name="connsiteY54" fmla="*/ 2260189 h 15152939"/>
                <a:gd name="connsiteX55" fmla="*/ 11998974 w 27542354"/>
                <a:gd name="connsiteY55" fmla="*/ 2341559 h 15152939"/>
                <a:gd name="connsiteX56" fmla="*/ 12315449 w 27542354"/>
                <a:gd name="connsiteY56" fmla="*/ 3001571 h 15152939"/>
                <a:gd name="connsiteX57" fmla="*/ 12785642 w 27542354"/>
                <a:gd name="connsiteY57" fmla="*/ 2820742 h 15152939"/>
                <a:gd name="connsiteX58" fmla="*/ 13671776 w 27542354"/>
                <a:gd name="connsiteY58" fmla="*/ 3272803 h 15152939"/>
                <a:gd name="connsiteX59" fmla="*/ 14123886 w 27542354"/>
                <a:gd name="connsiteY59" fmla="*/ 2974450 h 15152939"/>
                <a:gd name="connsiteX60" fmla="*/ 14259509 w 27542354"/>
                <a:gd name="connsiteY60" fmla="*/ 2404849 h 15152939"/>
                <a:gd name="connsiteX61" fmla="*/ 14892468 w 27542354"/>
                <a:gd name="connsiteY61" fmla="*/ 1762918 h 15152939"/>
                <a:gd name="connsiteX62" fmla="*/ 15778605 w 27542354"/>
                <a:gd name="connsiteY62" fmla="*/ 1211398 h 15152939"/>
                <a:gd name="connsiteX63" fmla="*/ 16022739 w 27542354"/>
                <a:gd name="connsiteY63" fmla="*/ 1681548 h 15152939"/>
                <a:gd name="connsiteX64" fmla="*/ 16013694 w 27542354"/>
                <a:gd name="connsiteY64" fmla="*/ 2169778 h 15152939"/>
                <a:gd name="connsiteX65" fmla="*/ 16556232 w 27542354"/>
                <a:gd name="connsiteY65" fmla="*/ 2260200 h 15152939"/>
                <a:gd name="connsiteX66" fmla="*/ 16863663 w 27542354"/>
                <a:gd name="connsiteY66" fmla="*/ 1744834 h 15152939"/>
                <a:gd name="connsiteX67" fmla="*/ 17406193 w 27542354"/>
                <a:gd name="connsiteY67" fmla="*/ 1410312 h 15152939"/>
                <a:gd name="connsiteX68" fmla="*/ 17623203 w 27542354"/>
                <a:gd name="connsiteY68" fmla="*/ 867840 h 15152939"/>
                <a:gd name="connsiteX69" fmla="*/ 18120524 w 27542354"/>
                <a:gd name="connsiteY69" fmla="*/ 831675 h 15152939"/>
                <a:gd name="connsiteX70" fmla="*/ 18201903 w 27542354"/>
                <a:gd name="connsiteY70" fmla="*/ 542358 h 15152939"/>
                <a:gd name="connsiteX71" fmla="*/ 18744437 w 27542354"/>
                <a:gd name="connsiteY71" fmla="*/ 117414 h 15152939"/>
                <a:gd name="connsiteX72" fmla="*/ 19443290 w 27542354"/>
                <a:gd name="connsiteY72" fmla="*/ 0 h 15152939"/>
                <a:gd name="connsiteX73" fmla="*/ 19982300 w 27542354"/>
                <a:gd name="connsiteY73" fmla="*/ 460880 h 15152939"/>
                <a:gd name="connsiteX74" fmla="*/ 19530143 w 27542354"/>
                <a:gd name="connsiteY74" fmla="*/ 913038 h 15152939"/>
                <a:gd name="connsiteX75" fmla="*/ 19837609 w 27542354"/>
                <a:gd name="connsiteY75" fmla="*/ 1238588 h 15152939"/>
                <a:gd name="connsiteX76" fmla="*/ 20886614 w 27542354"/>
                <a:gd name="connsiteY76" fmla="*/ 1546055 h 15152939"/>
                <a:gd name="connsiteX77" fmla="*/ 21881359 w 27542354"/>
                <a:gd name="connsiteY77" fmla="*/ 1889694 h 15152939"/>
                <a:gd name="connsiteX78" fmla="*/ 21772837 w 27542354"/>
                <a:gd name="connsiteY78" fmla="*/ 2269505 h 15152939"/>
                <a:gd name="connsiteX79" fmla="*/ 21537712 w 27542354"/>
                <a:gd name="connsiteY79" fmla="*/ 2884438 h 15152939"/>
                <a:gd name="connsiteX80" fmla="*/ 21996067 w 27542354"/>
                <a:gd name="connsiteY80" fmla="*/ 2911656 h 15152939"/>
                <a:gd name="connsiteX81" fmla="*/ 22478203 w 27542354"/>
                <a:gd name="connsiteY81" fmla="*/ 2414189 h 15152939"/>
                <a:gd name="connsiteX82" fmla="*/ 23292084 w 27542354"/>
                <a:gd name="connsiteY82" fmla="*/ 2016293 h 15152939"/>
                <a:gd name="connsiteX83" fmla="*/ 23888932 w 27542354"/>
                <a:gd name="connsiteY83" fmla="*/ 1998212 h 15152939"/>
                <a:gd name="connsiteX84" fmla="*/ 24612383 w 27542354"/>
                <a:gd name="connsiteY84" fmla="*/ 1582227 h 15152939"/>
                <a:gd name="connsiteX85" fmla="*/ 25010275 w 27542354"/>
                <a:gd name="connsiteY85" fmla="*/ 695990 h 15152939"/>
                <a:gd name="connsiteX86" fmla="*/ 25769899 w 27542354"/>
                <a:gd name="connsiteY86" fmla="*/ 840685 h 15152939"/>
                <a:gd name="connsiteX87" fmla="*/ 26402920 w 27542354"/>
                <a:gd name="connsiteY87" fmla="*/ 876857 h 15152939"/>
                <a:gd name="connsiteX88" fmla="*/ 26240141 w 27542354"/>
                <a:gd name="connsiteY88" fmla="*/ 1491794 h 15152939"/>
                <a:gd name="connsiteX89" fmla="*/ 26554742 w 27542354"/>
                <a:gd name="connsiteY89" fmla="*/ 2052454 h 15152939"/>
                <a:gd name="connsiteX90" fmla="*/ 25679461 w 27542354"/>
                <a:gd name="connsiteY90" fmla="*/ 2775920 h 15152939"/>
                <a:gd name="connsiteX91" fmla="*/ 25751806 w 27542354"/>
                <a:gd name="connsiteY91" fmla="*/ 3806840 h 15152939"/>
                <a:gd name="connsiteX92" fmla="*/ 26157237 w 27542354"/>
                <a:gd name="connsiteY92" fmla="*/ 4322377 h 15152939"/>
                <a:gd name="connsiteX0" fmla="*/ 26157237 w 27542354"/>
                <a:gd name="connsiteY0" fmla="*/ 4322377 h 15152939"/>
                <a:gd name="connsiteX1" fmla="*/ 25950755 w 27542354"/>
                <a:gd name="connsiteY1" fmla="*/ 4946265 h 15152939"/>
                <a:gd name="connsiteX2" fmla="*/ 26059273 w 27542354"/>
                <a:gd name="connsiteY2" fmla="*/ 5561190 h 15152939"/>
                <a:gd name="connsiteX3" fmla="*/ 26439085 w 27542354"/>
                <a:gd name="connsiteY3" fmla="*/ 6103777 h 15152939"/>
                <a:gd name="connsiteX4" fmla="*/ 26366739 w 27542354"/>
                <a:gd name="connsiteY4" fmla="*/ 6555934 h 15152939"/>
                <a:gd name="connsiteX5" fmla="*/ 25824148 w 27542354"/>
                <a:gd name="connsiteY5" fmla="*/ 6827228 h 15152939"/>
                <a:gd name="connsiteX6" fmla="*/ 26023104 w 27542354"/>
                <a:gd name="connsiteY6" fmla="*/ 7478344 h 15152939"/>
                <a:gd name="connsiteX7" fmla="*/ 26619948 w 27542354"/>
                <a:gd name="connsiteY7" fmla="*/ 7840060 h 15152939"/>
                <a:gd name="connsiteX8" fmla="*/ 26276305 w 27542354"/>
                <a:gd name="connsiteY8" fmla="*/ 8672029 h 15152939"/>
                <a:gd name="connsiteX9" fmla="*/ 26312478 w 27542354"/>
                <a:gd name="connsiteY9" fmla="*/ 9666777 h 15152939"/>
                <a:gd name="connsiteX10" fmla="*/ 26402912 w 27542354"/>
                <a:gd name="connsiteY10" fmla="*/ 10643437 h 15152939"/>
                <a:gd name="connsiteX11" fmla="*/ 27542355 w 27542354"/>
                <a:gd name="connsiteY11" fmla="*/ 12005935 h 15152939"/>
                <a:gd name="connsiteX12" fmla="*/ 26089423 w 27542354"/>
                <a:gd name="connsiteY12" fmla="*/ 11975789 h 15152939"/>
                <a:gd name="connsiteX13" fmla="*/ 24473715 w 27542354"/>
                <a:gd name="connsiteY13" fmla="*/ 12090334 h 15152939"/>
                <a:gd name="connsiteX14" fmla="*/ 23135328 w 27542354"/>
                <a:gd name="connsiteY14" fmla="*/ 12222964 h 15152939"/>
                <a:gd name="connsiteX15" fmla="*/ 22261159 w 27542354"/>
                <a:gd name="connsiteY15" fmla="*/ 12934357 h 15152939"/>
                <a:gd name="connsiteX16" fmla="*/ 20826342 w 27542354"/>
                <a:gd name="connsiteY16" fmla="*/ 14369204 h 15152939"/>
                <a:gd name="connsiteX17" fmla="*/ 12952786 w 27542354"/>
                <a:gd name="connsiteY17" fmla="*/ 14960014 h 15152939"/>
                <a:gd name="connsiteX18" fmla="*/ 11934663 w 27542354"/>
                <a:gd name="connsiteY18" fmla="*/ 15008264 h 15152939"/>
                <a:gd name="connsiteX19" fmla="*/ 8506848 w 27542354"/>
                <a:gd name="connsiteY19" fmla="*/ 15152939 h 15152939"/>
                <a:gd name="connsiteX20" fmla="*/ 7985095 w 27542354"/>
                <a:gd name="connsiteY20" fmla="*/ 14507857 h 15152939"/>
                <a:gd name="connsiteX21" fmla="*/ 7400308 w 27542354"/>
                <a:gd name="connsiteY21" fmla="*/ 14477712 h 15152939"/>
                <a:gd name="connsiteX22" fmla="*/ 6972273 w 27542354"/>
                <a:gd name="connsiteY22" fmla="*/ 14749009 h 15152939"/>
                <a:gd name="connsiteX23" fmla="*/ 5181729 w 27542354"/>
                <a:gd name="connsiteY23" fmla="*/ 14664610 h 15152939"/>
                <a:gd name="connsiteX24" fmla="*/ 4397998 w 27542354"/>
                <a:gd name="connsiteY24" fmla="*/ 14031593 h 15152939"/>
                <a:gd name="connsiteX25" fmla="*/ 2908896 w 27542354"/>
                <a:gd name="connsiteY25" fmla="*/ 13223739 h 15152939"/>
                <a:gd name="connsiteX26" fmla="*/ 1263043 w 27542354"/>
                <a:gd name="connsiteY26" fmla="*/ 12512346 h 15152939"/>
                <a:gd name="connsiteX27" fmla="*/ 485320 w 27542354"/>
                <a:gd name="connsiteY27" fmla="*/ 12060189 h 15152939"/>
                <a:gd name="connsiteX28" fmla="*/ 0 w 27542354"/>
                <a:gd name="connsiteY28" fmla="*/ 11767077 h 15152939"/>
                <a:gd name="connsiteX29" fmla="*/ 1003686 w 27542354"/>
                <a:gd name="connsiteY29" fmla="*/ 11021112 h 15152939"/>
                <a:gd name="connsiteX30" fmla="*/ 2902551 w 27542354"/>
                <a:gd name="connsiteY30" fmla="*/ 9836713 h 15152939"/>
                <a:gd name="connsiteX31" fmla="*/ 2558940 w 27542354"/>
                <a:gd name="connsiteY31" fmla="*/ 9303282 h 15152939"/>
                <a:gd name="connsiteX32" fmla="*/ 2402508 w 27542354"/>
                <a:gd name="connsiteY32" fmla="*/ 8616199 h 15152939"/>
                <a:gd name="connsiteX33" fmla="*/ 2730740 w 27542354"/>
                <a:gd name="connsiteY33" fmla="*/ 8589028 h 15152939"/>
                <a:gd name="connsiteX34" fmla="*/ 2947754 w 27542354"/>
                <a:gd name="connsiteY34" fmla="*/ 8118883 h 15152939"/>
                <a:gd name="connsiteX35" fmla="*/ 3499325 w 27542354"/>
                <a:gd name="connsiteY35" fmla="*/ 7675866 h 15152939"/>
                <a:gd name="connsiteX36" fmla="*/ 3680166 w 27542354"/>
                <a:gd name="connsiteY36" fmla="*/ 6798868 h 15152939"/>
                <a:gd name="connsiteX37" fmla="*/ 4186528 w 27542354"/>
                <a:gd name="connsiteY37" fmla="*/ 6807904 h 15152939"/>
                <a:gd name="connsiteX38" fmla="*/ 4837569 w 27542354"/>
                <a:gd name="connsiteY38" fmla="*/ 7278054 h 15152939"/>
                <a:gd name="connsiteX39" fmla="*/ 5352976 w 27542354"/>
                <a:gd name="connsiteY39" fmla="*/ 7196687 h 15152939"/>
                <a:gd name="connsiteX40" fmla="*/ 5741786 w 27542354"/>
                <a:gd name="connsiteY40" fmla="*/ 6825992 h 15152939"/>
                <a:gd name="connsiteX41" fmla="*/ 6157723 w 27542354"/>
                <a:gd name="connsiteY41" fmla="*/ 6663251 h 15152939"/>
                <a:gd name="connsiteX42" fmla="*/ 6745471 w 27542354"/>
                <a:gd name="connsiteY42" fmla="*/ 6093658 h 15152939"/>
                <a:gd name="connsiteX43" fmla="*/ 6890140 w 27542354"/>
                <a:gd name="connsiteY43" fmla="*/ 5243782 h 15152939"/>
                <a:gd name="connsiteX44" fmla="*/ 7568305 w 27542354"/>
                <a:gd name="connsiteY44" fmla="*/ 4674188 h 15152939"/>
                <a:gd name="connsiteX45" fmla="*/ 8137967 w 27542354"/>
                <a:gd name="connsiteY45" fmla="*/ 4231167 h 15152939"/>
                <a:gd name="connsiteX46" fmla="*/ 8463480 w 27542354"/>
                <a:gd name="connsiteY46" fmla="*/ 3426500 h 15152939"/>
                <a:gd name="connsiteX47" fmla="*/ 9024093 w 27542354"/>
                <a:gd name="connsiteY47" fmla="*/ 3073893 h 15152939"/>
                <a:gd name="connsiteX48" fmla="*/ 9675138 w 27542354"/>
                <a:gd name="connsiteY48" fmla="*/ 2721291 h 15152939"/>
                <a:gd name="connsiteX49" fmla="*/ 9558580 w 27542354"/>
                <a:gd name="connsiteY49" fmla="*/ 2173007 h 15152939"/>
                <a:gd name="connsiteX50" fmla="*/ 10353296 w 27542354"/>
                <a:gd name="connsiteY50" fmla="*/ 1500723 h 15152939"/>
                <a:gd name="connsiteX51" fmla="*/ 10832530 w 27542354"/>
                <a:gd name="connsiteY51" fmla="*/ 1428389 h 15152939"/>
                <a:gd name="connsiteX52" fmla="*/ 11058585 w 27542354"/>
                <a:gd name="connsiteY52" fmla="*/ 1880458 h 15152939"/>
                <a:gd name="connsiteX53" fmla="*/ 11411229 w 27542354"/>
                <a:gd name="connsiteY53" fmla="*/ 2260189 h 15152939"/>
                <a:gd name="connsiteX54" fmla="*/ 11998974 w 27542354"/>
                <a:gd name="connsiteY54" fmla="*/ 2341559 h 15152939"/>
                <a:gd name="connsiteX55" fmla="*/ 12315449 w 27542354"/>
                <a:gd name="connsiteY55" fmla="*/ 3001571 h 15152939"/>
                <a:gd name="connsiteX56" fmla="*/ 12785642 w 27542354"/>
                <a:gd name="connsiteY56" fmla="*/ 2820742 h 15152939"/>
                <a:gd name="connsiteX57" fmla="*/ 13671776 w 27542354"/>
                <a:gd name="connsiteY57" fmla="*/ 3272803 h 15152939"/>
                <a:gd name="connsiteX58" fmla="*/ 14123886 w 27542354"/>
                <a:gd name="connsiteY58" fmla="*/ 2974450 h 15152939"/>
                <a:gd name="connsiteX59" fmla="*/ 14259509 w 27542354"/>
                <a:gd name="connsiteY59" fmla="*/ 2404849 h 15152939"/>
                <a:gd name="connsiteX60" fmla="*/ 14892468 w 27542354"/>
                <a:gd name="connsiteY60" fmla="*/ 1762918 h 15152939"/>
                <a:gd name="connsiteX61" fmla="*/ 15778605 w 27542354"/>
                <a:gd name="connsiteY61" fmla="*/ 1211398 h 15152939"/>
                <a:gd name="connsiteX62" fmla="*/ 16022739 w 27542354"/>
                <a:gd name="connsiteY62" fmla="*/ 1681548 h 15152939"/>
                <a:gd name="connsiteX63" fmla="*/ 16013694 w 27542354"/>
                <a:gd name="connsiteY63" fmla="*/ 2169778 h 15152939"/>
                <a:gd name="connsiteX64" fmla="*/ 16556232 w 27542354"/>
                <a:gd name="connsiteY64" fmla="*/ 2260200 h 15152939"/>
                <a:gd name="connsiteX65" fmla="*/ 16863663 w 27542354"/>
                <a:gd name="connsiteY65" fmla="*/ 1744834 h 15152939"/>
                <a:gd name="connsiteX66" fmla="*/ 17406193 w 27542354"/>
                <a:gd name="connsiteY66" fmla="*/ 1410312 h 15152939"/>
                <a:gd name="connsiteX67" fmla="*/ 17623203 w 27542354"/>
                <a:gd name="connsiteY67" fmla="*/ 867840 h 15152939"/>
                <a:gd name="connsiteX68" fmla="*/ 18120524 w 27542354"/>
                <a:gd name="connsiteY68" fmla="*/ 831675 h 15152939"/>
                <a:gd name="connsiteX69" fmla="*/ 18201903 w 27542354"/>
                <a:gd name="connsiteY69" fmla="*/ 542358 h 15152939"/>
                <a:gd name="connsiteX70" fmla="*/ 18744437 w 27542354"/>
                <a:gd name="connsiteY70" fmla="*/ 117414 h 15152939"/>
                <a:gd name="connsiteX71" fmla="*/ 19443290 w 27542354"/>
                <a:gd name="connsiteY71" fmla="*/ 0 h 15152939"/>
                <a:gd name="connsiteX72" fmla="*/ 19982300 w 27542354"/>
                <a:gd name="connsiteY72" fmla="*/ 460880 h 15152939"/>
                <a:gd name="connsiteX73" fmla="*/ 19530143 w 27542354"/>
                <a:gd name="connsiteY73" fmla="*/ 913038 h 15152939"/>
                <a:gd name="connsiteX74" fmla="*/ 19837609 w 27542354"/>
                <a:gd name="connsiteY74" fmla="*/ 1238588 h 15152939"/>
                <a:gd name="connsiteX75" fmla="*/ 20886614 w 27542354"/>
                <a:gd name="connsiteY75" fmla="*/ 1546055 h 15152939"/>
                <a:gd name="connsiteX76" fmla="*/ 21881359 w 27542354"/>
                <a:gd name="connsiteY76" fmla="*/ 1889694 h 15152939"/>
                <a:gd name="connsiteX77" fmla="*/ 21772837 w 27542354"/>
                <a:gd name="connsiteY77" fmla="*/ 2269505 h 15152939"/>
                <a:gd name="connsiteX78" fmla="*/ 21537712 w 27542354"/>
                <a:gd name="connsiteY78" fmla="*/ 2884438 h 15152939"/>
                <a:gd name="connsiteX79" fmla="*/ 21996067 w 27542354"/>
                <a:gd name="connsiteY79" fmla="*/ 2911656 h 15152939"/>
                <a:gd name="connsiteX80" fmla="*/ 22478203 w 27542354"/>
                <a:gd name="connsiteY80" fmla="*/ 2414189 h 15152939"/>
                <a:gd name="connsiteX81" fmla="*/ 23292084 w 27542354"/>
                <a:gd name="connsiteY81" fmla="*/ 2016293 h 15152939"/>
                <a:gd name="connsiteX82" fmla="*/ 23888932 w 27542354"/>
                <a:gd name="connsiteY82" fmla="*/ 1998212 h 15152939"/>
                <a:gd name="connsiteX83" fmla="*/ 24612383 w 27542354"/>
                <a:gd name="connsiteY83" fmla="*/ 1582227 h 15152939"/>
                <a:gd name="connsiteX84" fmla="*/ 25010275 w 27542354"/>
                <a:gd name="connsiteY84" fmla="*/ 695990 h 15152939"/>
                <a:gd name="connsiteX85" fmla="*/ 25769899 w 27542354"/>
                <a:gd name="connsiteY85" fmla="*/ 840685 h 15152939"/>
                <a:gd name="connsiteX86" fmla="*/ 26402920 w 27542354"/>
                <a:gd name="connsiteY86" fmla="*/ 876857 h 15152939"/>
                <a:gd name="connsiteX87" fmla="*/ 26240141 w 27542354"/>
                <a:gd name="connsiteY87" fmla="*/ 1491794 h 15152939"/>
                <a:gd name="connsiteX88" fmla="*/ 26554742 w 27542354"/>
                <a:gd name="connsiteY88" fmla="*/ 2052454 h 15152939"/>
                <a:gd name="connsiteX89" fmla="*/ 25679461 w 27542354"/>
                <a:gd name="connsiteY89" fmla="*/ 2775920 h 15152939"/>
                <a:gd name="connsiteX90" fmla="*/ 25751806 w 27542354"/>
                <a:gd name="connsiteY90" fmla="*/ 3806840 h 15152939"/>
                <a:gd name="connsiteX91" fmla="*/ 26157237 w 27542354"/>
                <a:gd name="connsiteY91" fmla="*/ 4322377 h 15152939"/>
                <a:gd name="connsiteX0" fmla="*/ 26157237 w 27542354"/>
                <a:gd name="connsiteY0" fmla="*/ 4322377 h 15152939"/>
                <a:gd name="connsiteX1" fmla="*/ 25950755 w 27542354"/>
                <a:gd name="connsiteY1" fmla="*/ 4946265 h 15152939"/>
                <a:gd name="connsiteX2" fmla="*/ 26059273 w 27542354"/>
                <a:gd name="connsiteY2" fmla="*/ 5561190 h 15152939"/>
                <a:gd name="connsiteX3" fmla="*/ 26439085 w 27542354"/>
                <a:gd name="connsiteY3" fmla="*/ 6103777 h 15152939"/>
                <a:gd name="connsiteX4" fmla="*/ 26366739 w 27542354"/>
                <a:gd name="connsiteY4" fmla="*/ 6555934 h 15152939"/>
                <a:gd name="connsiteX5" fmla="*/ 25824148 w 27542354"/>
                <a:gd name="connsiteY5" fmla="*/ 6827228 h 15152939"/>
                <a:gd name="connsiteX6" fmla="*/ 26023104 w 27542354"/>
                <a:gd name="connsiteY6" fmla="*/ 7478344 h 15152939"/>
                <a:gd name="connsiteX7" fmla="*/ 26619948 w 27542354"/>
                <a:gd name="connsiteY7" fmla="*/ 7840060 h 15152939"/>
                <a:gd name="connsiteX8" fmla="*/ 26312478 w 27542354"/>
                <a:gd name="connsiteY8" fmla="*/ 9666777 h 15152939"/>
                <a:gd name="connsiteX9" fmla="*/ 26402912 w 27542354"/>
                <a:gd name="connsiteY9" fmla="*/ 10643437 h 15152939"/>
                <a:gd name="connsiteX10" fmla="*/ 27542355 w 27542354"/>
                <a:gd name="connsiteY10" fmla="*/ 12005935 h 15152939"/>
                <a:gd name="connsiteX11" fmla="*/ 26089423 w 27542354"/>
                <a:gd name="connsiteY11" fmla="*/ 11975789 h 15152939"/>
                <a:gd name="connsiteX12" fmla="*/ 24473715 w 27542354"/>
                <a:gd name="connsiteY12" fmla="*/ 12090334 h 15152939"/>
                <a:gd name="connsiteX13" fmla="*/ 23135328 w 27542354"/>
                <a:gd name="connsiteY13" fmla="*/ 12222964 h 15152939"/>
                <a:gd name="connsiteX14" fmla="*/ 22261159 w 27542354"/>
                <a:gd name="connsiteY14" fmla="*/ 12934357 h 15152939"/>
                <a:gd name="connsiteX15" fmla="*/ 20826342 w 27542354"/>
                <a:gd name="connsiteY15" fmla="*/ 14369204 h 15152939"/>
                <a:gd name="connsiteX16" fmla="*/ 12952786 w 27542354"/>
                <a:gd name="connsiteY16" fmla="*/ 14960014 h 15152939"/>
                <a:gd name="connsiteX17" fmla="*/ 11934663 w 27542354"/>
                <a:gd name="connsiteY17" fmla="*/ 15008264 h 15152939"/>
                <a:gd name="connsiteX18" fmla="*/ 8506848 w 27542354"/>
                <a:gd name="connsiteY18" fmla="*/ 15152939 h 15152939"/>
                <a:gd name="connsiteX19" fmla="*/ 7985095 w 27542354"/>
                <a:gd name="connsiteY19" fmla="*/ 14507857 h 15152939"/>
                <a:gd name="connsiteX20" fmla="*/ 7400308 w 27542354"/>
                <a:gd name="connsiteY20" fmla="*/ 14477712 h 15152939"/>
                <a:gd name="connsiteX21" fmla="*/ 6972273 w 27542354"/>
                <a:gd name="connsiteY21" fmla="*/ 14749009 h 15152939"/>
                <a:gd name="connsiteX22" fmla="*/ 5181729 w 27542354"/>
                <a:gd name="connsiteY22" fmla="*/ 14664610 h 15152939"/>
                <a:gd name="connsiteX23" fmla="*/ 4397998 w 27542354"/>
                <a:gd name="connsiteY23" fmla="*/ 14031593 h 15152939"/>
                <a:gd name="connsiteX24" fmla="*/ 2908896 w 27542354"/>
                <a:gd name="connsiteY24" fmla="*/ 13223739 h 15152939"/>
                <a:gd name="connsiteX25" fmla="*/ 1263043 w 27542354"/>
                <a:gd name="connsiteY25" fmla="*/ 12512346 h 15152939"/>
                <a:gd name="connsiteX26" fmla="*/ 485320 w 27542354"/>
                <a:gd name="connsiteY26" fmla="*/ 12060189 h 15152939"/>
                <a:gd name="connsiteX27" fmla="*/ 0 w 27542354"/>
                <a:gd name="connsiteY27" fmla="*/ 11767077 h 15152939"/>
                <a:gd name="connsiteX28" fmla="*/ 1003686 w 27542354"/>
                <a:gd name="connsiteY28" fmla="*/ 11021112 h 15152939"/>
                <a:gd name="connsiteX29" fmla="*/ 2902551 w 27542354"/>
                <a:gd name="connsiteY29" fmla="*/ 9836713 h 15152939"/>
                <a:gd name="connsiteX30" fmla="*/ 2558940 w 27542354"/>
                <a:gd name="connsiteY30" fmla="*/ 9303282 h 15152939"/>
                <a:gd name="connsiteX31" fmla="*/ 2402508 w 27542354"/>
                <a:gd name="connsiteY31" fmla="*/ 8616199 h 15152939"/>
                <a:gd name="connsiteX32" fmla="*/ 2730740 w 27542354"/>
                <a:gd name="connsiteY32" fmla="*/ 8589028 h 15152939"/>
                <a:gd name="connsiteX33" fmla="*/ 2947754 w 27542354"/>
                <a:gd name="connsiteY33" fmla="*/ 8118883 h 15152939"/>
                <a:gd name="connsiteX34" fmla="*/ 3499325 w 27542354"/>
                <a:gd name="connsiteY34" fmla="*/ 7675866 h 15152939"/>
                <a:gd name="connsiteX35" fmla="*/ 3680166 w 27542354"/>
                <a:gd name="connsiteY35" fmla="*/ 6798868 h 15152939"/>
                <a:gd name="connsiteX36" fmla="*/ 4186528 w 27542354"/>
                <a:gd name="connsiteY36" fmla="*/ 6807904 h 15152939"/>
                <a:gd name="connsiteX37" fmla="*/ 4837569 w 27542354"/>
                <a:gd name="connsiteY37" fmla="*/ 7278054 h 15152939"/>
                <a:gd name="connsiteX38" fmla="*/ 5352976 w 27542354"/>
                <a:gd name="connsiteY38" fmla="*/ 7196687 h 15152939"/>
                <a:gd name="connsiteX39" fmla="*/ 5741786 w 27542354"/>
                <a:gd name="connsiteY39" fmla="*/ 6825992 h 15152939"/>
                <a:gd name="connsiteX40" fmla="*/ 6157723 w 27542354"/>
                <a:gd name="connsiteY40" fmla="*/ 6663251 h 15152939"/>
                <a:gd name="connsiteX41" fmla="*/ 6745471 w 27542354"/>
                <a:gd name="connsiteY41" fmla="*/ 6093658 h 15152939"/>
                <a:gd name="connsiteX42" fmla="*/ 6890140 w 27542354"/>
                <a:gd name="connsiteY42" fmla="*/ 5243782 h 15152939"/>
                <a:gd name="connsiteX43" fmla="*/ 7568305 w 27542354"/>
                <a:gd name="connsiteY43" fmla="*/ 4674188 h 15152939"/>
                <a:gd name="connsiteX44" fmla="*/ 8137967 w 27542354"/>
                <a:gd name="connsiteY44" fmla="*/ 4231167 h 15152939"/>
                <a:gd name="connsiteX45" fmla="*/ 8463480 w 27542354"/>
                <a:gd name="connsiteY45" fmla="*/ 3426500 h 15152939"/>
                <a:gd name="connsiteX46" fmla="*/ 9024093 w 27542354"/>
                <a:gd name="connsiteY46" fmla="*/ 3073893 h 15152939"/>
                <a:gd name="connsiteX47" fmla="*/ 9675138 w 27542354"/>
                <a:gd name="connsiteY47" fmla="*/ 2721291 h 15152939"/>
                <a:gd name="connsiteX48" fmla="*/ 9558580 w 27542354"/>
                <a:gd name="connsiteY48" fmla="*/ 2173007 h 15152939"/>
                <a:gd name="connsiteX49" fmla="*/ 10353296 w 27542354"/>
                <a:gd name="connsiteY49" fmla="*/ 1500723 h 15152939"/>
                <a:gd name="connsiteX50" fmla="*/ 10832530 w 27542354"/>
                <a:gd name="connsiteY50" fmla="*/ 1428389 h 15152939"/>
                <a:gd name="connsiteX51" fmla="*/ 11058585 w 27542354"/>
                <a:gd name="connsiteY51" fmla="*/ 1880458 h 15152939"/>
                <a:gd name="connsiteX52" fmla="*/ 11411229 w 27542354"/>
                <a:gd name="connsiteY52" fmla="*/ 2260189 h 15152939"/>
                <a:gd name="connsiteX53" fmla="*/ 11998974 w 27542354"/>
                <a:gd name="connsiteY53" fmla="*/ 2341559 h 15152939"/>
                <a:gd name="connsiteX54" fmla="*/ 12315449 w 27542354"/>
                <a:gd name="connsiteY54" fmla="*/ 3001571 h 15152939"/>
                <a:gd name="connsiteX55" fmla="*/ 12785642 w 27542354"/>
                <a:gd name="connsiteY55" fmla="*/ 2820742 h 15152939"/>
                <a:gd name="connsiteX56" fmla="*/ 13671776 w 27542354"/>
                <a:gd name="connsiteY56" fmla="*/ 3272803 h 15152939"/>
                <a:gd name="connsiteX57" fmla="*/ 14123886 w 27542354"/>
                <a:gd name="connsiteY57" fmla="*/ 2974450 h 15152939"/>
                <a:gd name="connsiteX58" fmla="*/ 14259509 w 27542354"/>
                <a:gd name="connsiteY58" fmla="*/ 2404849 h 15152939"/>
                <a:gd name="connsiteX59" fmla="*/ 14892468 w 27542354"/>
                <a:gd name="connsiteY59" fmla="*/ 1762918 h 15152939"/>
                <a:gd name="connsiteX60" fmla="*/ 15778605 w 27542354"/>
                <a:gd name="connsiteY60" fmla="*/ 1211398 h 15152939"/>
                <a:gd name="connsiteX61" fmla="*/ 16022739 w 27542354"/>
                <a:gd name="connsiteY61" fmla="*/ 1681548 h 15152939"/>
                <a:gd name="connsiteX62" fmla="*/ 16013694 w 27542354"/>
                <a:gd name="connsiteY62" fmla="*/ 2169778 h 15152939"/>
                <a:gd name="connsiteX63" fmla="*/ 16556232 w 27542354"/>
                <a:gd name="connsiteY63" fmla="*/ 2260200 h 15152939"/>
                <a:gd name="connsiteX64" fmla="*/ 16863663 w 27542354"/>
                <a:gd name="connsiteY64" fmla="*/ 1744834 h 15152939"/>
                <a:gd name="connsiteX65" fmla="*/ 17406193 w 27542354"/>
                <a:gd name="connsiteY65" fmla="*/ 1410312 h 15152939"/>
                <a:gd name="connsiteX66" fmla="*/ 17623203 w 27542354"/>
                <a:gd name="connsiteY66" fmla="*/ 867840 h 15152939"/>
                <a:gd name="connsiteX67" fmla="*/ 18120524 w 27542354"/>
                <a:gd name="connsiteY67" fmla="*/ 831675 h 15152939"/>
                <a:gd name="connsiteX68" fmla="*/ 18201903 w 27542354"/>
                <a:gd name="connsiteY68" fmla="*/ 542358 h 15152939"/>
                <a:gd name="connsiteX69" fmla="*/ 18744437 w 27542354"/>
                <a:gd name="connsiteY69" fmla="*/ 117414 h 15152939"/>
                <a:gd name="connsiteX70" fmla="*/ 19443290 w 27542354"/>
                <a:gd name="connsiteY70" fmla="*/ 0 h 15152939"/>
                <a:gd name="connsiteX71" fmla="*/ 19982300 w 27542354"/>
                <a:gd name="connsiteY71" fmla="*/ 460880 h 15152939"/>
                <a:gd name="connsiteX72" fmla="*/ 19530143 w 27542354"/>
                <a:gd name="connsiteY72" fmla="*/ 913038 h 15152939"/>
                <a:gd name="connsiteX73" fmla="*/ 19837609 w 27542354"/>
                <a:gd name="connsiteY73" fmla="*/ 1238588 h 15152939"/>
                <a:gd name="connsiteX74" fmla="*/ 20886614 w 27542354"/>
                <a:gd name="connsiteY74" fmla="*/ 1546055 h 15152939"/>
                <a:gd name="connsiteX75" fmla="*/ 21881359 w 27542354"/>
                <a:gd name="connsiteY75" fmla="*/ 1889694 h 15152939"/>
                <a:gd name="connsiteX76" fmla="*/ 21772837 w 27542354"/>
                <a:gd name="connsiteY76" fmla="*/ 2269505 h 15152939"/>
                <a:gd name="connsiteX77" fmla="*/ 21537712 w 27542354"/>
                <a:gd name="connsiteY77" fmla="*/ 2884438 h 15152939"/>
                <a:gd name="connsiteX78" fmla="*/ 21996067 w 27542354"/>
                <a:gd name="connsiteY78" fmla="*/ 2911656 h 15152939"/>
                <a:gd name="connsiteX79" fmla="*/ 22478203 w 27542354"/>
                <a:gd name="connsiteY79" fmla="*/ 2414189 h 15152939"/>
                <a:gd name="connsiteX80" fmla="*/ 23292084 w 27542354"/>
                <a:gd name="connsiteY80" fmla="*/ 2016293 h 15152939"/>
                <a:gd name="connsiteX81" fmla="*/ 23888932 w 27542354"/>
                <a:gd name="connsiteY81" fmla="*/ 1998212 h 15152939"/>
                <a:gd name="connsiteX82" fmla="*/ 24612383 w 27542354"/>
                <a:gd name="connsiteY82" fmla="*/ 1582227 h 15152939"/>
                <a:gd name="connsiteX83" fmla="*/ 25010275 w 27542354"/>
                <a:gd name="connsiteY83" fmla="*/ 695990 h 15152939"/>
                <a:gd name="connsiteX84" fmla="*/ 25769899 w 27542354"/>
                <a:gd name="connsiteY84" fmla="*/ 840685 h 15152939"/>
                <a:gd name="connsiteX85" fmla="*/ 26402920 w 27542354"/>
                <a:gd name="connsiteY85" fmla="*/ 876857 h 15152939"/>
                <a:gd name="connsiteX86" fmla="*/ 26240141 w 27542354"/>
                <a:gd name="connsiteY86" fmla="*/ 1491794 h 15152939"/>
                <a:gd name="connsiteX87" fmla="*/ 26554742 w 27542354"/>
                <a:gd name="connsiteY87" fmla="*/ 2052454 h 15152939"/>
                <a:gd name="connsiteX88" fmla="*/ 25679461 w 27542354"/>
                <a:gd name="connsiteY88" fmla="*/ 2775920 h 15152939"/>
                <a:gd name="connsiteX89" fmla="*/ 25751806 w 27542354"/>
                <a:gd name="connsiteY89" fmla="*/ 3806840 h 15152939"/>
                <a:gd name="connsiteX90" fmla="*/ 26157237 w 27542354"/>
                <a:gd name="connsiteY90" fmla="*/ 4322377 h 15152939"/>
                <a:gd name="connsiteX0" fmla="*/ 26157237 w 27542354"/>
                <a:gd name="connsiteY0" fmla="*/ 4322377 h 15152939"/>
                <a:gd name="connsiteX1" fmla="*/ 25950755 w 27542354"/>
                <a:gd name="connsiteY1" fmla="*/ 4946265 h 15152939"/>
                <a:gd name="connsiteX2" fmla="*/ 26059273 w 27542354"/>
                <a:gd name="connsiteY2" fmla="*/ 5561190 h 15152939"/>
                <a:gd name="connsiteX3" fmla="*/ 26439085 w 27542354"/>
                <a:gd name="connsiteY3" fmla="*/ 6103777 h 15152939"/>
                <a:gd name="connsiteX4" fmla="*/ 26366739 w 27542354"/>
                <a:gd name="connsiteY4" fmla="*/ 6555934 h 15152939"/>
                <a:gd name="connsiteX5" fmla="*/ 25824148 w 27542354"/>
                <a:gd name="connsiteY5" fmla="*/ 6827228 h 15152939"/>
                <a:gd name="connsiteX6" fmla="*/ 26619948 w 27542354"/>
                <a:gd name="connsiteY6" fmla="*/ 7840060 h 15152939"/>
                <a:gd name="connsiteX7" fmla="*/ 26312478 w 27542354"/>
                <a:gd name="connsiteY7" fmla="*/ 9666777 h 15152939"/>
                <a:gd name="connsiteX8" fmla="*/ 26402912 w 27542354"/>
                <a:gd name="connsiteY8" fmla="*/ 10643437 h 15152939"/>
                <a:gd name="connsiteX9" fmla="*/ 27542355 w 27542354"/>
                <a:gd name="connsiteY9" fmla="*/ 12005935 h 15152939"/>
                <a:gd name="connsiteX10" fmla="*/ 26089423 w 27542354"/>
                <a:gd name="connsiteY10" fmla="*/ 11975789 h 15152939"/>
                <a:gd name="connsiteX11" fmla="*/ 24473715 w 27542354"/>
                <a:gd name="connsiteY11" fmla="*/ 12090334 h 15152939"/>
                <a:gd name="connsiteX12" fmla="*/ 23135328 w 27542354"/>
                <a:gd name="connsiteY12" fmla="*/ 12222964 h 15152939"/>
                <a:gd name="connsiteX13" fmla="*/ 22261159 w 27542354"/>
                <a:gd name="connsiteY13" fmla="*/ 12934357 h 15152939"/>
                <a:gd name="connsiteX14" fmla="*/ 20826342 w 27542354"/>
                <a:gd name="connsiteY14" fmla="*/ 14369204 h 15152939"/>
                <a:gd name="connsiteX15" fmla="*/ 12952786 w 27542354"/>
                <a:gd name="connsiteY15" fmla="*/ 14960014 h 15152939"/>
                <a:gd name="connsiteX16" fmla="*/ 11934663 w 27542354"/>
                <a:gd name="connsiteY16" fmla="*/ 15008264 h 15152939"/>
                <a:gd name="connsiteX17" fmla="*/ 8506848 w 27542354"/>
                <a:gd name="connsiteY17" fmla="*/ 15152939 h 15152939"/>
                <a:gd name="connsiteX18" fmla="*/ 7985095 w 27542354"/>
                <a:gd name="connsiteY18" fmla="*/ 14507857 h 15152939"/>
                <a:gd name="connsiteX19" fmla="*/ 7400308 w 27542354"/>
                <a:gd name="connsiteY19" fmla="*/ 14477712 h 15152939"/>
                <a:gd name="connsiteX20" fmla="*/ 6972273 w 27542354"/>
                <a:gd name="connsiteY20" fmla="*/ 14749009 h 15152939"/>
                <a:gd name="connsiteX21" fmla="*/ 5181729 w 27542354"/>
                <a:gd name="connsiteY21" fmla="*/ 14664610 h 15152939"/>
                <a:gd name="connsiteX22" fmla="*/ 4397998 w 27542354"/>
                <a:gd name="connsiteY22" fmla="*/ 14031593 h 15152939"/>
                <a:gd name="connsiteX23" fmla="*/ 2908896 w 27542354"/>
                <a:gd name="connsiteY23" fmla="*/ 13223739 h 15152939"/>
                <a:gd name="connsiteX24" fmla="*/ 1263043 w 27542354"/>
                <a:gd name="connsiteY24" fmla="*/ 12512346 h 15152939"/>
                <a:gd name="connsiteX25" fmla="*/ 485320 w 27542354"/>
                <a:gd name="connsiteY25" fmla="*/ 12060189 h 15152939"/>
                <a:gd name="connsiteX26" fmla="*/ 0 w 27542354"/>
                <a:gd name="connsiteY26" fmla="*/ 11767077 h 15152939"/>
                <a:gd name="connsiteX27" fmla="*/ 1003686 w 27542354"/>
                <a:gd name="connsiteY27" fmla="*/ 11021112 h 15152939"/>
                <a:gd name="connsiteX28" fmla="*/ 2902551 w 27542354"/>
                <a:gd name="connsiteY28" fmla="*/ 9836713 h 15152939"/>
                <a:gd name="connsiteX29" fmla="*/ 2558940 w 27542354"/>
                <a:gd name="connsiteY29" fmla="*/ 9303282 h 15152939"/>
                <a:gd name="connsiteX30" fmla="*/ 2402508 w 27542354"/>
                <a:gd name="connsiteY30" fmla="*/ 8616199 h 15152939"/>
                <a:gd name="connsiteX31" fmla="*/ 2730740 w 27542354"/>
                <a:gd name="connsiteY31" fmla="*/ 8589028 h 15152939"/>
                <a:gd name="connsiteX32" fmla="*/ 2947754 w 27542354"/>
                <a:gd name="connsiteY32" fmla="*/ 8118883 h 15152939"/>
                <a:gd name="connsiteX33" fmla="*/ 3499325 w 27542354"/>
                <a:gd name="connsiteY33" fmla="*/ 7675866 h 15152939"/>
                <a:gd name="connsiteX34" fmla="*/ 3680166 w 27542354"/>
                <a:gd name="connsiteY34" fmla="*/ 6798868 h 15152939"/>
                <a:gd name="connsiteX35" fmla="*/ 4186528 w 27542354"/>
                <a:gd name="connsiteY35" fmla="*/ 6807904 h 15152939"/>
                <a:gd name="connsiteX36" fmla="*/ 4837569 w 27542354"/>
                <a:gd name="connsiteY36" fmla="*/ 7278054 h 15152939"/>
                <a:gd name="connsiteX37" fmla="*/ 5352976 w 27542354"/>
                <a:gd name="connsiteY37" fmla="*/ 7196687 h 15152939"/>
                <a:gd name="connsiteX38" fmla="*/ 5741786 w 27542354"/>
                <a:gd name="connsiteY38" fmla="*/ 6825992 h 15152939"/>
                <a:gd name="connsiteX39" fmla="*/ 6157723 w 27542354"/>
                <a:gd name="connsiteY39" fmla="*/ 6663251 h 15152939"/>
                <a:gd name="connsiteX40" fmla="*/ 6745471 w 27542354"/>
                <a:gd name="connsiteY40" fmla="*/ 6093658 h 15152939"/>
                <a:gd name="connsiteX41" fmla="*/ 6890140 w 27542354"/>
                <a:gd name="connsiteY41" fmla="*/ 5243782 h 15152939"/>
                <a:gd name="connsiteX42" fmla="*/ 7568305 w 27542354"/>
                <a:gd name="connsiteY42" fmla="*/ 4674188 h 15152939"/>
                <a:gd name="connsiteX43" fmla="*/ 8137967 w 27542354"/>
                <a:gd name="connsiteY43" fmla="*/ 4231167 h 15152939"/>
                <a:gd name="connsiteX44" fmla="*/ 8463480 w 27542354"/>
                <a:gd name="connsiteY44" fmla="*/ 3426500 h 15152939"/>
                <a:gd name="connsiteX45" fmla="*/ 9024093 w 27542354"/>
                <a:gd name="connsiteY45" fmla="*/ 3073893 h 15152939"/>
                <a:gd name="connsiteX46" fmla="*/ 9675138 w 27542354"/>
                <a:gd name="connsiteY46" fmla="*/ 2721291 h 15152939"/>
                <a:gd name="connsiteX47" fmla="*/ 9558580 w 27542354"/>
                <a:gd name="connsiteY47" fmla="*/ 2173007 h 15152939"/>
                <a:gd name="connsiteX48" fmla="*/ 10353296 w 27542354"/>
                <a:gd name="connsiteY48" fmla="*/ 1500723 h 15152939"/>
                <a:gd name="connsiteX49" fmla="*/ 10832530 w 27542354"/>
                <a:gd name="connsiteY49" fmla="*/ 1428389 h 15152939"/>
                <a:gd name="connsiteX50" fmla="*/ 11058585 w 27542354"/>
                <a:gd name="connsiteY50" fmla="*/ 1880458 h 15152939"/>
                <a:gd name="connsiteX51" fmla="*/ 11411229 w 27542354"/>
                <a:gd name="connsiteY51" fmla="*/ 2260189 h 15152939"/>
                <a:gd name="connsiteX52" fmla="*/ 11998974 w 27542354"/>
                <a:gd name="connsiteY52" fmla="*/ 2341559 h 15152939"/>
                <a:gd name="connsiteX53" fmla="*/ 12315449 w 27542354"/>
                <a:gd name="connsiteY53" fmla="*/ 3001571 h 15152939"/>
                <a:gd name="connsiteX54" fmla="*/ 12785642 w 27542354"/>
                <a:gd name="connsiteY54" fmla="*/ 2820742 h 15152939"/>
                <a:gd name="connsiteX55" fmla="*/ 13671776 w 27542354"/>
                <a:gd name="connsiteY55" fmla="*/ 3272803 h 15152939"/>
                <a:gd name="connsiteX56" fmla="*/ 14123886 w 27542354"/>
                <a:gd name="connsiteY56" fmla="*/ 2974450 h 15152939"/>
                <a:gd name="connsiteX57" fmla="*/ 14259509 w 27542354"/>
                <a:gd name="connsiteY57" fmla="*/ 2404849 h 15152939"/>
                <a:gd name="connsiteX58" fmla="*/ 14892468 w 27542354"/>
                <a:gd name="connsiteY58" fmla="*/ 1762918 h 15152939"/>
                <a:gd name="connsiteX59" fmla="*/ 15778605 w 27542354"/>
                <a:gd name="connsiteY59" fmla="*/ 1211398 h 15152939"/>
                <a:gd name="connsiteX60" fmla="*/ 16022739 w 27542354"/>
                <a:gd name="connsiteY60" fmla="*/ 1681548 h 15152939"/>
                <a:gd name="connsiteX61" fmla="*/ 16013694 w 27542354"/>
                <a:gd name="connsiteY61" fmla="*/ 2169778 h 15152939"/>
                <a:gd name="connsiteX62" fmla="*/ 16556232 w 27542354"/>
                <a:gd name="connsiteY62" fmla="*/ 2260200 h 15152939"/>
                <a:gd name="connsiteX63" fmla="*/ 16863663 w 27542354"/>
                <a:gd name="connsiteY63" fmla="*/ 1744834 h 15152939"/>
                <a:gd name="connsiteX64" fmla="*/ 17406193 w 27542354"/>
                <a:gd name="connsiteY64" fmla="*/ 1410312 h 15152939"/>
                <a:gd name="connsiteX65" fmla="*/ 17623203 w 27542354"/>
                <a:gd name="connsiteY65" fmla="*/ 867840 h 15152939"/>
                <a:gd name="connsiteX66" fmla="*/ 18120524 w 27542354"/>
                <a:gd name="connsiteY66" fmla="*/ 831675 h 15152939"/>
                <a:gd name="connsiteX67" fmla="*/ 18201903 w 27542354"/>
                <a:gd name="connsiteY67" fmla="*/ 542358 h 15152939"/>
                <a:gd name="connsiteX68" fmla="*/ 18744437 w 27542354"/>
                <a:gd name="connsiteY68" fmla="*/ 117414 h 15152939"/>
                <a:gd name="connsiteX69" fmla="*/ 19443290 w 27542354"/>
                <a:gd name="connsiteY69" fmla="*/ 0 h 15152939"/>
                <a:gd name="connsiteX70" fmla="*/ 19982300 w 27542354"/>
                <a:gd name="connsiteY70" fmla="*/ 460880 h 15152939"/>
                <a:gd name="connsiteX71" fmla="*/ 19530143 w 27542354"/>
                <a:gd name="connsiteY71" fmla="*/ 913038 h 15152939"/>
                <a:gd name="connsiteX72" fmla="*/ 19837609 w 27542354"/>
                <a:gd name="connsiteY72" fmla="*/ 1238588 h 15152939"/>
                <a:gd name="connsiteX73" fmla="*/ 20886614 w 27542354"/>
                <a:gd name="connsiteY73" fmla="*/ 1546055 h 15152939"/>
                <a:gd name="connsiteX74" fmla="*/ 21881359 w 27542354"/>
                <a:gd name="connsiteY74" fmla="*/ 1889694 h 15152939"/>
                <a:gd name="connsiteX75" fmla="*/ 21772837 w 27542354"/>
                <a:gd name="connsiteY75" fmla="*/ 2269505 h 15152939"/>
                <a:gd name="connsiteX76" fmla="*/ 21537712 w 27542354"/>
                <a:gd name="connsiteY76" fmla="*/ 2884438 h 15152939"/>
                <a:gd name="connsiteX77" fmla="*/ 21996067 w 27542354"/>
                <a:gd name="connsiteY77" fmla="*/ 2911656 h 15152939"/>
                <a:gd name="connsiteX78" fmla="*/ 22478203 w 27542354"/>
                <a:gd name="connsiteY78" fmla="*/ 2414189 h 15152939"/>
                <a:gd name="connsiteX79" fmla="*/ 23292084 w 27542354"/>
                <a:gd name="connsiteY79" fmla="*/ 2016293 h 15152939"/>
                <a:gd name="connsiteX80" fmla="*/ 23888932 w 27542354"/>
                <a:gd name="connsiteY80" fmla="*/ 1998212 h 15152939"/>
                <a:gd name="connsiteX81" fmla="*/ 24612383 w 27542354"/>
                <a:gd name="connsiteY81" fmla="*/ 1582227 h 15152939"/>
                <a:gd name="connsiteX82" fmla="*/ 25010275 w 27542354"/>
                <a:gd name="connsiteY82" fmla="*/ 695990 h 15152939"/>
                <a:gd name="connsiteX83" fmla="*/ 25769899 w 27542354"/>
                <a:gd name="connsiteY83" fmla="*/ 840685 h 15152939"/>
                <a:gd name="connsiteX84" fmla="*/ 26402920 w 27542354"/>
                <a:gd name="connsiteY84" fmla="*/ 876857 h 15152939"/>
                <a:gd name="connsiteX85" fmla="*/ 26240141 w 27542354"/>
                <a:gd name="connsiteY85" fmla="*/ 1491794 h 15152939"/>
                <a:gd name="connsiteX86" fmla="*/ 26554742 w 27542354"/>
                <a:gd name="connsiteY86" fmla="*/ 2052454 h 15152939"/>
                <a:gd name="connsiteX87" fmla="*/ 25679461 w 27542354"/>
                <a:gd name="connsiteY87" fmla="*/ 2775920 h 15152939"/>
                <a:gd name="connsiteX88" fmla="*/ 25751806 w 27542354"/>
                <a:gd name="connsiteY88" fmla="*/ 3806840 h 15152939"/>
                <a:gd name="connsiteX89" fmla="*/ 26157237 w 27542354"/>
                <a:gd name="connsiteY89" fmla="*/ 4322377 h 15152939"/>
                <a:gd name="connsiteX0" fmla="*/ 26157237 w 27542354"/>
                <a:gd name="connsiteY0" fmla="*/ 4322377 h 15152939"/>
                <a:gd name="connsiteX1" fmla="*/ 25950755 w 27542354"/>
                <a:gd name="connsiteY1" fmla="*/ 4946265 h 15152939"/>
                <a:gd name="connsiteX2" fmla="*/ 26059273 w 27542354"/>
                <a:gd name="connsiteY2" fmla="*/ 5561190 h 15152939"/>
                <a:gd name="connsiteX3" fmla="*/ 26439085 w 27542354"/>
                <a:gd name="connsiteY3" fmla="*/ 6103777 h 15152939"/>
                <a:gd name="connsiteX4" fmla="*/ 25824148 w 27542354"/>
                <a:gd name="connsiteY4" fmla="*/ 6827228 h 15152939"/>
                <a:gd name="connsiteX5" fmla="*/ 26619948 w 27542354"/>
                <a:gd name="connsiteY5" fmla="*/ 7840060 h 15152939"/>
                <a:gd name="connsiteX6" fmla="*/ 26312478 w 27542354"/>
                <a:gd name="connsiteY6" fmla="*/ 9666777 h 15152939"/>
                <a:gd name="connsiteX7" fmla="*/ 26402912 w 27542354"/>
                <a:gd name="connsiteY7" fmla="*/ 10643437 h 15152939"/>
                <a:gd name="connsiteX8" fmla="*/ 27542355 w 27542354"/>
                <a:gd name="connsiteY8" fmla="*/ 12005935 h 15152939"/>
                <a:gd name="connsiteX9" fmla="*/ 26089423 w 27542354"/>
                <a:gd name="connsiteY9" fmla="*/ 11975789 h 15152939"/>
                <a:gd name="connsiteX10" fmla="*/ 24473715 w 27542354"/>
                <a:gd name="connsiteY10" fmla="*/ 12090334 h 15152939"/>
                <a:gd name="connsiteX11" fmla="*/ 23135328 w 27542354"/>
                <a:gd name="connsiteY11" fmla="*/ 12222964 h 15152939"/>
                <a:gd name="connsiteX12" fmla="*/ 22261159 w 27542354"/>
                <a:gd name="connsiteY12" fmla="*/ 12934357 h 15152939"/>
                <a:gd name="connsiteX13" fmla="*/ 20826342 w 27542354"/>
                <a:gd name="connsiteY13" fmla="*/ 14369204 h 15152939"/>
                <a:gd name="connsiteX14" fmla="*/ 12952786 w 27542354"/>
                <a:gd name="connsiteY14" fmla="*/ 14960014 h 15152939"/>
                <a:gd name="connsiteX15" fmla="*/ 11934663 w 27542354"/>
                <a:gd name="connsiteY15" fmla="*/ 15008264 h 15152939"/>
                <a:gd name="connsiteX16" fmla="*/ 8506848 w 27542354"/>
                <a:gd name="connsiteY16" fmla="*/ 15152939 h 15152939"/>
                <a:gd name="connsiteX17" fmla="*/ 7985095 w 27542354"/>
                <a:gd name="connsiteY17" fmla="*/ 14507857 h 15152939"/>
                <a:gd name="connsiteX18" fmla="*/ 7400308 w 27542354"/>
                <a:gd name="connsiteY18" fmla="*/ 14477712 h 15152939"/>
                <a:gd name="connsiteX19" fmla="*/ 6972273 w 27542354"/>
                <a:gd name="connsiteY19" fmla="*/ 14749009 h 15152939"/>
                <a:gd name="connsiteX20" fmla="*/ 5181729 w 27542354"/>
                <a:gd name="connsiteY20" fmla="*/ 14664610 h 15152939"/>
                <a:gd name="connsiteX21" fmla="*/ 4397998 w 27542354"/>
                <a:gd name="connsiteY21" fmla="*/ 14031593 h 15152939"/>
                <a:gd name="connsiteX22" fmla="*/ 2908896 w 27542354"/>
                <a:gd name="connsiteY22" fmla="*/ 13223739 h 15152939"/>
                <a:gd name="connsiteX23" fmla="*/ 1263043 w 27542354"/>
                <a:gd name="connsiteY23" fmla="*/ 12512346 h 15152939"/>
                <a:gd name="connsiteX24" fmla="*/ 485320 w 27542354"/>
                <a:gd name="connsiteY24" fmla="*/ 12060189 h 15152939"/>
                <a:gd name="connsiteX25" fmla="*/ 0 w 27542354"/>
                <a:gd name="connsiteY25" fmla="*/ 11767077 h 15152939"/>
                <a:gd name="connsiteX26" fmla="*/ 1003686 w 27542354"/>
                <a:gd name="connsiteY26" fmla="*/ 11021112 h 15152939"/>
                <a:gd name="connsiteX27" fmla="*/ 2902551 w 27542354"/>
                <a:gd name="connsiteY27" fmla="*/ 9836713 h 15152939"/>
                <a:gd name="connsiteX28" fmla="*/ 2558940 w 27542354"/>
                <a:gd name="connsiteY28" fmla="*/ 9303282 h 15152939"/>
                <a:gd name="connsiteX29" fmla="*/ 2402508 w 27542354"/>
                <a:gd name="connsiteY29" fmla="*/ 8616199 h 15152939"/>
                <a:gd name="connsiteX30" fmla="*/ 2730740 w 27542354"/>
                <a:gd name="connsiteY30" fmla="*/ 8589028 h 15152939"/>
                <a:gd name="connsiteX31" fmla="*/ 2947754 w 27542354"/>
                <a:gd name="connsiteY31" fmla="*/ 8118883 h 15152939"/>
                <a:gd name="connsiteX32" fmla="*/ 3499325 w 27542354"/>
                <a:gd name="connsiteY32" fmla="*/ 7675866 h 15152939"/>
                <a:gd name="connsiteX33" fmla="*/ 3680166 w 27542354"/>
                <a:gd name="connsiteY33" fmla="*/ 6798868 h 15152939"/>
                <a:gd name="connsiteX34" fmla="*/ 4186528 w 27542354"/>
                <a:gd name="connsiteY34" fmla="*/ 6807904 h 15152939"/>
                <a:gd name="connsiteX35" fmla="*/ 4837569 w 27542354"/>
                <a:gd name="connsiteY35" fmla="*/ 7278054 h 15152939"/>
                <a:gd name="connsiteX36" fmla="*/ 5352976 w 27542354"/>
                <a:gd name="connsiteY36" fmla="*/ 7196687 h 15152939"/>
                <a:gd name="connsiteX37" fmla="*/ 5741786 w 27542354"/>
                <a:gd name="connsiteY37" fmla="*/ 6825992 h 15152939"/>
                <a:gd name="connsiteX38" fmla="*/ 6157723 w 27542354"/>
                <a:gd name="connsiteY38" fmla="*/ 6663251 h 15152939"/>
                <a:gd name="connsiteX39" fmla="*/ 6745471 w 27542354"/>
                <a:gd name="connsiteY39" fmla="*/ 6093658 h 15152939"/>
                <a:gd name="connsiteX40" fmla="*/ 6890140 w 27542354"/>
                <a:gd name="connsiteY40" fmla="*/ 5243782 h 15152939"/>
                <a:gd name="connsiteX41" fmla="*/ 7568305 w 27542354"/>
                <a:gd name="connsiteY41" fmla="*/ 4674188 h 15152939"/>
                <a:gd name="connsiteX42" fmla="*/ 8137967 w 27542354"/>
                <a:gd name="connsiteY42" fmla="*/ 4231167 h 15152939"/>
                <a:gd name="connsiteX43" fmla="*/ 8463480 w 27542354"/>
                <a:gd name="connsiteY43" fmla="*/ 3426500 h 15152939"/>
                <a:gd name="connsiteX44" fmla="*/ 9024093 w 27542354"/>
                <a:gd name="connsiteY44" fmla="*/ 3073893 h 15152939"/>
                <a:gd name="connsiteX45" fmla="*/ 9675138 w 27542354"/>
                <a:gd name="connsiteY45" fmla="*/ 2721291 h 15152939"/>
                <a:gd name="connsiteX46" fmla="*/ 9558580 w 27542354"/>
                <a:gd name="connsiteY46" fmla="*/ 2173007 h 15152939"/>
                <a:gd name="connsiteX47" fmla="*/ 10353296 w 27542354"/>
                <a:gd name="connsiteY47" fmla="*/ 1500723 h 15152939"/>
                <a:gd name="connsiteX48" fmla="*/ 10832530 w 27542354"/>
                <a:gd name="connsiteY48" fmla="*/ 1428389 h 15152939"/>
                <a:gd name="connsiteX49" fmla="*/ 11058585 w 27542354"/>
                <a:gd name="connsiteY49" fmla="*/ 1880458 h 15152939"/>
                <a:gd name="connsiteX50" fmla="*/ 11411229 w 27542354"/>
                <a:gd name="connsiteY50" fmla="*/ 2260189 h 15152939"/>
                <a:gd name="connsiteX51" fmla="*/ 11998974 w 27542354"/>
                <a:gd name="connsiteY51" fmla="*/ 2341559 h 15152939"/>
                <a:gd name="connsiteX52" fmla="*/ 12315449 w 27542354"/>
                <a:gd name="connsiteY52" fmla="*/ 3001571 h 15152939"/>
                <a:gd name="connsiteX53" fmla="*/ 12785642 w 27542354"/>
                <a:gd name="connsiteY53" fmla="*/ 2820742 h 15152939"/>
                <a:gd name="connsiteX54" fmla="*/ 13671776 w 27542354"/>
                <a:gd name="connsiteY54" fmla="*/ 3272803 h 15152939"/>
                <a:gd name="connsiteX55" fmla="*/ 14123886 w 27542354"/>
                <a:gd name="connsiteY55" fmla="*/ 2974450 h 15152939"/>
                <a:gd name="connsiteX56" fmla="*/ 14259509 w 27542354"/>
                <a:gd name="connsiteY56" fmla="*/ 2404849 h 15152939"/>
                <a:gd name="connsiteX57" fmla="*/ 14892468 w 27542354"/>
                <a:gd name="connsiteY57" fmla="*/ 1762918 h 15152939"/>
                <a:gd name="connsiteX58" fmla="*/ 15778605 w 27542354"/>
                <a:gd name="connsiteY58" fmla="*/ 1211398 h 15152939"/>
                <a:gd name="connsiteX59" fmla="*/ 16022739 w 27542354"/>
                <a:gd name="connsiteY59" fmla="*/ 1681548 h 15152939"/>
                <a:gd name="connsiteX60" fmla="*/ 16013694 w 27542354"/>
                <a:gd name="connsiteY60" fmla="*/ 2169778 h 15152939"/>
                <a:gd name="connsiteX61" fmla="*/ 16556232 w 27542354"/>
                <a:gd name="connsiteY61" fmla="*/ 2260200 h 15152939"/>
                <a:gd name="connsiteX62" fmla="*/ 16863663 w 27542354"/>
                <a:gd name="connsiteY62" fmla="*/ 1744834 h 15152939"/>
                <a:gd name="connsiteX63" fmla="*/ 17406193 w 27542354"/>
                <a:gd name="connsiteY63" fmla="*/ 1410312 h 15152939"/>
                <a:gd name="connsiteX64" fmla="*/ 17623203 w 27542354"/>
                <a:gd name="connsiteY64" fmla="*/ 867840 h 15152939"/>
                <a:gd name="connsiteX65" fmla="*/ 18120524 w 27542354"/>
                <a:gd name="connsiteY65" fmla="*/ 831675 h 15152939"/>
                <a:gd name="connsiteX66" fmla="*/ 18201903 w 27542354"/>
                <a:gd name="connsiteY66" fmla="*/ 542358 h 15152939"/>
                <a:gd name="connsiteX67" fmla="*/ 18744437 w 27542354"/>
                <a:gd name="connsiteY67" fmla="*/ 117414 h 15152939"/>
                <a:gd name="connsiteX68" fmla="*/ 19443290 w 27542354"/>
                <a:gd name="connsiteY68" fmla="*/ 0 h 15152939"/>
                <a:gd name="connsiteX69" fmla="*/ 19982300 w 27542354"/>
                <a:gd name="connsiteY69" fmla="*/ 460880 h 15152939"/>
                <a:gd name="connsiteX70" fmla="*/ 19530143 w 27542354"/>
                <a:gd name="connsiteY70" fmla="*/ 913038 h 15152939"/>
                <a:gd name="connsiteX71" fmla="*/ 19837609 w 27542354"/>
                <a:gd name="connsiteY71" fmla="*/ 1238588 h 15152939"/>
                <a:gd name="connsiteX72" fmla="*/ 20886614 w 27542354"/>
                <a:gd name="connsiteY72" fmla="*/ 1546055 h 15152939"/>
                <a:gd name="connsiteX73" fmla="*/ 21881359 w 27542354"/>
                <a:gd name="connsiteY73" fmla="*/ 1889694 h 15152939"/>
                <a:gd name="connsiteX74" fmla="*/ 21772837 w 27542354"/>
                <a:gd name="connsiteY74" fmla="*/ 2269505 h 15152939"/>
                <a:gd name="connsiteX75" fmla="*/ 21537712 w 27542354"/>
                <a:gd name="connsiteY75" fmla="*/ 2884438 h 15152939"/>
                <a:gd name="connsiteX76" fmla="*/ 21996067 w 27542354"/>
                <a:gd name="connsiteY76" fmla="*/ 2911656 h 15152939"/>
                <a:gd name="connsiteX77" fmla="*/ 22478203 w 27542354"/>
                <a:gd name="connsiteY77" fmla="*/ 2414189 h 15152939"/>
                <a:gd name="connsiteX78" fmla="*/ 23292084 w 27542354"/>
                <a:gd name="connsiteY78" fmla="*/ 2016293 h 15152939"/>
                <a:gd name="connsiteX79" fmla="*/ 23888932 w 27542354"/>
                <a:gd name="connsiteY79" fmla="*/ 1998212 h 15152939"/>
                <a:gd name="connsiteX80" fmla="*/ 24612383 w 27542354"/>
                <a:gd name="connsiteY80" fmla="*/ 1582227 h 15152939"/>
                <a:gd name="connsiteX81" fmla="*/ 25010275 w 27542354"/>
                <a:gd name="connsiteY81" fmla="*/ 695990 h 15152939"/>
                <a:gd name="connsiteX82" fmla="*/ 25769899 w 27542354"/>
                <a:gd name="connsiteY82" fmla="*/ 840685 h 15152939"/>
                <a:gd name="connsiteX83" fmla="*/ 26402920 w 27542354"/>
                <a:gd name="connsiteY83" fmla="*/ 876857 h 15152939"/>
                <a:gd name="connsiteX84" fmla="*/ 26240141 w 27542354"/>
                <a:gd name="connsiteY84" fmla="*/ 1491794 h 15152939"/>
                <a:gd name="connsiteX85" fmla="*/ 26554742 w 27542354"/>
                <a:gd name="connsiteY85" fmla="*/ 2052454 h 15152939"/>
                <a:gd name="connsiteX86" fmla="*/ 25679461 w 27542354"/>
                <a:gd name="connsiteY86" fmla="*/ 2775920 h 15152939"/>
                <a:gd name="connsiteX87" fmla="*/ 25751806 w 27542354"/>
                <a:gd name="connsiteY87" fmla="*/ 3806840 h 15152939"/>
                <a:gd name="connsiteX88" fmla="*/ 26157237 w 27542354"/>
                <a:gd name="connsiteY88" fmla="*/ 4322377 h 15152939"/>
                <a:gd name="connsiteX0" fmla="*/ 26157237 w 27542354"/>
                <a:gd name="connsiteY0" fmla="*/ 4322377 h 15152939"/>
                <a:gd name="connsiteX1" fmla="*/ 25950755 w 27542354"/>
                <a:gd name="connsiteY1" fmla="*/ 4946265 h 15152939"/>
                <a:gd name="connsiteX2" fmla="*/ 26439085 w 27542354"/>
                <a:gd name="connsiteY2" fmla="*/ 6103777 h 15152939"/>
                <a:gd name="connsiteX3" fmla="*/ 25824148 w 27542354"/>
                <a:gd name="connsiteY3" fmla="*/ 6827228 h 15152939"/>
                <a:gd name="connsiteX4" fmla="*/ 26619948 w 27542354"/>
                <a:gd name="connsiteY4" fmla="*/ 7840060 h 15152939"/>
                <a:gd name="connsiteX5" fmla="*/ 26312478 w 27542354"/>
                <a:gd name="connsiteY5" fmla="*/ 9666777 h 15152939"/>
                <a:gd name="connsiteX6" fmla="*/ 26402912 w 27542354"/>
                <a:gd name="connsiteY6" fmla="*/ 10643437 h 15152939"/>
                <a:gd name="connsiteX7" fmla="*/ 27542355 w 27542354"/>
                <a:gd name="connsiteY7" fmla="*/ 12005935 h 15152939"/>
                <a:gd name="connsiteX8" fmla="*/ 26089423 w 27542354"/>
                <a:gd name="connsiteY8" fmla="*/ 11975789 h 15152939"/>
                <a:gd name="connsiteX9" fmla="*/ 24473715 w 27542354"/>
                <a:gd name="connsiteY9" fmla="*/ 12090334 h 15152939"/>
                <a:gd name="connsiteX10" fmla="*/ 23135328 w 27542354"/>
                <a:gd name="connsiteY10" fmla="*/ 12222964 h 15152939"/>
                <a:gd name="connsiteX11" fmla="*/ 22261159 w 27542354"/>
                <a:gd name="connsiteY11" fmla="*/ 12934357 h 15152939"/>
                <a:gd name="connsiteX12" fmla="*/ 20826342 w 27542354"/>
                <a:gd name="connsiteY12" fmla="*/ 14369204 h 15152939"/>
                <a:gd name="connsiteX13" fmla="*/ 12952786 w 27542354"/>
                <a:gd name="connsiteY13" fmla="*/ 14960014 h 15152939"/>
                <a:gd name="connsiteX14" fmla="*/ 11934663 w 27542354"/>
                <a:gd name="connsiteY14" fmla="*/ 15008264 h 15152939"/>
                <a:gd name="connsiteX15" fmla="*/ 8506848 w 27542354"/>
                <a:gd name="connsiteY15" fmla="*/ 15152939 h 15152939"/>
                <a:gd name="connsiteX16" fmla="*/ 7985095 w 27542354"/>
                <a:gd name="connsiteY16" fmla="*/ 14507857 h 15152939"/>
                <a:gd name="connsiteX17" fmla="*/ 7400308 w 27542354"/>
                <a:gd name="connsiteY17" fmla="*/ 14477712 h 15152939"/>
                <a:gd name="connsiteX18" fmla="*/ 6972273 w 27542354"/>
                <a:gd name="connsiteY18" fmla="*/ 14749009 h 15152939"/>
                <a:gd name="connsiteX19" fmla="*/ 5181729 w 27542354"/>
                <a:gd name="connsiteY19" fmla="*/ 14664610 h 15152939"/>
                <a:gd name="connsiteX20" fmla="*/ 4397998 w 27542354"/>
                <a:gd name="connsiteY20" fmla="*/ 14031593 h 15152939"/>
                <a:gd name="connsiteX21" fmla="*/ 2908896 w 27542354"/>
                <a:gd name="connsiteY21" fmla="*/ 13223739 h 15152939"/>
                <a:gd name="connsiteX22" fmla="*/ 1263043 w 27542354"/>
                <a:gd name="connsiteY22" fmla="*/ 12512346 h 15152939"/>
                <a:gd name="connsiteX23" fmla="*/ 485320 w 27542354"/>
                <a:gd name="connsiteY23" fmla="*/ 12060189 h 15152939"/>
                <a:gd name="connsiteX24" fmla="*/ 0 w 27542354"/>
                <a:gd name="connsiteY24" fmla="*/ 11767077 h 15152939"/>
                <a:gd name="connsiteX25" fmla="*/ 1003686 w 27542354"/>
                <a:gd name="connsiteY25" fmla="*/ 11021112 h 15152939"/>
                <a:gd name="connsiteX26" fmla="*/ 2902551 w 27542354"/>
                <a:gd name="connsiteY26" fmla="*/ 9836713 h 15152939"/>
                <a:gd name="connsiteX27" fmla="*/ 2558940 w 27542354"/>
                <a:gd name="connsiteY27" fmla="*/ 9303282 h 15152939"/>
                <a:gd name="connsiteX28" fmla="*/ 2402508 w 27542354"/>
                <a:gd name="connsiteY28" fmla="*/ 8616199 h 15152939"/>
                <a:gd name="connsiteX29" fmla="*/ 2730740 w 27542354"/>
                <a:gd name="connsiteY29" fmla="*/ 8589028 h 15152939"/>
                <a:gd name="connsiteX30" fmla="*/ 2947754 w 27542354"/>
                <a:gd name="connsiteY30" fmla="*/ 8118883 h 15152939"/>
                <a:gd name="connsiteX31" fmla="*/ 3499325 w 27542354"/>
                <a:gd name="connsiteY31" fmla="*/ 7675866 h 15152939"/>
                <a:gd name="connsiteX32" fmla="*/ 3680166 w 27542354"/>
                <a:gd name="connsiteY32" fmla="*/ 6798868 h 15152939"/>
                <a:gd name="connsiteX33" fmla="*/ 4186528 w 27542354"/>
                <a:gd name="connsiteY33" fmla="*/ 6807904 h 15152939"/>
                <a:gd name="connsiteX34" fmla="*/ 4837569 w 27542354"/>
                <a:gd name="connsiteY34" fmla="*/ 7278054 h 15152939"/>
                <a:gd name="connsiteX35" fmla="*/ 5352976 w 27542354"/>
                <a:gd name="connsiteY35" fmla="*/ 7196687 h 15152939"/>
                <a:gd name="connsiteX36" fmla="*/ 5741786 w 27542354"/>
                <a:gd name="connsiteY36" fmla="*/ 6825992 h 15152939"/>
                <a:gd name="connsiteX37" fmla="*/ 6157723 w 27542354"/>
                <a:gd name="connsiteY37" fmla="*/ 6663251 h 15152939"/>
                <a:gd name="connsiteX38" fmla="*/ 6745471 w 27542354"/>
                <a:gd name="connsiteY38" fmla="*/ 6093658 h 15152939"/>
                <a:gd name="connsiteX39" fmla="*/ 6890140 w 27542354"/>
                <a:gd name="connsiteY39" fmla="*/ 5243782 h 15152939"/>
                <a:gd name="connsiteX40" fmla="*/ 7568305 w 27542354"/>
                <a:gd name="connsiteY40" fmla="*/ 4674188 h 15152939"/>
                <a:gd name="connsiteX41" fmla="*/ 8137967 w 27542354"/>
                <a:gd name="connsiteY41" fmla="*/ 4231167 h 15152939"/>
                <a:gd name="connsiteX42" fmla="*/ 8463480 w 27542354"/>
                <a:gd name="connsiteY42" fmla="*/ 3426500 h 15152939"/>
                <a:gd name="connsiteX43" fmla="*/ 9024093 w 27542354"/>
                <a:gd name="connsiteY43" fmla="*/ 3073893 h 15152939"/>
                <a:gd name="connsiteX44" fmla="*/ 9675138 w 27542354"/>
                <a:gd name="connsiteY44" fmla="*/ 2721291 h 15152939"/>
                <a:gd name="connsiteX45" fmla="*/ 9558580 w 27542354"/>
                <a:gd name="connsiteY45" fmla="*/ 2173007 h 15152939"/>
                <a:gd name="connsiteX46" fmla="*/ 10353296 w 27542354"/>
                <a:gd name="connsiteY46" fmla="*/ 1500723 h 15152939"/>
                <a:gd name="connsiteX47" fmla="*/ 10832530 w 27542354"/>
                <a:gd name="connsiteY47" fmla="*/ 1428389 h 15152939"/>
                <a:gd name="connsiteX48" fmla="*/ 11058585 w 27542354"/>
                <a:gd name="connsiteY48" fmla="*/ 1880458 h 15152939"/>
                <a:gd name="connsiteX49" fmla="*/ 11411229 w 27542354"/>
                <a:gd name="connsiteY49" fmla="*/ 2260189 h 15152939"/>
                <a:gd name="connsiteX50" fmla="*/ 11998974 w 27542354"/>
                <a:gd name="connsiteY50" fmla="*/ 2341559 h 15152939"/>
                <a:gd name="connsiteX51" fmla="*/ 12315449 w 27542354"/>
                <a:gd name="connsiteY51" fmla="*/ 3001571 h 15152939"/>
                <a:gd name="connsiteX52" fmla="*/ 12785642 w 27542354"/>
                <a:gd name="connsiteY52" fmla="*/ 2820742 h 15152939"/>
                <a:gd name="connsiteX53" fmla="*/ 13671776 w 27542354"/>
                <a:gd name="connsiteY53" fmla="*/ 3272803 h 15152939"/>
                <a:gd name="connsiteX54" fmla="*/ 14123886 w 27542354"/>
                <a:gd name="connsiteY54" fmla="*/ 2974450 h 15152939"/>
                <a:gd name="connsiteX55" fmla="*/ 14259509 w 27542354"/>
                <a:gd name="connsiteY55" fmla="*/ 2404849 h 15152939"/>
                <a:gd name="connsiteX56" fmla="*/ 14892468 w 27542354"/>
                <a:gd name="connsiteY56" fmla="*/ 1762918 h 15152939"/>
                <a:gd name="connsiteX57" fmla="*/ 15778605 w 27542354"/>
                <a:gd name="connsiteY57" fmla="*/ 1211398 h 15152939"/>
                <a:gd name="connsiteX58" fmla="*/ 16022739 w 27542354"/>
                <a:gd name="connsiteY58" fmla="*/ 1681548 h 15152939"/>
                <a:gd name="connsiteX59" fmla="*/ 16013694 w 27542354"/>
                <a:gd name="connsiteY59" fmla="*/ 2169778 h 15152939"/>
                <a:gd name="connsiteX60" fmla="*/ 16556232 w 27542354"/>
                <a:gd name="connsiteY60" fmla="*/ 2260200 h 15152939"/>
                <a:gd name="connsiteX61" fmla="*/ 16863663 w 27542354"/>
                <a:gd name="connsiteY61" fmla="*/ 1744834 h 15152939"/>
                <a:gd name="connsiteX62" fmla="*/ 17406193 w 27542354"/>
                <a:gd name="connsiteY62" fmla="*/ 1410312 h 15152939"/>
                <a:gd name="connsiteX63" fmla="*/ 17623203 w 27542354"/>
                <a:gd name="connsiteY63" fmla="*/ 867840 h 15152939"/>
                <a:gd name="connsiteX64" fmla="*/ 18120524 w 27542354"/>
                <a:gd name="connsiteY64" fmla="*/ 831675 h 15152939"/>
                <a:gd name="connsiteX65" fmla="*/ 18201903 w 27542354"/>
                <a:gd name="connsiteY65" fmla="*/ 542358 h 15152939"/>
                <a:gd name="connsiteX66" fmla="*/ 18744437 w 27542354"/>
                <a:gd name="connsiteY66" fmla="*/ 117414 h 15152939"/>
                <a:gd name="connsiteX67" fmla="*/ 19443290 w 27542354"/>
                <a:gd name="connsiteY67" fmla="*/ 0 h 15152939"/>
                <a:gd name="connsiteX68" fmla="*/ 19982300 w 27542354"/>
                <a:gd name="connsiteY68" fmla="*/ 460880 h 15152939"/>
                <a:gd name="connsiteX69" fmla="*/ 19530143 w 27542354"/>
                <a:gd name="connsiteY69" fmla="*/ 913038 h 15152939"/>
                <a:gd name="connsiteX70" fmla="*/ 19837609 w 27542354"/>
                <a:gd name="connsiteY70" fmla="*/ 1238588 h 15152939"/>
                <a:gd name="connsiteX71" fmla="*/ 20886614 w 27542354"/>
                <a:gd name="connsiteY71" fmla="*/ 1546055 h 15152939"/>
                <a:gd name="connsiteX72" fmla="*/ 21881359 w 27542354"/>
                <a:gd name="connsiteY72" fmla="*/ 1889694 h 15152939"/>
                <a:gd name="connsiteX73" fmla="*/ 21772837 w 27542354"/>
                <a:gd name="connsiteY73" fmla="*/ 2269505 h 15152939"/>
                <a:gd name="connsiteX74" fmla="*/ 21537712 w 27542354"/>
                <a:gd name="connsiteY74" fmla="*/ 2884438 h 15152939"/>
                <a:gd name="connsiteX75" fmla="*/ 21996067 w 27542354"/>
                <a:gd name="connsiteY75" fmla="*/ 2911656 h 15152939"/>
                <a:gd name="connsiteX76" fmla="*/ 22478203 w 27542354"/>
                <a:gd name="connsiteY76" fmla="*/ 2414189 h 15152939"/>
                <a:gd name="connsiteX77" fmla="*/ 23292084 w 27542354"/>
                <a:gd name="connsiteY77" fmla="*/ 2016293 h 15152939"/>
                <a:gd name="connsiteX78" fmla="*/ 23888932 w 27542354"/>
                <a:gd name="connsiteY78" fmla="*/ 1998212 h 15152939"/>
                <a:gd name="connsiteX79" fmla="*/ 24612383 w 27542354"/>
                <a:gd name="connsiteY79" fmla="*/ 1582227 h 15152939"/>
                <a:gd name="connsiteX80" fmla="*/ 25010275 w 27542354"/>
                <a:gd name="connsiteY80" fmla="*/ 695990 h 15152939"/>
                <a:gd name="connsiteX81" fmla="*/ 25769899 w 27542354"/>
                <a:gd name="connsiteY81" fmla="*/ 840685 h 15152939"/>
                <a:gd name="connsiteX82" fmla="*/ 26402920 w 27542354"/>
                <a:gd name="connsiteY82" fmla="*/ 876857 h 15152939"/>
                <a:gd name="connsiteX83" fmla="*/ 26240141 w 27542354"/>
                <a:gd name="connsiteY83" fmla="*/ 1491794 h 15152939"/>
                <a:gd name="connsiteX84" fmla="*/ 26554742 w 27542354"/>
                <a:gd name="connsiteY84" fmla="*/ 2052454 h 15152939"/>
                <a:gd name="connsiteX85" fmla="*/ 25679461 w 27542354"/>
                <a:gd name="connsiteY85" fmla="*/ 2775920 h 15152939"/>
                <a:gd name="connsiteX86" fmla="*/ 25751806 w 27542354"/>
                <a:gd name="connsiteY86" fmla="*/ 3806840 h 15152939"/>
                <a:gd name="connsiteX87" fmla="*/ 26157237 w 27542354"/>
                <a:gd name="connsiteY87" fmla="*/ 4322377 h 15152939"/>
                <a:gd name="connsiteX0" fmla="*/ 25751806 w 27542354"/>
                <a:gd name="connsiteY0" fmla="*/ 3806840 h 15152939"/>
                <a:gd name="connsiteX1" fmla="*/ 25950755 w 27542354"/>
                <a:gd name="connsiteY1" fmla="*/ 4946265 h 15152939"/>
                <a:gd name="connsiteX2" fmla="*/ 26439085 w 27542354"/>
                <a:gd name="connsiteY2" fmla="*/ 6103777 h 15152939"/>
                <a:gd name="connsiteX3" fmla="*/ 25824148 w 27542354"/>
                <a:gd name="connsiteY3" fmla="*/ 6827228 h 15152939"/>
                <a:gd name="connsiteX4" fmla="*/ 26619948 w 27542354"/>
                <a:gd name="connsiteY4" fmla="*/ 7840060 h 15152939"/>
                <a:gd name="connsiteX5" fmla="*/ 26312478 w 27542354"/>
                <a:gd name="connsiteY5" fmla="*/ 9666777 h 15152939"/>
                <a:gd name="connsiteX6" fmla="*/ 26402912 w 27542354"/>
                <a:gd name="connsiteY6" fmla="*/ 10643437 h 15152939"/>
                <a:gd name="connsiteX7" fmla="*/ 27542355 w 27542354"/>
                <a:gd name="connsiteY7" fmla="*/ 12005935 h 15152939"/>
                <a:gd name="connsiteX8" fmla="*/ 26089423 w 27542354"/>
                <a:gd name="connsiteY8" fmla="*/ 11975789 h 15152939"/>
                <a:gd name="connsiteX9" fmla="*/ 24473715 w 27542354"/>
                <a:gd name="connsiteY9" fmla="*/ 12090334 h 15152939"/>
                <a:gd name="connsiteX10" fmla="*/ 23135328 w 27542354"/>
                <a:gd name="connsiteY10" fmla="*/ 12222964 h 15152939"/>
                <a:gd name="connsiteX11" fmla="*/ 22261159 w 27542354"/>
                <a:gd name="connsiteY11" fmla="*/ 12934357 h 15152939"/>
                <a:gd name="connsiteX12" fmla="*/ 20826342 w 27542354"/>
                <a:gd name="connsiteY12" fmla="*/ 14369204 h 15152939"/>
                <a:gd name="connsiteX13" fmla="*/ 12952786 w 27542354"/>
                <a:gd name="connsiteY13" fmla="*/ 14960014 h 15152939"/>
                <a:gd name="connsiteX14" fmla="*/ 11934663 w 27542354"/>
                <a:gd name="connsiteY14" fmla="*/ 15008264 h 15152939"/>
                <a:gd name="connsiteX15" fmla="*/ 8506848 w 27542354"/>
                <a:gd name="connsiteY15" fmla="*/ 15152939 h 15152939"/>
                <a:gd name="connsiteX16" fmla="*/ 7985095 w 27542354"/>
                <a:gd name="connsiteY16" fmla="*/ 14507857 h 15152939"/>
                <a:gd name="connsiteX17" fmla="*/ 7400308 w 27542354"/>
                <a:gd name="connsiteY17" fmla="*/ 14477712 h 15152939"/>
                <a:gd name="connsiteX18" fmla="*/ 6972273 w 27542354"/>
                <a:gd name="connsiteY18" fmla="*/ 14749009 h 15152939"/>
                <a:gd name="connsiteX19" fmla="*/ 5181729 w 27542354"/>
                <a:gd name="connsiteY19" fmla="*/ 14664610 h 15152939"/>
                <a:gd name="connsiteX20" fmla="*/ 4397998 w 27542354"/>
                <a:gd name="connsiteY20" fmla="*/ 14031593 h 15152939"/>
                <a:gd name="connsiteX21" fmla="*/ 2908896 w 27542354"/>
                <a:gd name="connsiteY21" fmla="*/ 13223739 h 15152939"/>
                <a:gd name="connsiteX22" fmla="*/ 1263043 w 27542354"/>
                <a:gd name="connsiteY22" fmla="*/ 12512346 h 15152939"/>
                <a:gd name="connsiteX23" fmla="*/ 485320 w 27542354"/>
                <a:gd name="connsiteY23" fmla="*/ 12060189 h 15152939"/>
                <a:gd name="connsiteX24" fmla="*/ 0 w 27542354"/>
                <a:gd name="connsiteY24" fmla="*/ 11767077 h 15152939"/>
                <a:gd name="connsiteX25" fmla="*/ 1003686 w 27542354"/>
                <a:gd name="connsiteY25" fmla="*/ 11021112 h 15152939"/>
                <a:gd name="connsiteX26" fmla="*/ 2902551 w 27542354"/>
                <a:gd name="connsiteY26" fmla="*/ 9836713 h 15152939"/>
                <a:gd name="connsiteX27" fmla="*/ 2558940 w 27542354"/>
                <a:gd name="connsiteY27" fmla="*/ 9303282 h 15152939"/>
                <a:gd name="connsiteX28" fmla="*/ 2402508 w 27542354"/>
                <a:gd name="connsiteY28" fmla="*/ 8616199 h 15152939"/>
                <a:gd name="connsiteX29" fmla="*/ 2730740 w 27542354"/>
                <a:gd name="connsiteY29" fmla="*/ 8589028 h 15152939"/>
                <a:gd name="connsiteX30" fmla="*/ 2947754 w 27542354"/>
                <a:gd name="connsiteY30" fmla="*/ 8118883 h 15152939"/>
                <a:gd name="connsiteX31" fmla="*/ 3499325 w 27542354"/>
                <a:gd name="connsiteY31" fmla="*/ 7675866 h 15152939"/>
                <a:gd name="connsiteX32" fmla="*/ 3680166 w 27542354"/>
                <a:gd name="connsiteY32" fmla="*/ 6798868 h 15152939"/>
                <a:gd name="connsiteX33" fmla="*/ 4186528 w 27542354"/>
                <a:gd name="connsiteY33" fmla="*/ 6807904 h 15152939"/>
                <a:gd name="connsiteX34" fmla="*/ 4837569 w 27542354"/>
                <a:gd name="connsiteY34" fmla="*/ 7278054 h 15152939"/>
                <a:gd name="connsiteX35" fmla="*/ 5352976 w 27542354"/>
                <a:gd name="connsiteY35" fmla="*/ 7196687 h 15152939"/>
                <a:gd name="connsiteX36" fmla="*/ 5741786 w 27542354"/>
                <a:gd name="connsiteY36" fmla="*/ 6825992 h 15152939"/>
                <a:gd name="connsiteX37" fmla="*/ 6157723 w 27542354"/>
                <a:gd name="connsiteY37" fmla="*/ 6663251 h 15152939"/>
                <a:gd name="connsiteX38" fmla="*/ 6745471 w 27542354"/>
                <a:gd name="connsiteY38" fmla="*/ 6093658 h 15152939"/>
                <a:gd name="connsiteX39" fmla="*/ 6890140 w 27542354"/>
                <a:gd name="connsiteY39" fmla="*/ 5243782 h 15152939"/>
                <a:gd name="connsiteX40" fmla="*/ 7568305 w 27542354"/>
                <a:gd name="connsiteY40" fmla="*/ 4674188 h 15152939"/>
                <a:gd name="connsiteX41" fmla="*/ 8137967 w 27542354"/>
                <a:gd name="connsiteY41" fmla="*/ 4231167 h 15152939"/>
                <a:gd name="connsiteX42" fmla="*/ 8463480 w 27542354"/>
                <a:gd name="connsiteY42" fmla="*/ 3426500 h 15152939"/>
                <a:gd name="connsiteX43" fmla="*/ 9024093 w 27542354"/>
                <a:gd name="connsiteY43" fmla="*/ 3073893 h 15152939"/>
                <a:gd name="connsiteX44" fmla="*/ 9675138 w 27542354"/>
                <a:gd name="connsiteY44" fmla="*/ 2721291 h 15152939"/>
                <a:gd name="connsiteX45" fmla="*/ 9558580 w 27542354"/>
                <a:gd name="connsiteY45" fmla="*/ 2173007 h 15152939"/>
                <a:gd name="connsiteX46" fmla="*/ 10353296 w 27542354"/>
                <a:gd name="connsiteY46" fmla="*/ 1500723 h 15152939"/>
                <a:gd name="connsiteX47" fmla="*/ 10832530 w 27542354"/>
                <a:gd name="connsiteY47" fmla="*/ 1428389 h 15152939"/>
                <a:gd name="connsiteX48" fmla="*/ 11058585 w 27542354"/>
                <a:gd name="connsiteY48" fmla="*/ 1880458 h 15152939"/>
                <a:gd name="connsiteX49" fmla="*/ 11411229 w 27542354"/>
                <a:gd name="connsiteY49" fmla="*/ 2260189 h 15152939"/>
                <a:gd name="connsiteX50" fmla="*/ 11998974 w 27542354"/>
                <a:gd name="connsiteY50" fmla="*/ 2341559 h 15152939"/>
                <a:gd name="connsiteX51" fmla="*/ 12315449 w 27542354"/>
                <a:gd name="connsiteY51" fmla="*/ 3001571 h 15152939"/>
                <a:gd name="connsiteX52" fmla="*/ 12785642 w 27542354"/>
                <a:gd name="connsiteY52" fmla="*/ 2820742 h 15152939"/>
                <a:gd name="connsiteX53" fmla="*/ 13671776 w 27542354"/>
                <a:gd name="connsiteY53" fmla="*/ 3272803 h 15152939"/>
                <a:gd name="connsiteX54" fmla="*/ 14123886 w 27542354"/>
                <a:gd name="connsiteY54" fmla="*/ 2974450 h 15152939"/>
                <a:gd name="connsiteX55" fmla="*/ 14259509 w 27542354"/>
                <a:gd name="connsiteY55" fmla="*/ 2404849 h 15152939"/>
                <a:gd name="connsiteX56" fmla="*/ 14892468 w 27542354"/>
                <a:gd name="connsiteY56" fmla="*/ 1762918 h 15152939"/>
                <a:gd name="connsiteX57" fmla="*/ 15778605 w 27542354"/>
                <a:gd name="connsiteY57" fmla="*/ 1211398 h 15152939"/>
                <a:gd name="connsiteX58" fmla="*/ 16022739 w 27542354"/>
                <a:gd name="connsiteY58" fmla="*/ 1681548 h 15152939"/>
                <a:gd name="connsiteX59" fmla="*/ 16013694 w 27542354"/>
                <a:gd name="connsiteY59" fmla="*/ 2169778 h 15152939"/>
                <a:gd name="connsiteX60" fmla="*/ 16556232 w 27542354"/>
                <a:gd name="connsiteY60" fmla="*/ 2260200 h 15152939"/>
                <a:gd name="connsiteX61" fmla="*/ 16863663 w 27542354"/>
                <a:gd name="connsiteY61" fmla="*/ 1744834 h 15152939"/>
                <a:gd name="connsiteX62" fmla="*/ 17406193 w 27542354"/>
                <a:gd name="connsiteY62" fmla="*/ 1410312 h 15152939"/>
                <a:gd name="connsiteX63" fmla="*/ 17623203 w 27542354"/>
                <a:gd name="connsiteY63" fmla="*/ 867840 h 15152939"/>
                <a:gd name="connsiteX64" fmla="*/ 18120524 w 27542354"/>
                <a:gd name="connsiteY64" fmla="*/ 831675 h 15152939"/>
                <a:gd name="connsiteX65" fmla="*/ 18201903 w 27542354"/>
                <a:gd name="connsiteY65" fmla="*/ 542358 h 15152939"/>
                <a:gd name="connsiteX66" fmla="*/ 18744437 w 27542354"/>
                <a:gd name="connsiteY66" fmla="*/ 117414 h 15152939"/>
                <a:gd name="connsiteX67" fmla="*/ 19443290 w 27542354"/>
                <a:gd name="connsiteY67" fmla="*/ 0 h 15152939"/>
                <a:gd name="connsiteX68" fmla="*/ 19982300 w 27542354"/>
                <a:gd name="connsiteY68" fmla="*/ 460880 h 15152939"/>
                <a:gd name="connsiteX69" fmla="*/ 19530143 w 27542354"/>
                <a:gd name="connsiteY69" fmla="*/ 913038 h 15152939"/>
                <a:gd name="connsiteX70" fmla="*/ 19837609 w 27542354"/>
                <a:gd name="connsiteY70" fmla="*/ 1238588 h 15152939"/>
                <a:gd name="connsiteX71" fmla="*/ 20886614 w 27542354"/>
                <a:gd name="connsiteY71" fmla="*/ 1546055 h 15152939"/>
                <a:gd name="connsiteX72" fmla="*/ 21881359 w 27542354"/>
                <a:gd name="connsiteY72" fmla="*/ 1889694 h 15152939"/>
                <a:gd name="connsiteX73" fmla="*/ 21772837 w 27542354"/>
                <a:gd name="connsiteY73" fmla="*/ 2269505 h 15152939"/>
                <a:gd name="connsiteX74" fmla="*/ 21537712 w 27542354"/>
                <a:gd name="connsiteY74" fmla="*/ 2884438 h 15152939"/>
                <a:gd name="connsiteX75" fmla="*/ 21996067 w 27542354"/>
                <a:gd name="connsiteY75" fmla="*/ 2911656 h 15152939"/>
                <a:gd name="connsiteX76" fmla="*/ 22478203 w 27542354"/>
                <a:gd name="connsiteY76" fmla="*/ 2414189 h 15152939"/>
                <a:gd name="connsiteX77" fmla="*/ 23292084 w 27542354"/>
                <a:gd name="connsiteY77" fmla="*/ 2016293 h 15152939"/>
                <a:gd name="connsiteX78" fmla="*/ 23888932 w 27542354"/>
                <a:gd name="connsiteY78" fmla="*/ 1998212 h 15152939"/>
                <a:gd name="connsiteX79" fmla="*/ 24612383 w 27542354"/>
                <a:gd name="connsiteY79" fmla="*/ 1582227 h 15152939"/>
                <a:gd name="connsiteX80" fmla="*/ 25010275 w 27542354"/>
                <a:gd name="connsiteY80" fmla="*/ 695990 h 15152939"/>
                <a:gd name="connsiteX81" fmla="*/ 25769899 w 27542354"/>
                <a:gd name="connsiteY81" fmla="*/ 840685 h 15152939"/>
                <a:gd name="connsiteX82" fmla="*/ 26402920 w 27542354"/>
                <a:gd name="connsiteY82" fmla="*/ 876857 h 15152939"/>
                <a:gd name="connsiteX83" fmla="*/ 26240141 w 27542354"/>
                <a:gd name="connsiteY83" fmla="*/ 1491794 h 15152939"/>
                <a:gd name="connsiteX84" fmla="*/ 26554742 w 27542354"/>
                <a:gd name="connsiteY84" fmla="*/ 2052454 h 15152939"/>
                <a:gd name="connsiteX85" fmla="*/ 25679461 w 27542354"/>
                <a:gd name="connsiteY85" fmla="*/ 2775920 h 15152939"/>
                <a:gd name="connsiteX86" fmla="*/ 25751806 w 27542354"/>
                <a:gd name="connsiteY86" fmla="*/ 3806840 h 15152939"/>
                <a:gd name="connsiteX0" fmla="*/ 25751806 w 27542354"/>
                <a:gd name="connsiteY0" fmla="*/ 3806840 h 15152939"/>
                <a:gd name="connsiteX1" fmla="*/ 25950755 w 27542354"/>
                <a:gd name="connsiteY1" fmla="*/ 4946265 h 15152939"/>
                <a:gd name="connsiteX2" fmla="*/ 26439085 w 27542354"/>
                <a:gd name="connsiteY2" fmla="*/ 6103777 h 15152939"/>
                <a:gd name="connsiteX3" fmla="*/ 25824148 w 27542354"/>
                <a:gd name="connsiteY3" fmla="*/ 6827228 h 15152939"/>
                <a:gd name="connsiteX4" fmla="*/ 26619948 w 27542354"/>
                <a:gd name="connsiteY4" fmla="*/ 7840060 h 15152939"/>
                <a:gd name="connsiteX5" fmla="*/ 26312478 w 27542354"/>
                <a:gd name="connsiteY5" fmla="*/ 9666777 h 15152939"/>
                <a:gd name="connsiteX6" fmla="*/ 26402912 w 27542354"/>
                <a:gd name="connsiteY6" fmla="*/ 10643437 h 15152939"/>
                <a:gd name="connsiteX7" fmla="*/ 27542355 w 27542354"/>
                <a:gd name="connsiteY7" fmla="*/ 12005935 h 15152939"/>
                <a:gd name="connsiteX8" fmla="*/ 26089423 w 27542354"/>
                <a:gd name="connsiteY8" fmla="*/ 11975789 h 15152939"/>
                <a:gd name="connsiteX9" fmla="*/ 24473715 w 27542354"/>
                <a:gd name="connsiteY9" fmla="*/ 12090334 h 15152939"/>
                <a:gd name="connsiteX10" fmla="*/ 23135328 w 27542354"/>
                <a:gd name="connsiteY10" fmla="*/ 12222964 h 15152939"/>
                <a:gd name="connsiteX11" fmla="*/ 22261159 w 27542354"/>
                <a:gd name="connsiteY11" fmla="*/ 12934357 h 15152939"/>
                <a:gd name="connsiteX12" fmla="*/ 20826342 w 27542354"/>
                <a:gd name="connsiteY12" fmla="*/ 14369204 h 15152939"/>
                <a:gd name="connsiteX13" fmla="*/ 12952786 w 27542354"/>
                <a:gd name="connsiteY13" fmla="*/ 14960014 h 15152939"/>
                <a:gd name="connsiteX14" fmla="*/ 11934663 w 27542354"/>
                <a:gd name="connsiteY14" fmla="*/ 15008264 h 15152939"/>
                <a:gd name="connsiteX15" fmla="*/ 8506848 w 27542354"/>
                <a:gd name="connsiteY15" fmla="*/ 15152939 h 15152939"/>
                <a:gd name="connsiteX16" fmla="*/ 7985095 w 27542354"/>
                <a:gd name="connsiteY16" fmla="*/ 14507857 h 15152939"/>
                <a:gd name="connsiteX17" fmla="*/ 7400308 w 27542354"/>
                <a:gd name="connsiteY17" fmla="*/ 14477712 h 15152939"/>
                <a:gd name="connsiteX18" fmla="*/ 6972273 w 27542354"/>
                <a:gd name="connsiteY18" fmla="*/ 14749009 h 15152939"/>
                <a:gd name="connsiteX19" fmla="*/ 5181729 w 27542354"/>
                <a:gd name="connsiteY19" fmla="*/ 14664610 h 15152939"/>
                <a:gd name="connsiteX20" fmla="*/ 4397998 w 27542354"/>
                <a:gd name="connsiteY20" fmla="*/ 14031593 h 15152939"/>
                <a:gd name="connsiteX21" fmla="*/ 2908896 w 27542354"/>
                <a:gd name="connsiteY21" fmla="*/ 13223739 h 15152939"/>
                <a:gd name="connsiteX22" fmla="*/ 1263043 w 27542354"/>
                <a:gd name="connsiteY22" fmla="*/ 12512346 h 15152939"/>
                <a:gd name="connsiteX23" fmla="*/ 485320 w 27542354"/>
                <a:gd name="connsiteY23" fmla="*/ 12060189 h 15152939"/>
                <a:gd name="connsiteX24" fmla="*/ 0 w 27542354"/>
                <a:gd name="connsiteY24" fmla="*/ 11767077 h 15152939"/>
                <a:gd name="connsiteX25" fmla="*/ 1003686 w 27542354"/>
                <a:gd name="connsiteY25" fmla="*/ 11021112 h 15152939"/>
                <a:gd name="connsiteX26" fmla="*/ 2902551 w 27542354"/>
                <a:gd name="connsiteY26" fmla="*/ 9836713 h 15152939"/>
                <a:gd name="connsiteX27" fmla="*/ 2558940 w 27542354"/>
                <a:gd name="connsiteY27" fmla="*/ 9303282 h 15152939"/>
                <a:gd name="connsiteX28" fmla="*/ 2402508 w 27542354"/>
                <a:gd name="connsiteY28" fmla="*/ 8616199 h 15152939"/>
                <a:gd name="connsiteX29" fmla="*/ 2730740 w 27542354"/>
                <a:gd name="connsiteY29" fmla="*/ 8589028 h 15152939"/>
                <a:gd name="connsiteX30" fmla="*/ 2947754 w 27542354"/>
                <a:gd name="connsiteY30" fmla="*/ 8118883 h 15152939"/>
                <a:gd name="connsiteX31" fmla="*/ 3499325 w 27542354"/>
                <a:gd name="connsiteY31" fmla="*/ 7675866 h 15152939"/>
                <a:gd name="connsiteX32" fmla="*/ 3680166 w 27542354"/>
                <a:gd name="connsiteY32" fmla="*/ 6798868 h 15152939"/>
                <a:gd name="connsiteX33" fmla="*/ 4186528 w 27542354"/>
                <a:gd name="connsiteY33" fmla="*/ 6807904 h 15152939"/>
                <a:gd name="connsiteX34" fmla="*/ 4837569 w 27542354"/>
                <a:gd name="connsiteY34" fmla="*/ 7278054 h 15152939"/>
                <a:gd name="connsiteX35" fmla="*/ 5352976 w 27542354"/>
                <a:gd name="connsiteY35" fmla="*/ 7196687 h 15152939"/>
                <a:gd name="connsiteX36" fmla="*/ 5741786 w 27542354"/>
                <a:gd name="connsiteY36" fmla="*/ 6825992 h 15152939"/>
                <a:gd name="connsiteX37" fmla="*/ 6157723 w 27542354"/>
                <a:gd name="connsiteY37" fmla="*/ 6663251 h 15152939"/>
                <a:gd name="connsiteX38" fmla="*/ 6745471 w 27542354"/>
                <a:gd name="connsiteY38" fmla="*/ 6093658 h 15152939"/>
                <a:gd name="connsiteX39" fmla="*/ 6890140 w 27542354"/>
                <a:gd name="connsiteY39" fmla="*/ 5243782 h 15152939"/>
                <a:gd name="connsiteX40" fmla="*/ 7568305 w 27542354"/>
                <a:gd name="connsiteY40" fmla="*/ 4674188 h 15152939"/>
                <a:gd name="connsiteX41" fmla="*/ 8137967 w 27542354"/>
                <a:gd name="connsiteY41" fmla="*/ 4231167 h 15152939"/>
                <a:gd name="connsiteX42" fmla="*/ 8463480 w 27542354"/>
                <a:gd name="connsiteY42" fmla="*/ 3426500 h 15152939"/>
                <a:gd name="connsiteX43" fmla="*/ 9024093 w 27542354"/>
                <a:gd name="connsiteY43" fmla="*/ 3073893 h 15152939"/>
                <a:gd name="connsiteX44" fmla="*/ 9675138 w 27542354"/>
                <a:gd name="connsiteY44" fmla="*/ 2721291 h 15152939"/>
                <a:gd name="connsiteX45" fmla="*/ 9558580 w 27542354"/>
                <a:gd name="connsiteY45" fmla="*/ 2173007 h 15152939"/>
                <a:gd name="connsiteX46" fmla="*/ 10353296 w 27542354"/>
                <a:gd name="connsiteY46" fmla="*/ 1500723 h 15152939"/>
                <a:gd name="connsiteX47" fmla="*/ 10832530 w 27542354"/>
                <a:gd name="connsiteY47" fmla="*/ 1428389 h 15152939"/>
                <a:gd name="connsiteX48" fmla="*/ 11058585 w 27542354"/>
                <a:gd name="connsiteY48" fmla="*/ 1880458 h 15152939"/>
                <a:gd name="connsiteX49" fmla="*/ 11411229 w 27542354"/>
                <a:gd name="connsiteY49" fmla="*/ 2260189 h 15152939"/>
                <a:gd name="connsiteX50" fmla="*/ 11998974 w 27542354"/>
                <a:gd name="connsiteY50" fmla="*/ 2341559 h 15152939"/>
                <a:gd name="connsiteX51" fmla="*/ 12315449 w 27542354"/>
                <a:gd name="connsiteY51" fmla="*/ 3001571 h 15152939"/>
                <a:gd name="connsiteX52" fmla="*/ 12785642 w 27542354"/>
                <a:gd name="connsiteY52" fmla="*/ 2820742 h 15152939"/>
                <a:gd name="connsiteX53" fmla="*/ 13671776 w 27542354"/>
                <a:gd name="connsiteY53" fmla="*/ 3272803 h 15152939"/>
                <a:gd name="connsiteX54" fmla="*/ 14123886 w 27542354"/>
                <a:gd name="connsiteY54" fmla="*/ 2974450 h 15152939"/>
                <a:gd name="connsiteX55" fmla="*/ 14259509 w 27542354"/>
                <a:gd name="connsiteY55" fmla="*/ 2404849 h 15152939"/>
                <a:gd name="connsiteX56" fmla="*/ 14892468 w 27542354"/>
                <a:gd name="connsiteY56" fmla="*/ 1762918 h 15152939"/>
                <a:gd name="connsiteX57" fmla="*/ 15778605 w 27542354"/>
                <a:gd name="connsiteY57" fmla="*/ 1211398 h 15152939"/>
                <a:gd name="connsiteX58" fmla="*/ 16022739 w 27542354"/>
                <a:gd name="connsiteY58" fmla="*/ 1681548 h 15152939"/>
                <a:gd name="connsiteX59" fmla="*/ 16013694 w 27542354"/>
                <a:gd name="connsiteY59" fmla="*/ 2169778 h 15152939"/>
                <a:gd name="connsiteX60" fmla="*/ 16556232 w 27542354"/>
                <a:gd name="connsiteY60" fmla="*/ 2260200 h 15152939"/>
                <a:gd name="connsiteX61" fmla="*/ 16863663 w 27542354"/>
                <a:gd name="connsiteY61" fmla="*/ 1744834 h 15152939"/>
                <a:gd name="connsiteX62" fmla="*/ 17406193 w 27542354"/>
                <a:gd name="connsiteY62" fmla="*/ 1410312 h 15152939"/>
                <a:gd name="connsiteX63" fmla="*/ 17623203 w 27542354"/>
                <a:gd name="connsiteY63" fmla="*/ 867840 h 15152939"/>
                <a:gd name="connsiteX64" fmla="*/ 18120524 w 27542354"/>
                <a:gd name="connsiteY64" fmla="*/ 831675 h 15152939"/>
                <a:gd name="connsiteX65" fmla="*/ 18201903 w 27542354"/>
                <a:gd name="connsiteY65" fmla="*/ 542358 h 15152939"/>
                <a:gd name="connsiteX66" fmla="*/ 18744437 w 27542354"/>
                <a:gd name="connsiteY66" fmla="*/ 117414 h 15152939"/>
                <a:gd name="connsiteX67" fmla="*/ 19443290 w 27542354"/>
                <a:gd name="connsiteY67" fmla="*/ 0 h 15152939"/>
                <a:gd name="connsiteX68" fmla="*/ 19982300 w 27542354"/>
                <a:gd name="connsiteY68" fmla="*/ 460880 h 15152939"/>
                <a:gd name="connsiteX69" fmla="*/ 19530143 w 27542354"/>
                <a:gd name="connsiteY69" fmla="*/ 913038 h 15152939"/>
                <a:gd name="connsiteX70" fmla="*/ 19837609 w 27542354"/>
                <a:gd name="connsiteY70" fmla="*/ 1238588 h 15152939"/>
                <a:gd name="connsiteX71" fmla="*/ 20886614 w 27542354"/>
                <a:gd name="connsiteY71" fmla="*/ 1546055 h 15152939"/>
                <a:gd name="connsiteX72" fmla="*/ 21881359 w 27542354"/>
                <a:gd name="connsiteY72" fmla="*/ 1889694 h 15152939"/>
                <a:gd name="connsiteX73" fmla="*/ 21772837 w 27542354"/>
                <a:gd name="connsiteY73" fmla="*/ 2269505 h 15152939"/>
                <a:gd name="connsiteX74" fmla="*/ 21537712 w 27542354"/>
                <a:gd name="connsiteY74" fmla="*/ 2884438 h 15152939"/>
                <a:gd name="connsiteX75" fmla="*/ 21996067 w 27542354"/>
                <a:gd name="connsiteY75" fmla="*/ 2911656 h 15152939"/>
                <a:gd name="connsiteX76" fmla="*/ 22478203 w 27542354"/>
                <a:gd name="connsiteY76" fmla="*/ 2414189 h 15152939"/>
                <a:gd name="connsiteX77" fmla="*/ 23292084 w 27542354"/>
                <a:gd name="connsiteY77" fmla="*/ 2016293 h 15152939"/>
                <a:gd name="connsiteX78" fmla="*/ 23888932 w 27542354"/>
                <a:gd name="connsiteY78" fmla="*/ 1998212 h 15152939"/>
                <a:gd name="connsiteX79" fmla="*/ 24612383 w 27542354"/>
                <a:gd name="connsiteY79" fmla="*/ 1582227 h 15152939"/>
                <a:gd name="connsiteX80" fmla="*/ 25010275 w 27542354"/>
                <a:gd name="connsiteY80" fmla="*/ 695990 h 15152939"/>
                <a:gd name="connsiteX81" fmla="*/ 25769899 w 27542354"/>
                <a:gd name="connsiteY81" fmla="*/ 840685 h 15152939"/>
                <a:gd name="connsiteX82" fmla="*/ 26402920 w 27542354"/>
                <a:gd name="connsiteY82" fmla="*/ 876857 h 15152939"/>
                <a:gd name="connsiteX83" fmla="*/ 26240141 w 27542354"/>
                <a:gd name="connsiteY83" fmla="*/ 1491794 h 15152939"/>
                <a:gd name="connsiteX84" fmla="*/ 26554742 w 27542354"/>
                <a:gd name="connsiteY84" fmla="*/ 2052454 h 15152939"/>
                <a:gd name="connsiteX85" fmla="*/ 25751806 w 27542354"/>
                <a:gd name="connsiteY85" fmla="*/ 3806840 h 15152939"/>
                <a:gd name="connsiteX0" fmla="*/ 25751806 w 27542354"/>
                <a:gd name="connsiteY0" fmla="*/ 3806840 h 15152939"/>
                <a:gd name="connsiteX1" fmla="*/ 25950755 w 27542354"/>
                <a:gd name="connsiteY1" fmla="*/ 4946265 h 15152939"/>
                <a:gd name="connsiteX2" fmla="*/ 26439085 w 27542354"/>
                <a:gd name="connsiteY2" fmla="*/ 6103777 h 15152939"/>
                <a:gd name="connsiteX3" fmla="*/ 25824148 w 27542354"/>
                <a:gd name="connsiteY3" fmla="*/ 6827228 h 15152939"/>
                <a:gd name="connsiteX4" fmla="*/ 26619948 w 27542354"/>
                <a:gd name="connsiteY4" fmla="*/ 7840060 h 15152939"/>
                <a:gd name="connsiteX5" fmla="*/ 26312478 w 27542354"/>
                <a:gd name="connsiteY5" fmla="*/ 9666777 h 15152939"/>
                <a:gd name="connsiteX6" fmla="*/ 26402912 w 27542354"/>
                <a:gd name="connsiteY6" fmla="*/ 10643437 h 15152939"/>
                <a:gd name="connsiteX7" fmla="*/ 27542355 w 27542354"/>
                <a:gd name="connsiteY7" fmla="*/ 12005935 h 15152939"/>
                <a:gd name="connsiteX8" fmla="*/ 26089423 w 27542354"/>
                <a:gd name="connsiteY8" fmla="*/ 11975789 h 15152939"/>
                <a:gd name="connsiteX9" fmla="*/ 24473715 w 27542354"/>
                <a:gd name="connsiteY9" fmla="*/ 12090334 h 15152939"/>
                <a:gd name="connsiteX10" fmla="*/ 23135328 w 27542354"/>
                <a:gd name="connsiteY10" fmla="*/ 12222964 h 15152939"/>
                <a:gd name="connsiteX11" fmla="*/ 22261159 w 27542354"/>
                <a:gd name="connsiteY11" fmla="*/ 12934357 h 15152939"/>
                <a:gd name="connsiteX12" fmla="*/ 20826342 w 27542354"/>
                <a:gd name="connsiteY12" fmla="*/ 14369204 h 15152939"/>
                <a:gd name="connsiteX13" fmla="*/ 12952786 w 27542354"/>
                <a:gd name="connsiteY13" fmla="*/ 14960014 h 15152939"/>
                <a:gd name="connsiteX14" fmla="*/ 11934663 w 27542354"/>
                <a:gd name="connsiteY14" fmla="*/ 15008264 h 15152939"/>
                <a:gd name="connsiteX15" fmla="*/ 8506848 w 27542354"/>
                <a:gd name="connsiteY15" fmla="*/ 15152939 h 15152939"/>
                <a:gd name="connsiteX16" fmla="*/ 7985095 w 27542354"/>
                <a:gd name="connsiteY16" fmla="*/ 14507857 h 15152939"/>
                <a:gd name="connsiteX17" fmla="*/ 7400308 w 27542354"/>
                <a:gd name="connsiteY17" fmla="*/ 14477712 h 15152939"/>
                <a:gd name="connsiteX18" fmla="*/ 6972273 w 27542354"/>
                <a:gd name="connsiteY18" fmla="*/ 14749009 h 15152939"/>
                <a:gd name="connsiteX19" fmla="*/ 5181729 w 27542354"/>
                <a:gd name="connsiteY19" fmla="*/ 14664610 h 15152939"/>
                <a:gd name="connsiteX20" fmla="*/ 4397998 w 27542354"/>
                <a:gd name="connsiteY20" fmla="*/ 14031593 h 15152939"/>
                <a:gd name="connsiteX21" fmla="*/ 2908896 w 27542354"/>
                <a:gd name="connsiteY21" fmla="*/ 13223739 h 15152939"/>
                <a:gd name="connsiteX22" fmla="*/ 1263043 w 27542354"/>
                <a:gd name="connsiteY22" fmla="*/ 12512346 h 15152939"/>
                <a:gd name="connsiteX23" fmla="*/ 485320 w 27542354"/>
                <a:gd name="connsiteY23" fmla="*/ 12060189 h 15152939"/>
                <a:gd name="connsiteX24" fmla="*/ 0 w 27542354"/>
                <a:gd name="connsiteY24" fmla="*/ 11767077 h 15152939"/>
                <a:gd name="connsiteX25" fmla="*/ 1003686 w 27542354"/>
                <a:gd name="connsiteY25" fmla="*/ 11021112 h 15152939"/>
                <a:gd name="connsiteX26" fmla="*/ 2902551 w 27542354"/>
                <a:gd name="connsiteY26" fmla="*/ 9836713 h 15152939"/>
                <a:gd name="connsiteX27" fmla="*/ 2558940 w 27542354"/>
                <a:gd name="connsiteY27" fmla="*/ 9303282 h 15152939"/>
                <a:gd name="connsiteX28" fmla="*/ 2402508 w 27542354"/>
                <a:gd name="connsiteY28" fmla="*/ 8616199 h 15152939"/>
                <a:gd name="connsiteX29" fmla="*/ 2730740 w 27542354"/>
                <a:gd name="connsiteY29" fmla="*/ 8589028 h 15152939"/>
                <a:gd name="connsiteX30" fmla="*/ 2947754 w 27542354"/>
                <a:gd name="connsiteY30" fmla="*/ 8118883 h 15152939"/>
                <a:gd name="connsiteX31" fmla="*/ 3499325 w 27542354"/>
                <a:gd name="connsiteY31" fmla="*/ 7675866 h 15152939"/>
                <a:gd name="connsiteX32" fmla="*/ 3680166 w 27542354"/>
                <a:gd name="connsiteY32" fmla="*/ 6798868 h 15152939"/>
                <a:gd name="connsiteX33" fmla="*/ 4186528 w 27542354"/>
                <a:gd name="connsiteY33" fmla="*/ 6807904 h 15152939"/>
                <a:gd name="connsiteX34" fmla="*/ 4837569 w 27542354"/>
                <a:gd name="connsiteY34" fmla="*/ 7278054 h 15152939"/>
                <a:gd name="connsiteX35" fmla="*/ 5352976 w 27542354"/>
                <a:gd name="connsiteY35" fmla="*/ 7196687 h 15152939"/>
                <a:gd name="connsiteX36" fmla="*/ 5741786 w 27542354"/>
                <a:gd name="connsiteY36" fmla="*/ 6825992 h 15152939"/>
                <a:gd name="connsiteX37" fmla="*/ 6157723 w 27542354"/>
                <a:gd name="connsiteY37" fmla="*/ 6663251 h 15152939"/>
                <a:gd name="connsiteX38" fmla="*/ 6745471 w 27542354"/>
                <a:gd name="connsiteY38" fmla="*/ 6093658 h 15152939"/>
                <a:gd name="connsiteX39" fmla="*/ 6890140 w 27542354"/>
                <a:gd name="connsiteY39" fmla="*/ 5243782 h 15152939"/>
                <a:gd name="connsiteX40" fmla="*/ 7568305 w 27542354"/>
                <a:gd name="connsiteY40" fmla="*/ 4674188 h 15152939"/>
                <a:gd name="connsiteX41" fmla="*/ 8137967 w 27542354"/>
                <a:gd name="connsiteY41" fmla="*/ 4231167 h 15152939"/>
                <a:gd name="connsiteX42" fmla="*/ 8463480 w 27542354"/>
                <a:gd name="connsiteY42" fmla="*/ 3426500 h 15152939"/>
                <a:gd name="connsiteX43" fmla="*/ 9024093 w 27542354"/>
                <a:gd name="connsiteY43" fmla="*/ 3073893 h 15152939"/>
                <a:gd name="connsiteX44" fmla="*/ 9675138 w 27542354"/>
                <a:gd name="connsiteY44" fmla="*/ 2721291 h 15152939"/>
                <a:gd name="connsiteX45" fmla="*/ 9558580 w 27542354"/>
                <a:gd name="connsiteY45" fmla="*/ 2173007 h 15152939"/>
                <a:gd name="connsiteX46" fmla="*/ 10353296 w 27542354"/>
                <a:gd name="connsiteY46" fmla="*/ 1500723 h 15152939"/>
                <a:gd name="connsiteX47" fmla="*/ 10832530 w 27542354"/>
                <a:gd name="connsiteY47" fmla="*/ 1428389 h 15152939"/>
                <a:gd name="connsiteX48" fmla="*/ 11058585 w 27542354"/>
                <a:gd name="connsiteY48" fmla="*/ 1880458 h 15152939"/>
                <a:gd name="connsiteX49" fmla="*/ 11411229 w 27542354"/>
                <a:gd name="connsiteY49" fmla="*/ 2260189 h 15152939"/>
                <a:gd name="connsiteX50" fmla="*/ 11998974 w 27542354"/>
                <a:gd name="connsiteY50" fmla="*/ 2341559 h 15152939"/>
                <a:gd name="connsiteX51" fmla="*/ 12315449 w 27542354"/>
                <a:gd name="connsiteY51" fmla="*/ 3001571 h 15152939"/>
                <a:gd name="connsiteX52" fmla="*/ 12785642 w 27542354"/>
                <a:gd name="connsiteY52" fmla="*/ 2820742 h 15152939"/>
                <a:gd name="connsiteX53" fmla="*/ 13671776 w 27542354"/>
                <a:gd name="connsiteY53" fmla="*/ 3272803 h 15152939"/>
                <a:gd name="connsiteX54" fmla="*/ 14123886 w 27542354"/>
                <a:gd name="connsiteY54" fmla="*/ 2974450 h 15152939"/>
                <a:gd name="connsiteX55" fmla="*/ 14259509 w 27542354"/>
                <a:gd name="connsiteY55" fmla="*/ 2404849 h 15152939"/>
                <a:gd name="connsiteX56" fmla="*/ 14892468 w 27542354"/>
                <a:gd name="connsiteY56" fmla="*/ 1762918 h 15152939"/>
                <a:gd name="connsiteX57" fmla="*/ 15778605 w 27542354"/>
                <a:gd name="connsiteY57" fmla="*/ 1211398 h 15152939"/>
                <a:gd name="connsiteX58" fmla="*/ 16022739 w 27542354"/>
                <a:gd name="connsiteY58" fmla="*/ 1681548 h 15152939"/>
                <a:gd name="connsiteX59" fmla="*/ 16013694 w 27542354"/>
                <a:gd name="connsiteY59" fmla="*/ 2169778 h 15152939"/>
                <a:gd name="connsiteX60" fmla="*/ 16556232 w 27542354"/>
                <a:gd name="connsiteY60" fmla="*/ 2260200 h 15152939"/>
                <a:gd name="connsiteX61" fmla="*/ 16863663 w 27542354"/>
                <a:gd name="connsiteY61" fmla="*/ 1744834 h 15152939"/>
                <a:gd name="connsiteX62" fmla="*/ 17406193 w 27542354"/>
                <a:gd name="connsiteY62" fmla="*/ 1410312 h 15152939"/>
                <a:gd name="connsiteX63" fmla="*/ 17623203 w 27542354"/>
                <a:gd name="connsiteY63" fmla="*/ 867840 h 15152939"/>
                <a:gd name="connsiteX64" fmla="*/ 18120524 w 27542354"/>
                <a:gd name="connsiteY64" fmla="*/ 831675 h 15152939"/>
                <a:gd name="connsiteX65" fmla="*/ 18201903 w 27542354"/>
                <a:gd name="connsiteY65" fmla="*/ 542358 h 15152939"/>
                <a:gd name="connsiteX66" fmla="*/ 18744437 w 27542354"/>
                <a:gd name="connsiteY66" fmla="*/ 117414 h 15152939"/>
                <a:gd name="connsiteX67" fmla="*/ 19443290 w 27542354"/>
                <a:gd name="connsiteY67" fmla="*/ 0 h 15152939"/>
                <a:gd name="connsiteX68" fmla="*/ 19982300 w 27542354"/>
                <a:gd name="connsiteY68" fmla="*/ 460880 h 15152939"/>
                <a:gd name="connsiteX69" fmla="*/ 19530143 w 27542354"/>
                <a:gd name="connsiteY69" fmla="*/ 913038 h 15152939"/>
                <a:gd name="connsiteX70" fmla="*/ 19837609 w 27542354"/>
                <a:gd name="connsiteY70" fmla="*/ 1238588 h 15152939"/>
                <a:gd name="connsiteX71" fmla="*/ 20886614 w 27542354"/>
                <a:gd name="connsiteY71" fmla="*/ 1546055 h 15152939"/>
                <a:gd name="connsiteX72" fmla="*/ 21881359 w 27542354"/>
                <a:gd name="connsiteY72" fmla="*/ 1889694 h 15152939"/>
                <a:gd name="connsiteX73" fmla="*/ 21772837 w 27542354"/>
                <a:gd name="connsiteY73" fmla="*/ 2269505 h 15152939"/>
                <a:gd name="connsiteX74" fmla="*/ 21537712 w 27542354"/>
                <a:gd name="connsiteY74" fmla="*/ 2884438 h 15152939"/>
                <a:gd name="connsiteX75" fmla="*/ 21996067 w 27542354"/>
                <a:gd name="connsiteY75" fmla="*/ 2911656 h 15152939"/>
                <a:gd name="connsiteX76" fmla="*/ 22478203 w 27542354"/>
                <a:gd name="connsiteY76" fmla="*/ 2414189 h 15152939"/>
                <a:gd name="connsiteX77" fmla="*/ 23292084 w 27542354"/>
                <a:gd name="connsiteY77" fmla="*/ 2016293 h 15152939"/>
                <a:gd name="connsiteX78" fmla="*/ 23888932 w 27542354"/>
                <a:gd name="connsiteY78" fmla="*/ 1998212 h 15152939"/>
                <a:gd name="connsiteX79" fmla="*/ 24612383 w 27542354"/>
                <a:gd name="connsiteY79" fmla="*/ 1582227 h 15152939"/>
                <a:gd name="connsiteX80" fmla="*/ 25010275 w 27542354"/>
                <a:gd name="connsiteY80" fmla="*/ 695990 h 15152939"/>
                <a:gd name="connsiteX81" fmla="*/ 25769899 w 27542354"/>
                <a:gd name="connsiteY81" fmla="*/ 840685 h 15152939"/>
                <a:gd name="connsiteX82" fmla="*/ 26402920 w 27542354"/>
                <a:gd name="connsiteY82" fmla="*/ 876857 h 15152939"/>
                <a:gd name="connsiteX83" fmla="*/ 26554742 w 27542354"/>
                <a:gd name="connsiteY83" fmla="*/ 2052454 h 15152939"/>
                <a:gd name="connsiteX84" fmla="*/ 25751806 w 27542354"/>
                <a:gd name="connsiteY84" fmla="*/ 3806840 h 15152939"/>
                <a:gd name="connsiteX0" fmla="*/ 25751806 w 27542354"/>
                <a:gd name="connsiteY0" fmla="*/ 3806840 h 15152939"/>
                <a:gd name="connsiteX1" fmla="*/ 25950755 w 27542354"/>
                <a:gd name="connsiteY1" fmla="*/ 4946265 h 15152939"/>
                <a:gd name="connsiteX2" fmla="*/ 26439085 w 27542354"/>
                <a:gd name="connsiteY2" fmla="*/ 6103777 h 15152939"/>
                <a:gd name="connsiteX3" fmla="*/ 25824148 w 27542354"/>
                <a:gd name="connsiteY3" fmla="*/ 6827228 h 15152939"/>
                <a:gd name="connsiteX4" fmla="*/ 26619948 w 27542354"/>
                <a:gd name="connsiteY4" fmla="*/ 7840060 h 15152939"/>
                <a:gd name="connsiteX5" fmla="*/ 26312478 w 27542354"/>
                <a:gd name="connsiteY5" fmla="*/ 9666777 h 15152939"/>
                <a:gd name="connsiteX6" fmla="*/ 26402912 w 27542354"/>
                <a:gd name="connsiteY6" fmla="*/ 10643437 h 15152939"/>
                <a:gd name="connsiteX7" fmla="*/ 27542355 w 27542354"/>
                <a:gd name="connsiteY7" fmla="*/ 12005935 h 15152939"/>
                <a:gd name="connsiteX8" fmla="*/ 26089423 w 27542354"/>
                <a:gd name="connsiteY8" fmla="*/ 11975789 h 15152939"/>
                <a:gd name="connsiteX9" fmla="*/ 24473715 w 27542354"/>
                <a:gd name="connsiteY9" fmla="*/ 12090334 h 15152939"/>
                <a:gd name="connsiteX10" fmla="*/ 23135328 w 27542354"/>
                <a:gd name="connsiteY10" fmla="*/ 12222964 h 15152939"/>
                <a:gd name="connsiteX11" fmla="*/ 22261159 w 27542354"/>
                <a:gd name="connsiteY11" fmla="*/ 12934357 h 15152939"/>
                <a:gd name="connsiteX12" fmla="*/ 20826342 w 27542354"/>
                <a:gd name="connsiteY12" fmla="*/ 14369204 h 15152939"/>
                <a:gd name="connsiteX13" fmla="*/ 12952786 w 27542354"/>
                <a:gd name="connsiteY13" fmla="*/ 14960014 h 15152939"/>
                <a:gd name="connsiteX14" fmla="*/ 11934663 w 27542354"/>
                <a:gd name="connsiteY14" fmla="*/ 15008264 h 15152939"/>
                <a:gd name="connsiteX15" fmla="*/ 8506848 w 27542354"/>
                <a:gd name="connsiteY15" fmla="*/ 15152939 h 15152939"/>
                <a:gd name="connsiteX16" fmla="*/ 7985095 w 27542354"/>
                <a:gd name="connsiteY16" fmla="*/ 14507857 h 15152939"/>
                <a:gd name="connsiteX17" fmla="*/ 7400308 w 27542354"/>
                <a:gd name="connsiteY17" fmla="*/ 14477712 h 15152939"/>
                <a:gd name="connsiteX18" fmla="*/ 6972273 w 27542354"/>
                <a:gd name="connsiteY18" fmla="*/ 14749009 h 15152939"/>
                <a:gd name="connsiteX19" fmla="*/ 5181729 w 27542354"/>
                <a:gd name="connsiteY19" fmla="*/ 14664610 h 15152939"/>
                <a:gd name="connsiteX20" fmla="*/ 4397998 w 27542354"/>
                <a:gd name="connsiteY20" fmla="*/ 14031593 h 15152939"/>
                <a:gd name="connsiteX21" fmla="*/ 2908896 w 27542354"/>
                <a:gd name="connsiteY21" fmla="*/ 13223739 h 15152939"/>
                <a:gd name="connsiteX22" fmla="*/ 1263043 w 27542354"/>
                <a:gd name="connsiteY22" fmla="*/ 12512346 h 15152939"/>
                <a:gd name="connsiteX23" fmla="*/ 485320 w 27542354"/>
                <a:gd name="connsiteY23" fmla="*/ 12060189 h 15152939"/>
                <a:gd name="connsiteX24" fmla="*/ 0 w 27542354"/>
                <a:gd name="connsiteY24" fmla="*/ 11767077 h 15152939"/>
                <a:gd name="connsiteX25" fmla="*/ 1003686 w 27542354"/>
                <a:gd name="connsiteY25" fmla="*/ 11021112 h 15152939"/>
                <a:gd name="connsiteX26" fmla="*/ 2902551 w 27542354"/>
                <a:gd name="connsiteY26" fmla="*/ 9836713 h 15152939"/>
                <a:gd name="connsiteX27" fmla="*/ 2558940 w 27542354"/>
                <a:gd name="connsiteY27" fmla="*/ 9303282 h 15152939"/>
                <a:gd name="connsiteX28" fmla="*/ 2402508 w 27542354"/>
                <a:gd name="connsiteY28" fmla="*/ 8616199 h 15152939"/>
                <a:gd name="connsiteX29" fmla="*/ 2730740 w 27542354"/>
                <a:gd name="connsiteY29" fmla="*/ 8589028 h 15152939"/>
                <a:gd name="connsiteX30" fmla="*/ 2947754 w 27542354"/>
                <a:gd name="connsiteY30" fmla="*/ 8118883 h 15152939"/>
                <a:gd name="connsiteX31" fmla="*/ 3499325 w 27542354"/>
                <a:gd name="connsiteY31" fmla="*/ 7675866 h 15152939"/>
                <a:gd name="connsiteX32" fmla="*/ 3680166 w 27542354"/>
                <a:gd name="connsiteY32" fmla="*/ 6798868 h 15152939"/>
                <a:gd name="connsiteX33" fmla="*/ 4186528 w 27542354"/>
                <a:gd name="connsiteY33" fmla="*/ 6807904 h 15152939"/>
                <a:gd name="connsiteX34" fmla="*/ 4837569 w 27542354"/>
                <a:gd name="connsiteY34" fmla="*/ 7278054 h 15152939"/>
                <a:gd name="connsiteX35" fmla="*/ 5352976 w 27542354"/>
                <a:gd name="connsiteY35" fmla="*/ 7196687 h 15152939"/>
                <a:gd name="connsiteX36" fmla="*/ 5741786 w 27542354"/>
                <a:gd name="connsiteY36" fmla="*/ 6825992 h 15152939"/>
                <a:gd name="connsiteX37" fmla="*/ 6157723 w 27542354"/>
                <a:gd name="connsiteY37" fmla="*/ 6663251 h 15152939"/>
                <a:gd name="connsiteX38" fmla="*/ 6745471 w 27542354"/>
                <a:gd name="connsiteY38" fmla="*/ 6093658 h 15152939"/>
                <a:gd name="connsiteX39" fmla="*/ 6890140 w 27542354"/>
                <a:gd name="connsiteY39" fmla="*/ 5243782 h 15152939"/>
                <a:gd name="connsiteX40" fmla="*/ 7568305 w 27542354"/>
                <a:gd name="connsiteY40" fmla="*/ 4674188 h 15152939"/>
                <a:gd name="connsiteX41" fmla="*/ 8137967 w 27542354"/>
                <a:gd name="connsiteY41" fmla="*/ 4231167 h 15152939"/>
                <a:gd name="connsiteX42" fmla="*/ 8463480 w 27542354"/>
                <a:gd name="connsiteY42" fmla="*/ 3426500 h 15152939"/>
                <a:gd name="connsiteX43" fmla="*/ 9024093 w 27542354"/>
                <a:gd name="connsiteY43" fmla="*/ 3073893 h 15152939"/>
                <a:gd name="connsiteX44" fmla="*/ 9675138 w 27542354"/>
                <a:gd name="connsiteY44" fmla="*/ 2721291 h 15152939"/>
                <a:gd name="connsiteX45" fmla="*/ 9558580 w 27542354"/>
                <a:gd name="connsiteY45" fmla="*/ 2173007 h 15152939"/>
                <a:gd name="connsiteX46" fmla="*/ 10353296 w 27542354"/>
                <a:gd name="connsiteY46" fmla="*/ 1500723 h 15152939"/>
                <a:gd name="connsiteX47" fmla="*/ 10832530 w 27542354"/>
                <a:gd name="connsiteY47" fmla="*/ 1428389 h 15152939"/>
                <a:gd name="connsiteX48" fmla="*/ 11058585 w 27542354"/>
                <a:gd name="connsiteY48" fmla="*/ 1880458 h 15152939"/>
                <a:gd name="connsiteX49" fmla="*/ 11411229 w 27542354"/>
                <a:gd name="connsiteY49" fmla="*/ 2260189 h 15152939"/>
                <a:gd name="connsiteX50" fmla="*/ 11998974 w 27542354"/>
                <a:gd name="connsiteY50" fmla="*/ 2341559 h 15152939"/>
                <a:gd name="connsiteX51" fmla="*/ 12315449 w 27542354"/>
                <a:gd name="connsiteY51" fmla="*/ 3001571 h 15152939"/>
                <a:gd name="connsiteX52" fmla="*/ 12785642 w 27542354"/>
                <a:gd name="connsiteY52" fmla="*/ 2820742 h 15152939"/>
                <a:gd name="connsiteX53" fmla="*/ 13671776 w 27542354"/>
                <a:gd name="connsiteY53" fmla="*/ 3272803 h 15152939"/>
                <a:gd name="connsiteX54" fmla="*/ 14123886 w 27542354"/>
                <a:gd name="connsiteY54" fmla="*/ 2974450 h 15152939"/>
                <a:gd name="connsiteX55" fmla="*/ 14259509 w 27542354"/>
                <a:gd name="connsiteY55" fmla="*/ 2404849 h 15152939"/>
                <a:gd name="connsiteX56" fmla="*/ 14892468 w 27542354"/>
                <a:gd name="connsiteY56" fmla="*/ 1762918 h 15152939"/>
                <a:gd name="connsiteX57" fmla="*/ 15778605 w 27542354"/>
                <a:gd name="connsiteY57" fmla="*/ 1211398 h 15152939"/>
                <a:gd name="connsiteX58" fmla="*/ 16022739 w 27542354"/>
                <a:gd name="connsiteY58" fmla="*/ 1681548 h 15152939"/>
                <a:gd name="connsiteX59" fmla="*/ 16013694 w 27542354"/>
                <a:gd name="connsiteY59" fmla="*/ 2169778 h 15152939"/>
                <a:gd name="connsiteX60" fmla="*/ 16556232 w 27542354"/>
                <a:gd name="connsiteY60" fmla="*/ 2260200 h 15152939"/>
                <a:gd name="connsiteX61" fmla="*/ 16863663 w 27542354"/>
                <a:gd name="connsiteY61" fmla="*/ 1744834 h 15152939"/>
                <a:gd name="connsiteX62" fmla="*/ 17406193 w 27542354"/>
                <a:gd name="connsiteY62" fmla="*/ 1410312 h 15152939"/>
                <a:gd name="connsiteX63" fmla="*/ 17623203 w 27542354"/>
                <a:gd name="connsiteY63" fmla="*/ 867840 h 15152939"/>
                <a:gd name="connsiteX64" fmla="*/ 18120524 w 27542354"/>
                <a:gd name="connsiteY64" fmla="*/ 831675 h 15152939"/>
                <a:gd name="connsiteX65" fmla="*/ 18201903 w 27542354"/>
                <a:gd name="connsiteY65" fmla="*/ 542358 h 15152939"/>
                <a:gd name="connsiteX66" fmla="*/ 18744437 w 27542354"/>
                <a:gd name="connsiteY66" fmla="*/ 117414 h 15152939"/>
                <a:gd name="connsiteX67" fmla="*/ 19443290 w 27542354"/>
                <a:gd name="connsiteY67" fmla="*/ 0 h 15152939"/>
                <a:gd name="connsiteX68" fmla="*/ 19982300 w 27542354"/>
                <a:gd name="connsiteY68" fmla="*/ 460880 h 15152939"/>
                <a:gd name="connsiteX69" fmla="*/ 19530143 w 27542354"/>
                <a:gd name="connsiteY69" fmla="*/ 913038 h 15152939"/>
                <a:gd name="connsiteX70" fmla="*/ 19837609 w 27542354"/>
                <a:gd name="connsiteY70" fmla="*/ 1238588 h 15152939"/>
                <a:gd name="connsiteX71" fmla="*/ 20886614 w 27542354"/>
                <a:gd name="connsiteY71" fmla="*/ 1546055 h 15152939"/>
                <a:gd name="connsiteX72" fmla="*/ 21881359 w 27542354"/>
                <a:gd name="connsiteY72" fmla="*/ 1889694 h 15152939"/>
                <a:gd name="connsiteX73" fmla="*/ 21772837 w 27542354"/>
                <a:gd name="connsiteY73" fmla="*/ 2269505 h 15152939"/>
                <a:gd name="connsiteX74" fmla="*/ 21537712 w 27542354"/>
                <a:gd name="connsiteY74" fmla="*/ 2884438 h 15152939"/>
                <a:gd name="connsiteX75" fmla="*/ 21996067 w 27542354"/>
                <a:gd name="connsiteY75" fmla="*/ 2911656 h 15152939"/>
                <a:gd name="connsiteX76" fmla="*/ 22478203 w 27542354"/>
                <a:gd name="connsiteY76" fmla="*/ 2414189 h 15152939"/>
                <a:gd name="connsiteX77" fmla="*/ 23292084 w 27542354"/>
                <a:gd name="connsiteY77" fmla="*/ 2016293 h 15152939"/>
                <a:gd name="connsiteX78" fmla="*/ 23888932 w 27542354"/>
                <a:gd name="connsiteY78" fmla="*/ 1998212 h 15152939"/>
                <a:gd name="connsiteX79" fmla="*/ 24612383 w 27542354"/>
                <a:gd name="connsiteY79" fmla="*/ 1582227 h 15152939"/>
                <a:gd name="connsiteX80" fmla="*/ 25010275 w 27542354"/>
                <a:gd name="connsiteY80" fmla="*/ 695990 h 15152939"/>
                <a:gd name="connsiteX81" fmla="*/ 26402920 w 27542354"/>
                <a:gd name="connsiteY81" fmla="*/ 876857 h 15152939"/>
                <a:gd name="connsiteX82" fmla="*/ 26554742 w 27542354"/>
                <a:gd name="connsiteY82" fmla="*/ 2052454 h 15152939"/>
                <a:gd name="connsiteX83" fmla="*/ 25751806 w 27542354"/>
                <a:gd name="connsiteY83" fmla="*/ 3806840 h 15152939"/>
                <a:gd name="connsiteX0" fmla="*/ 25751806 w 27542354"/>
                <a:gd name="connsiteY0" fmla="*/ 3806840 h 15152939"/>
                <a:gd name="connsiteX1" fmla="*/ 25950755 w 27542354"/>
                <a:gd name="connsiteY1" fmla="*/ 4946265 h 15152939"/>
                <a:gd name="connsiteX2" fmla="*/ 26439085 w 27542354"/>
                <a:gd name="connsiteY2" fmla="*/ 6103777 h 15152939"/>
                <a:gd name="connsiteX3" fmla="*/ 25824148 w 27542354"/>
                <a:gd name="connsiteY3" fmla="*/ 6827228 h 15152939"/>
                <a:gd name="connsiteX4" fmla="*/ 26619948 w 27542354"/>
                <a:gd name="connsiteY4" fmla="*/ 7840060 h 15152939"/>
                <a:gd name="connsiteX5" fmla="*/ 26312478 w 27542354"/>
                <a:gd name="connsiteY5" fmla="*/ 9666777 h 15152939"/>
                <a:gd name="connsiteX6" fmla="*/ 26402912 w 27542354"/>
                <a:gd name="connsiteY6" fmla="*/ 10643437 h 15152939"/>
                <a:gd name="connsiteX7" fmla="*/ 27542355 w 27542354"/>
                <a:gd name="connsiteY7" fmla="*/ 12005935 h 15152939"/>
                <a:gd name="connsiteX8" fmla="*/ 26089423 w 27542354"/>
                <a:gd name="connsiteY8" fmla="*/ 11975789 h 15152939"/>
                <a:gd name="connsiteX9" fmla="*/ 24473715 w 27542354"/>
                <a:gd name="connsiteY9" fmla="*/ 12090334 h 15152939"/>
                <a:gd name="connsiteX10" fmla="*/ 23135328 w 27542354"/>
                <a:gd name="connsiteY10" fmla="*/ 12222964 h 15152939"/>
                <a:gd name="connsiteX11" fmla="*/ 22261159 w 27542354"/>
                <a:gd name="connsiteY11" fmla="*/ 12934357 h 15152939"/>
                <a:gd name="connsiteX12" fmla="*/ 20826342 w 27542354"/>
                <a:gd name="connsiteY12" fmla="*/ 14369204 h 15152939"/>
                <a:gd name="connsiteX13" fmla="*/ 12952786 w 27542354"/>
                <a:gd name="connsiteY13" fmla="*/ 14960014 h 15152939"/>
                <a:gd name="connsiteX14" fmla="*/ 11934663 w 27542354"/>
                <a:gd name="connsiteY14" fmla="*/ 15008264 h 15152939"/>
                <a:gd name="connsiteX15" fmla="*/ 8506848 w 27542354"/>
                <a:gd name="connsiteY15" fmla="*/ 15152939 h 15152939"/>
                <a:gd name="connsiteX16" fmla="*/ 7985095 w 27542354"/>
                <a:gd name="connsiteY16" fmla="*/ 14507857 h 15152939"/>
                <a:gd name="connsiteX17" fmla="*/ 7400308 w 27542354"/>
                <a:gd name="connsiteY17" fmla="*/ 14477712 h 15152939"/>
                <a:gd name="connsiteX18" fmla="*/ 6972273 w 27542354"/>
                <a:gd name="connsiteY18" fmla="*/ 14749009 h 15152939"/>
                <a:gd name="connsiteX19" fmla="*/ 5181729 w 27542354"/>
                <a:gd name="connsiteY19" fmla="*/ 14664610 h 15152939"/>
                <a:gd name="connsiteX20" fmla="*/ 4397998 w 27542354"/>
                <a:gd name="connsiteY20" fmla="*/ 14031593 h 15152939"/>
                <a:gd name="connsiteX21" fmla="*/ 2908896 w 27542354"/>
                <a:gd name="connsiteY21" fmla="*/ 13223739 h 15152939"/>
                <a:gd name="connsiteX22" fmla="*/ 1263043 w 27542354"/>
                <a:gd name="connsiteY22" fmla="*/ 12512346 h 15152939"/>
                <a:gd name="connsiteX23" fmla="*/ 485320 w 27542354"/>
                <a:gd name="connsiteY23" fmla="*/ 12060189 h 15152939"/>
                <a:gd name="connsiteX24" fmla="*/ 0 w 27542354"/>
                <a:gd name="connsiteY24" fmla="*/ 11767077 h 15152939"/>
                <a:gd name="connsiteX25" fmla="*/ 1003686 w 27542354"/>
                <a:gd name="connsiteY25" fmla="*/ 11021112 h 15152939"/>
                <a:gd name="connsiteX26" fmla="*/ 2902551 w 27542354"/>
                <a:gd name="connsiteY26" fmla="*/ 9836713 h 15152939"/>
                <a:gd name="connsiteX27" fmla="*/ 2558940 w 27542354"/>
                <a:gd name="connsiteY27" fmla="*/ 9303282 h 15152939"/>
                <a:gd name="connsiteX28" fmla="*/ 2402508 w 27542354"/>
                <a:gd name="connsiteY28" fmla="*/ 8616199 h 15152939"/>
                <a:gd name="connsiteX29" fmla="*/ 2730740 w 27542354"/>
                <a:gd name="connsiteY29" fmla="*/ 8589028 h 15152939"/>
                <a:gd name="connsiteX30" fmla="*/ 2947754 w 27542354"/>
                <a:gd name="connsiteY30" fmla="*/ 8118883 h 15152939"/>
                <a:gd name="connsiteX31" fmla="*/ 3499325 w 27542354"/>
                <a:gd name="connsiteY31" fmla="*/ 7675866 h 15152939"/>
                <a:gd name="connsiteX32" fmla="*/ 3680166 w 27542354"/>
                <a:gd name="connsiteY32" fmla="*/ 6798868 h 15152939"/>
                <a:gd name="connsiteX33" fmla="*/ 4186528 w 27542354"/>
                <a:gd name="connsiteY33" fmla="*/ 6807904 h 15152939"/>
                <a:gd name="connsiteX34" fmla="*/ 4837569 w 27542354"/>
                <a:gd name="connsiteY34" fmla="*/ 7278054 h 15152939"/>
                <a:gd name="connsiteX35" fmla="*/ 5352976 w 27542354"/>
                <a:gd name="connsiteY35" fmla="*/ 7196687 h 15152939"/>
                <a:gd name="connsiteX36" fmla="*/ 5741786 w 27542354"/>
                <a:gd name="connsiteY36" fmla="*/ 6825992 h 15152939"/>
                <a:gd name="connsiteX37" fmla="*/ 6157723 w 27542354"/>
                <a:gd name="connsiteY37" fmla="*/ 6663251 h 15152939"/>
                <a:gd name="connsiteX38" fmla="*/ 6745471 w 27542354"/>
                <a:gd name="connsiteY38" fmla="*/ 6093658 h 15152939"/>
                <a:gd name="connsiteX39" fmla="*/ 6890140 w 27542354"/>
                <a:gd name="connsiteY39" fmla="*/ 5243782 h 15152939"/>
                <a:gd name="connsiteX40" fmla="*/ 7568305 w 27542354"/>
                <a:gd name="connsiteY40" fmla="*/ 4674188 h 15152939"/>
                <a:gd name="connsiteX41" fmla="*/ 8137967 w 27542354"/>
                <a:gd name="connsiteY41" fmla="*/ 4231167 h 15152939"/>
                <a:gd name="connsiteX42" fmla="*/ 8463480 w 27542354"/>
                <a:gd name="connsiteY42" fmla="*/ 3426500 h 15152939"/>
                <a:gd name="connsiteX43" fmla="*/ 9024093 w 27542354"/>
                <a:gd name="connsiteY43" fmla="*/ 3073893 h 15152939"/>
                <a:gd name="connsiteX44" fmla="*/ 9675138 w 27542354"/>
                <a:gd name="connsiteY44" fmla="*/ 2721291 h 15152939"/>
                <a:gd name="connsiteX45" fmla="*/ 9558580 w 27542354"/>
                <a:gd name="connsiteY45" fmla="*/ 2173007 h 15152939"/>
                <a:gd name="connsiteX46" fmla="*/ 10353296 w 27542354"/>
                <a:gd name="connsiteY46" fmla="*/ 1500723 h 15152939"/>
                <a:gd name="connsiteX47" fmla="*/ 10832530 w 27542354"/>
                <a:gd name="connsiteY47" fmla="*/ 1428389 h 15152939"/>
                <a:gd name="connsiteX48" fmla="*/ 11058585 w 27542354"/>
                <a:gd name="connsiteY48" fmla="*/ 1880458 h 15152939"/>
                <a:gd name="connsiteX49" fmla="*/ 11411229 w 27542354"/>
                <a:gd name="connsiteY49" fmla="*/ 2260189 h 15152939"/>
                <a:gd name="connsiteX50" fmla="*/ 11998974 w 27542354"/>
                <a:gd name="connsiteY50" fmla="*/ 2341559 h 15152939"/>
                <a:gd name="connsiteX51" fmla="*/ 12315449 w 27542354"/>
                <a:gd name="connsiteY51" fmla="*/ 3001571 h 15152939"/>
                <a:gd name="connsiteX52" fmla="*/ 12785642 w 27542354"/>
                <a:gd name="connsiteY52" fmla="*/ 2820742 h 15152939"/>
                <a:gd name="connsiteX53" fmla="*/ 13671776 w 27542354"/>
                <a:gd name="connsiteY53" fmla="*/ 3272803 h 15152939"/>
                <a:gd name="connsiteX54" fmla="*/ 14123886 w 27542354"/>
                <a:gd name="connsiteY54" fmla="*/ 2974450 h 15152939"/>
                <a:gd name="connsiteX55" fmla="*/ 14259509 w 27542354"/>
                <a:gd name="connsiteY55" fmla="*/ 2404849 h 15152939"/>
                <a:gd name="connsiteX56" fmla="*/ 14892468 w 27542354"/>
                <a:gd name="connsiteY56" fmla="*/ 1762918 h 15152939"/>
                <a:gd name="connsiteX57" fmla="*/ 15778605 w 27542354"/>
                <a:gd name="connsiteY57" fmla="*/ 1211398 h 15152939"/>
                <a:gd name="connsiteX58" fmla="*/ 16022739 w 27542354"/>
                <a:gd name="connsiteY58" fmla="*/ 1681548 h 15152939"/>
                <a:gd name="connsiteX59" fmla="*/ 16013694 w 27542354"/>
                <a:gd name="connsiteY59" fmla="*/ 2169778 h 15152939"/>
                <a:gd name="connsiteX60" fmla="*/ 16556232 w 27542354"/>
                <a:gd name="connsiteY60" fmla="*/ 2260200 h 15152939"/>
                <a:gd name="connsiteX61" fmla="*/ 16863663 w 27542354"/>
                <a:gd name="connsiteY61" fmla="*/ 1744834 h 15152939"/>
                <a:gd name="connsiteX62" fmla="*/ 17406193 w 27542354"/>
                <a:gd name="connsiteY62" fmla="*/ 1410312 h 15152939"/>
                <a:gd name="connsiteX63" fmla="*/ 17623203 w 27542354"/>
                <a:gd name="connsiteY63" fmla="*/ 867840 h 15152939"/>
                <a:gd name="connsiteX64" fmla="*/ 18120524 w 27542354"/>
                <a:gd name="connsiteY64" fmla="*/ 831675 h 15152939"/>
                <a:gd name="connsiteX65" fmla="*/ 18201903 w 27542354"/>
                <a:gd name="connsiteY65" fmla="*/ 542358 h 15152939"/>
                <a:gd name="connsiteX66" fmla="*/ 18744437 w 27542354"/>
                <a:gd name="connsiteY66" fmla="*/ 117414 h 15152939"/>
                <a:gd name="connsiteX67" fmla="*/ 19443290 w 27542354"/>
                <a:gd name="connsiteY67" fmla="*/ 0 h 15152939"/>
                <a:gd name="connsiteX68" fmla="*/ 19982300 w 27542354"/>
                <a:gd name="connsiteY68" fmla="*/ 460880 h 15152939"/>
                <a:gd name="connsiteX69" fmla="*/ 19530143 w 27542354"/>
                <a:gd name="connsiteY69" fmla="*/ 913038 h 15152939"/>
                <a:gd name="connsiteX70" fmla="*/ 19837609 w 27542354"/>
                <a:gd name="connsiteY70" fmla="*/ 1238588 h 15152939"/>
                <a:gd name="connsiteX71" fmla="*/ 20886614 w 27542354"/>
                <a:gd name="connsiteY71" fmla="*/ 1546055 h 15152939"/>
                <a:gd name="connsiteX72" fmla="*/ 21881359 w 27542354"/>
                <a:gd name="connsiteY72" fmla="*/ 1889694 h 15152939"/>
                <a:gd name="connsiteX73" fmla="*/ 21772837 w 27542354"/>
                <a:gd name="connsiteY73" fmla="*/ 2269505 h 15152939"/>
                <a:gd name="connsiteX74" fmla="*/ 21537712 w 27542354"/>
                <a:gd name="connsiteY74" fmla="*/ 2884438 h 15152939"/>
                <a:gd name="connsiteX75" fmla="*/ 21996067 w 27542354"/>
                <a:gd name="connsiteY75" fmla="*/ 2911656 h 15152939"/>
                <a:gd name="connsiteX76" fmla="*/ 22478203 w 27542354"/>
                <a:gd name="connsiteY76" fmla="*/ 2414189 h 15152939"/>
                <a:gd name="connsiteX77" fmla="*/ 23292084 w 27542354"/>
                <a:gd name="connsiteY77" fmla="*/ 2016293 h 15152939"/>
                <a:gd name="connsiteX78" fmla="*/ 23888932 w 27542354"/>
                <a:gd name="connsiteY78" fmla="*/ 1998212 h 15152939"/>
                <a:gd name="connsiteX79" fmla="*/ 25010275 w 27542354"/>
                <a:gd name="connsiteY79" fmla="*/ 695990 h 15152939"/>
                <a:gd name="connsiteX80" fmla="*/ 26402920 w 27542354"/>
                <a:gd name="connsiteY80" fmla="*/ 876857 h 15152939"/>
                <a:gd name="connsiteX81" fmla="*/ 26554742 w 27542354"/>
                <a:gd name="connsiteY81" fmla="*/ 2052454 h 15152939"/>
                <a:gd name="connsiteX82" fmla="*/ 25751806 w 27542354"/>
                <a:gd name="connsiteY82" fmla="*/ 3806840 h 15152939"/>
                <a:gd name="connsiteX0" fmla="*/ 25751806 w 27542354"/>
                <a:gd name="connsiteY0" fmla="*/ 3806840 h 15152939"/>
                <a:gd name="connsiteX1" fmla="*/ 25950755 w 27542354"/>
                <a:gd name="connsiteY1" fmla="*/ 4946265 h 15152939"/>
                <a:gd name="connsiteX2" fmla="*/ 26439085 w 27542354"/>
                <a:gd name="connsiteY2" fmla="*/ 6103777 h 15152939"/>
                <a:gd name="connsiteX3" fmla="*/ 25824148 w 27542354"/>
                <a:gd name="connsiteY3" fmla="*/ 6827228 h 15152939"/>
                <a:gd name="connsiteX4" fmla="*/ 26619948 w 27542354"/>
                <a:gd name="connsiteY4" fmla="*/ 7840060 h 15152939"/>
                <a:gd name="connsiteX5" fmla="*/ 26312478 w 27542354"/>
                <a:gd name="connsiteY5" fmla="*/ 9666777 h 15152939"/>
                <a:gd name="connsiteX6" fmla="*/ 26402912 w 27542354"/>
                <a:gd name="connsiteY6" fmla="*/ 10643437 h 15152939"/>
                <a:gd name="connsiteX7" fmla="*/ 27542355 w 27542354"/>
                <a:gd name="connsiteY7" fmla="*/ 12005935 h 15152939"/>
                <a:gd name="connsiteX8" fmla="*/ 26089423 w 27542354"/>
                <a:gd name="connsiteY8" fmla="*/ 11975789 h 15152939"/>
                <a:gd name="connsiteX9" fmla="*/ 24473715 w 27542354"/>
                <a:gd name="connsiteY9" fmla="*/ 12090334 h 15152939"/>
                <a:gd name="connsiteX10" fmla="*/ 23135328 w 27542354"/>
                <a:gd name="connsiteY10" fmla="*/ 12222964 h 15152939"/>
                <a:gd name="connsiteX11" fmla="*/ 22261159 w 27542354"/>
                <a:gd name="connsiteY11" fmla="*/ 12934357 h 15152939"/>
                <a:gd name="connsiteX12" fmla="*/ 20826342 w 27542354"/>
                <a:gd name="connsiteY12" fmla="*/ 14369204 h 15152939"/>
                <a:gd name="connsiteX13" fmla="*/ 12952786 w 27542354"/>
                <a:gd name="connsiteY13" fmla="*/ 14960014 h 15152939"/>
                <a:gd name="connsiteX14" fmla="*/ 11934663 w 27542354"/>
                <a:gd name="connsiteY14" fmla="*/ 15008264 h 15152939"/>
                <a:gd name="connsiteX15" fmla="*/ 8506848 w 27542354"/>
                <a:gd name="connsiteY15" fmla="*/ 15152939 h 15152939"/>
                <a:gd name="connsiteX16" fmla="*/ 7985095 w 27542354"/>
                <a:gd name="connsiteY16" fmla="*/ 14507857 h 15152939"/>
                <a:gd name="connsiteX17" fmla="*/ 7400308 w 27542354"/>
                <a:gd name="connsiteY17" fmla="*/ 14477712 h 15152939"/>
                <a:gd name="connsiteX18" fmla="*/ 6972273 w 27542354"/>
                <a:gd name="connsiteY18" fmla="*/ 14749009 h 15152939"/>
                <a:gd name="connsiteX19" fmla="*/ 5181729 w 27542354"/>
                <a:gd name="connsiteY19" fmla="*/ 14664610 h 15152939"/>
                <a:gd name="connsiteX20" fmla="*/ 4397998 w 27542354"/>
                <a:gd name="connsiteY20" fmla="*/ 14031593 h 15152939"/>
                <a:gd name="connsiteX21" fmla="*/ 2908896 w 27542354"/>
                <a:gd name="connsiteY21" fmla="*/ 13223739 h 15152939"/>
                <a:gd name="connsiteX22" fmla="*/ 1263043 w 27542354"/>
                <a:gd name="connsiteY22" fmla="*/ 12512346 h 15152939"/>
                <a:gd name="connsiteX23" fmla="*/ 485320 w 27542354"/>
                <a:gd name="connsiteY23" fmla="*/ 12060189 h 15152939"/>
                <a:gd name="connsiteX24" fmla="*/ 0 w 27542354"/>
                <a:gd name="connsiteY24" fmla="*/ 11767077 h 15152939"/>
                <a:gd name="connsiteX25" fmla="*/ 1003686 w 27542354"/>
                <a:gd name="connsiteY25" fmla="*/ 11021112 h 15152939"/>
                <a:gd name="connsiteX26" fmla="*/ 2902551 w 27542354"/>
                <a:gd name="connsiteY26" fmla="*/ 9836713 h 15152939"/>
                <a:gd name="connsiteX27" fmla="*/ 2558940 w 27542354"/>
                <a:gd name="connsiteY27" fmla="*/ 9303282 h 15152939"/>
                <a:gd name="connsiteX28" fmla="*/ 2402508 w 27542354"/>
                <a:gd name="connsiteY28" fmla="*/ 8616199 h 15152939"/>
                <a:gd name="connsiteX29" fmla="*/ 2730740 w 27542354"/>
                <a:gd name="connsiteY29" fmla="*/ 8589028 h 15152939"/>
                <a:gd name="connsiteX30" fmla="*/ 2947754 w 27542354"/>
                <a:gd name="connsiteY30" fmla="*/ 8118883 h 15152939"/>
                <a:gd name="connsiteX31" fmla="*/ 3499325 w 27542354"/>
                <a:gd name="connsiteY31" fmla="*/ 7675866 h 15152939"/>
                <a:gd name="connsiteX32" fmla="*/ 3680166 w 27542354"/>
                <a:gd name="connsiteY32" fmla="*/ 6798868 h 15152939"/>
                <a:gd name="connsiteX33" fmla="*/ 4186528 w 27542354"/>
                <a:gd name="connsiteY33" fmla="*/ 6807904 h 15152939"/>
                <a:gd name="connsiteX34" fmla="*/ 4837569 w 27542354"/>
                <a:gd name="connsiteY34" fmla="*/ 7278054 h 15152939"/>
                <a:gd name="connsiteX35" fmla="*/ 5352976 w 27542354"/>
                <a:gd name="connsiteY35" fmla="*/ 7196687 h 15152939"/>
                <a:gd name="connsiteX36" fmla="*/ 5741786 w 27542354"/>
                <a:gd name="connsiteY36" fmla="*/ 6825992 h 15152939"/>
                <a:gd name="connsiteX37" fmla="*/ 6157723 w 27542354"/>
                <a:gd name="connsiteY37" fmla="*/ 6663251 h 15152939"/>
                <a:gd name="connsiteX38" fmla="*/ 6745471 w 27542354"/>
                <a:gd name="connsiteY38" fmla="*/ 6093658 h 15152939"/>
                <a:gd name="connsiteX39" fmla="*/ 6890140 w 27542354"/>
                <a:gd name="connsiteY39" fmla="*/ 5243782 h 15152939"/>
                <a:gd name="connsiteX40" fmla="*/ 7568305 w 27542354"/>
                <a:gd name="connsiteY40" fmla="*/ 4674188 h 15152939"/>
                <a:gd name="connsiteX41" fmla="*/ 8137967 w 27542354"/>
                <a:gd name="connsiteY41" fmla="*/ 4231167 h 15152939"/>
                <a:gd name="connsiteX42" fmla="*/ 8463480 w 27542354"/>
                <a:gd name="connsiteY42" fmla="*/ 3426500 h 15152939"/>
                <a:gd name="connsiteX43" fmla="*/ 9024093 w 27542354"/>
                <a:gd name="connsiteY43" fmla="*/ 3073893 h 15152939"/>
                <a:gd name="connsiteX44" fmla="*/ 9675138 w 27542354"/>
                <a:gd name="connsiteY44" fmla="*/ 2721291 h 15152939"/>
                <a:gd name="connsiteX45" fmla="*/ 9558580 w 27542354"/>
                <a:gd name="connsiteY45" fmla="*/ 2173007 h 15152939"/>
                <a:gd name="connsiteX46" fmla="*/ 10353296 w 27542354"/>
                <a:gd name="connsiteY46" fmla="*/ 1500723 h 15152939"/>
                <a:gd name="connsiteX47" fmla="*/ 10832530 w 27542354"/>
                <a:gd name="connsiteY47" fmla="*/ 1428389 h 15152939"/>
                <a:gd name="connsiteX48" fmla="*/ 11058585 w 27542354"/>
                <a:gd name="connsiteY48" fmla="*/ 1880458 h 15152939"/>
                <a:gd name="connsiteX49" fmla="*/ 11411229 w 27542354"/>
                <a:gd name="connsiteY49" fmla="*/ 2260189 h 15152939"/>
                <a:gd name="connsiteX50" fmla="*/ 11998974 w 27542354"/>
                <a:gd name="connsiteY50" fmla="*/ 2341559 h 15152939"/>
                <a:gd name="connsiteX51" fmla="*/ 12315449 w 27542354"/>
                <a:gd name="connsiteY51" fmla="*/ 3001571 h 15152939"/>
                <a:gd name="connsiteX52" fmla="*/ 12785642 w 27542354"/>
                <a:gd name="connsiteY52" fmla="*/ 2820742 h 15152939"/>
                <a:gd name="connsiteX53" fmla="*/ 13671776 w 27542354"/>
                <a:gd name="connsiteY53" fmla="*/ 3272803 h 15152939"/>
                <a:gd name="connsiteX54" fmla="*/ 14123886 w 27542354"/>
                <a:gd name="connsiteY54" fmla="*/ 2974450 h 15152939"/>
                <a:gd name="connsiteX55" fmla="*/ 14259509 w 27542354"/>
                <a:gd name="connsiteY55" fmla="*/ 2404849 h 15152939"/>
                <a:gd name="connsiteX56" fmla="*/ 14892468 w 27542354"/>
                <a:gd name="connsiteY56" fmla="*/ 1762918 h 15152939"/>
                <a:gd name="connsiteX57" fmla="*/ 15778605 w 27542354"/>
                <a:gd name="connsiteY57" fmla="*/ 1211398 h 15152939"/>
                <a:gd name="connsiteX58" fmla="*/ 16022739 w 27542354"/>
                <a:gd name="connsiteY58" fmla="*/ 1681548 h 15152939"/>
                <a:gd name="connsiteX59" fmla="*/ 16013694 w 27542354"/>
                <a:gd name="connsiteY59" fmla="*/ 2169778 h 15152939"/>
                <a:gd name="connsiteX60" fmla="*/ 16556232 w 27542354"/>
                <a:gd name="connsiteY60" fmla="*/ 2260200 h 15152939"/>
                <a:gd name="connsiteX61" fmla="*/ 16863663 w 27542354"/>
                <a:gd name="connsiteY61" fmla="*/ 1744834 h 15152939"/>
                <a:gd name="connsiteX62" fmla="*/ 17406193 w 27542354"/>
                <a:gd name="connsiteY62" fmla="*/ 1410312 h 15152939"/>
                <a:gd name="connsiteX63" fmla="*/ 17623203 w 27542354"/>
                <a:gd name="connsiteY63" fmla="*/ 867840 h 15152939"/>
                <a:gd name="connsiteX64" fmla="*/ 18120524 w 27542354"/>
                <a:gd name="connsiteY64" fmla="*/ 831675 h 15152939"/>
                <a:gd name="connsiteX65" fmla="*/ 18201903 w 27542354"/>
                <a:gd name="connsiteY65" fmla="*/ 542358 h 15152939"/>
                <a:gd name="connsiteX66" fmla="*/ 18744437 w 27542354"/>
                <a:gd name="connsiteY66" fmla="*/ 117414 h 15152939"/>
                <a:gd name="connsiteX67" fmla="*/ 19443290 w 27542354"/>
                <a:gd name="connsiteY67" fmla="*/ 0 h 15152939"/>
                <a:gd name="connsiteX68" fmla="*/ 19982300 w 27542354"/>
                <a:gd name="connsiteY68" fmla="*/ 460880 h 15152939"/>
                <a:gd name="connsiteX69" fmla="*/ 19530143 w 27542354"/>
                <a:gd name="connsiteY69" fmla="*/ 913038 h 15152939"/>
                <a:gd name="connsiteX70" fmla="*/ 19837609 w 27542354"/>
                <a:gd name="connsiteY70" fmla="*/ 1238588 h 15152939"/>
                <a:gd name="connsiteX71" fmla="*/ 20886614 w 27542354"/>
                <a:gd name="connsiteY71" fmla="*/ 1546055 h 15152939"/>
                <a:gd name="connsiteX72" fmla="*/ 21881359 w 27542354"/>
                <a:gd name="connsiteY72" fmla="*/ 1889694 h 15152939"/>
                <a:gd name="connsiteX73" fmla="*/ 21772837 w 27542354"/>
                <a:gd name="connsiteY73" fmla="*/ 2269505 h 15152939"/>
                <a:gd name="connsiteX74" fmla="*/ 21537712 w 27542354"/>
                <a:gd name="connsiteY74" fmla="*/ 2884438 h 15152939"/>
                <a:gd name="connsiteX75" fmla="*/ 21996067 w 27542354"/>
                <a:gd name="connsiteY75" fmla="*/ 2911656 h 15152939"/>
                <a:gd name="connsiteX76" fmla="*/ 22478203 w 27542354"/>
                <a:gd name="connsiteY76" fmla="*/ 2414189 h 15152939"/>
                <a:gd name="connsiteX77" fmla="*/ 23888932 w 27542354"/>
                <a:gd name="connsiteY77" fmla="*/ 1998212 h 15152939"/>
                <a:gd name="connsiteX78" fmla="*/ 25010275 w 27542354"/>
                <a:gd name="connsiteY78" fmla="*/ 695990 h 15152939"/>
                <a:gd name="connsiteX79" fmla="*/ 26402920 w 27542354"/>
                <a:gd name="connsiteY79" fmla="*/ 876857 h 15152939"/>
                <a:gd name="connsiteX80" fmla="*/ 26554742 w 27542354"/>
                <a:gd name="connsiteY80" fmla="*/ 2052454 h 15152939"/>
                <a:gd name="connsiteX81" fmla="*/ 25751806 w 27542354"/>
                <a:gd name="connsiteY81" fmla="*/ 3806840 h 15152939"/>
                <a:gd name="connsiteX0" fmla="*/ 25751806 w 27542354"/>
                <a:gd name="connsiteY0" fmla="*/ 3806840 h 15152939"/>
                <a:gd name="connsiteX1" fmla="*/ 25950755 w 27542354"/>
                <a:gd name="connsiteY1" fmla="*/ 4946265 h 15152939"/>
                <a:gd name="connsiteX2" fmla="*/ 26439085 w 27542354"/>
                <a:gd name="connsiteY2" fmla="*/ 6103777 h 15152939"/>
                <a:gd name="connsiteX3" fmla="*/ 25824148 w 27542354"/>
                <a:gd name="connsiteY3" fmla="*/ 6827228 h 15152939"/>
                <a:gd name="connsiteX4" fmla="*/ 26619948 w 27542354"/>
                <a:gd name="connsiteY4" fmla="*/ 7840060 h 15152939"/>
                <a:gd name="connsiteX5" fmla="*/ 26312478 w 27542354"/>
                <a:gd name="connsiteY5" fmla="*/ 9666777 h 15152939"/>
                <a:gd name="connsiteX6" fmla="*/ 26402912 w 27542354"/>
                <a:gd name="connsiteY6" fmla="*/ 10643437 h 15152939"/>
                <a:gd name="connsiteX7" fmla="*/ 27542355 w 27542354"/>
                <a:gd name="connsiteY7" fmla="*/ 12005935 h 15152939"/>
                <a:gd name="connsiteX8" fmla="*/ 26089423 w 27542354"/>
                <a:gd name="connsiteY8" fmla="*/ 11975789 h 15152939"/>
                <a:gd name="connsiteX9" fmla="*/ 24473715 w 27542354"/>
                <a:gd name="connsiteY9" fmla="*/ 12090334 h 15152939"/>
                <a:gd name="connsiteX10" fmla="*/ 23135328 w 27542354"/>
                <a:gd name="connsiteY10" fmla="*/ 12222964 h 15152939"/>
                <a:gd name="connsiteX11" fmla="*/ 22261159 w 27542354"/>
                <a:gd name="connsiteY11" fmla="*/ 12934357 h 15152939"/>
                <a:gd name="connsiteX12" fmla="*/ 20826342 w 27542354"/>
                <a:gd name="connsiteY12" fmla="*/ 14369204 h 15152939"/>
                <a:gd name="connsiteX13" fmla="*/ 12952786 w 27542354"/>
                <a:gd name="connsiteY13" fmla="*/ 14960014 h 15152939"/>
                <a:gd name="connsiteX14" fmla="*/ 11934663 w 27542354"/>
                <a:gd name="connsiteY14" fmla="*/ 15008264 h 15152939"/>
                <a:gd name="connsiteX15" fmla="*/ 8506848 w 27542354"/>
                <a:gd name="connsiteY15" fmla="*/ 15152939 h 15152939"/>
                <a:gd name="connsiteX16" fmla="*/ 7985095 w 27542354"/>
                <a:gd name="connsiteY16" fmla="*/ 14507857 h 15152939"/>
                <a:gd name="connsiteX17" fmla="*/ 7400308 w 27542354"/>
                <a:gd name="connsiteY17" fmla="*/ 14477712 h 15152939"/>
                <a:gd name="connsiteX18" fmla="*/ 6972273 w 27542354"/>
                <a:gd name="connsiteY18" fmla="*/ 14749009 h 15152939"/>
                <a:gd name="connsiteX19" fmla="*/ 5181729 w 27542354"/>
                <a:gd name="connsiteY19" fmla="*/ 14664610 h 15152939"/>
                <a:gd name="connsiteX20" fmla="*/ 4397998 w 27542354"/>
                <a:gd name="connsiteY20" fmla="*/ 14031593 h 15152939"/>
                <a:gd name="connsiteX21" fmla="*/ 2908896 w 27542354"/>
                <a:gd name="connsiteY21" fmla="*/ 13223739 h 15152939"/>
                <a:gd name="connsiteX22" fmla="*/ 1263043 w 27542354"/>
                <a:gd name="connsiteY22" fmla="*/ 12512346 h 15152939"/>
                <a:gd name="connsiteX23" fmla="*/ 485320 w 27542354"/>
                <a:gd name="connsiteY23" fmla="*/ 12060189 h 15152939"/>
                <a:gd name="connsiteX24" fmla="*/ 0 w 27542354"/>
                <a:gd name="connsiteY24" fmla="*/ 11767077 h 15152939"/>
                <a:gd name="connsiteX25" fmla="*/ 1003686 w 27542354"/>
                <a:gd name="connsiteY25" fmla="*/ 11021112 h 15152939"/>
                <a:gd name="connsiteX26" fmla="*/ 2902551 w 27542354"/>
                <a:gd name="connsiteY26" fmla="*/ 9836713 h 15152939"/>
                <a:gd name="connsiteX27" fmla="*/ 2558940 w 27542354"/>
                <a:gd name="connsiteY27" fmla="*/ 9303282 h 15152939"/>
                <a:gd name="connsiteX28" fmla="*/ 2402508 w 27542354"/>
                <a:gd name="connsiteY28" fmla="*/ 8616199 h 15152939"/>
                <a:gd name="connsiteX29" fmla="*/ 2730740 w 27542354"/>
                <a:gd name="connsiteY29" fmla="*/ 8589028 h 15152939"/>
                <a:gd name="connsiteX30" fmla="*/ 2947754 w 27542354"/>
                <a:gd name="connsiteY30" fmla="*/ 8118883 h 15152939"/>
                <a:gd name="connsiteX31" fmla="*/ 3499325 w 27542354"/>
                <a:gd name="connsiteY31" fmla="*/ 7675866 h 15152939"/>
                <a:gd name="connsiteX32" fmla="*/ 3680166 w 27542354"/>
                <a:gd name="connsiteY32" fmla="*/ 6798868 h 15152939"/>
                <a:gd name="connsiteX33" fmla="*/ 4186528 w 27542354"/>
                <a:gd name="connsiteY33" fmla="*/ 6807904 h 15152939"/>
                <a:gd name="connsiteX34" fmla="*/ 4837569 w 27542354"/>
                <a:gd name="connsiteY34" fmla="*/ 7278054 h 15152939"/>
                <a:gd name="connsiteX35" fmla="*/ 5352976 w 27542354"/>
                <a:gd name="connsiteY35" fmla="*/ 7196687 h 15152939"/>
                <a:gd name="connsiteX36" fmla="*/ 5741786 w 27542354"/>
                <a:gd name="connsiteY36" fmla="*/ 6825992 h 15152939"/>
                <a:gd name="connsiteX37" fmla="*/ 6157723 w 27542354"/>
                <a:gd name="connsiteY37" fmla="*/ 6663251 h 15152939"/>
                <a:gd name="connsiteX38" fmla="*/ 6745471 w 27542354"/>
                <a:gd name="connsiteY38" fmla="*/ 6093658 h 15152939"/>
                <a:gd name="connsiteX39" fmla="*/ 6890140 w 27542354"/>
                <a:gd name="connsiteY39" fmla="*/ 5243782 h 15152939"/>
                <a:gd name="connsiteX40" fmla="*/ 7568305 w 27542354"/>
                <a:gd name="connsiteY40" fmla="*/ 4674188 h 15152939"/>
                <a:gd name="connsiteX41" fmla="*/ 8137967 w 27542354"/>
                <a:gd name="connsiteY41" fmla="*/ 4231167 h 15152939"/>
                <a:gd name="connsiteX42" fmla="*/ 8463480 w 27542354"/>
                <a:gd name="connsiteY42" fmla="*/ 3426500 h 15152939"/>
                <a:gd name="connsiteX43" fmla="*/ 9024093 w 27542354"/>
                <a:gd name="connsiteY43" fmla="*/ 3073893 h 15152939"/>
                <a:gd name="connsiteX44" fmla="*/ 9675138 w 27542354"/>
                <a:gd name="connsiteY44" fmla="*/ 2721291 h 15152939"/>
                <a:gd name="connsiteX45" fmla="*/ 9558580 w 27542354"/>
                <a:gd name="connsiteY45" fmla="*/ 2173007 h 15152939"/>
                <a:gd name="connsiteX46" fmla="*/ 10353296 w 27542354"/>
                <a:gd name="connsiteY46" fmla="*/ 1500723 h 15152939"/>
                <a:gd name="connsiteX47" fmla="*/ 10832530 w 27542354"/>
                <a:gd name="connsiteY47" fmla="*/ 1428389 h 15152939"/>
                <a:gd name="connsiteX48" fmla="*/ 11058585 w 27542354"/>
                <a:gd name="connsiteY48" fmla="*/ 1880458 h 15152939"/>
                <a:gd name="connsiteX49" fmla="*/ 11411229 w 27542354"/>
                <a:gd name="connsiteY49" fmla="*/ 2260189 h 15152939"/>
                <a:gd name="connsiteX50" fmla="*/ 11998974 w 27542354"/>
                <a:gd name="connsiteY50" fmla="*/ 2341559 h 15152939"/>
                <a:gd name="connsiteX51" fmla="*/ 12315449 w 27542354"/>
                <a:gd name="connsiteY51" fmla="*/ 3001571 h 15152939"/>
                <a:gd name="connsiteX52" fmla="*/ 12785642 w 27542354"/>
                <a:gd name="connsiteY52" fmla="*/ 2820742 h 15152939"/>
                <a:gd name="connsiteX53" fmla="*/ 13671776 w 27542354"/>
                <a:gd name="connsiteY53" fmla="*/ 3272803 h 15152939"/>
                <a:gd name="connsiteX54" fmla="*/ 14123886 w 27542354"/>
                <a:gd name="connsiteY54" fmla="*/ 2974450 h 15152939"/>
                <a:gd name="connsiteX55" fmla="*/ 14259509 w 27542354"/>
                <a:gd name="connsiteY55" fmla="*/ 2404849 h 15152939"/>
                <a:gd name="connsiteX56" fmla="*/ 14892468 w 27542354"/>
                <a:gd name="connsiteY56" fmla="*/ 1762918 h 15152939"/>
                <a:gd name="connsiteX57" fmla="*/ 15778605 w 27542354"/>
                <a:gd name="connsiteY57" fmla="*/ 1211398 h 15152939"/>
                <a:gd name="connsiteX58" fmla="*/ 16022739 w 27542354"/>
                <a:gd name="connsiteY58" fmla="*/ 1681548 h 15152939"/>
                <a:gd name="connsiteX59" fmla="*/ 16013694 w 27542354"/>
                <a:gd name="connsiteY59" fmla="*/ 2169778 h 15152939"/>
                <a:gd name="connsiteX60" fmla="*/ 16556232 w 27542354"/>
                <a:gd name="connsiteY60" fmla="*/ 2260200 h 15152939"/>
                <a:gd name="connsiteX61" fmla="*/ 16863663 w 27542354"/>
                <a:gd name="connsiteY61" fmla="*/ 1744834 h 15152939"/>
                <a:gd name="connsiteX62" fmla="*/ 17406193 w 27542354"/>
                <a:gd name="connsiteY62" fmla="*/ 1410312 h 15152939"/>
                <a:gd name="connsiteX63" fmla="*/ 17623203 w 27542354"/>
                <a:gd name="connsiteY63" fmla="*/ 867840 h 15152939"/>
                <a:gd name="connsiteX64" fmla="*/ 18120524 w 27542354"/>
                <a:gd name="connsiteY64" fmla="*/ 831675 h 15152939"/>
                <a:gd name="connsiteX65" fmla="*/ 18201903 w 27542354"/>
                <a:gd name="connsiteY65" fmla="*/ 542358 h 15152939"/>
                <a:gd name="connsiteX66" fmla="*/ 18744437 w 27542354"/>
                <a:gd name="connsiteY66" fmla="*/ 117414 h 15152939"/>
                <a:gd name="connsiteX67" fmla="*/ 19443290 w 27542354"/>
                <a:gd name="connsiteY67" fmla="*/ 0 h 15152939"/>
                <a:gd name="connsiteX68" fmla="*/ 19982300 w 27542354"/>
                <a:gd name="connsiteY68" fmla="*/ 460880 h 15152939"/>
                <a:gd name="connsiteX69" fmla="*/ 19530143 w 27542354"/>
                <a:gd name="connsiteY69" fmla="*/ 913038 h 15152939"/>
                <a:gd name="connsiteX70" fmla="*/ 19837609 w 27542354"/>
                <a:gd name="connsiteY70" fmla="*/ 1238588 h 15152939"/>
                <a:gd name="connsiteX71" fmla="*/ 20886614 w 27542354"/>
                <a:gd name="connsiteY71" fmla="*/ 1546055 h 15152939"/>
                <a:gd name="connsiteX72" fmla="*/ 21881359 w 27542354"/>
                <a:gd name="connsiteY72" fmla="*/ 1889694 h 15152939"/>
                <a:gd name="connsiteX73" fmla="*/ 21772837 w 27542354"/>
                <a:gd name="connsiteY73" fmla="*/ 2269505 h 15152939"/>
                <a:gd name="connsiteX74" fmla="*/ 21537712 w 27542354"/>
                <a:gd name="connsiteY74" fmla="*/ 2884438 h 15152939"/>
                <a:gd name="connsiteX75" fmla="*/ 22478203 w 27542354"/>
                <a:gd name="connsiteY75" fmla="*/ 2414189 h 15152939"/>
                <a:gd name="connsiteX76" fmla="*/ 23888932 w 27542354"/>
                <a:gd name="connsiteY76" fmla="*/ 1998212 h 15152939"/>
                <a:gd name="connsiteX77" fmla="*/ 25010275 w 27542354"/>
                <a:gd name="connsiteY77" fmla="*/ 695990 h 15152939"/>
                <a:gd name="connsiteX78" fmla="*/ 26402920 w 27542354"/>
                <a:gd name="connsiteY78" fmla="*/ 876857 h 15152939"/>
                <a:gd name="connsiteX79" fmla="*/ 26554742 w 27542354"/>
                <a:gd name="connsiteY79" fmla="*/ 2052454 h 15152939"/>
                <a:gd name="connsiteX80" fmla="*/ 25751806 w 27542354"/>
                <a:gd name="connsiteY80" fmla="*/ 3806840 h 15152939"/>
                <a:gd name="connsiteX0" fmla="*/ 25751806 w 27542354"/>
                <a:gd name="connsiteY0" fmla="*/ 3806840 h 15152939"/>
                <a:gd name="connsiteX1" fmla="*/ 25950755 w 27542354"/>
                <a:gd name="connsiteY1" fmla="*/ 4946265 h 15152939"/>
                <a:gd name="connsiteX2" fmla="*/ 26439085 w 27542354"/>
                <a:gd name="connsiteY2" fmla="*/ 6103777 h 15152939"/>
                <a:gd name="connsiteX3" fmla="*/ 25824148 w 27542354"/>
                <a:gd name="connsiteY3" fmla="*/ 6827228 h 15152939"/>
                <a:gd name="connsiteX4" fmla="*/ 26619948 w 27542354"/>
                <a:gd name="connsiteY4" fmla="*/ 7840060 h 15152939"/>
                <a:gd name="connsiteX5" fmla="*/ 26312478 w 27542354"/>
                <a:gd name="connsiteY5" fmla="*/ 9666777 h 15152939"/>
                <a:gd name="connsiteX6" fmla="*/ 26402912 w 27542354"/>
                <a:gd name="connsiteY6" fmla="*/ 10643437 h 15152939"/>
                <a:gd name="connsiteX7" fmla="*/ 27542355 w 27542354"/>
                <a:gd name="connsiteY7" fmla="*/ 12005935 h 15152939"/>
                <a:gd name="connsiteX8" fmla="*/ 26089423 w 27542354"/>
                <a:gd name="connsiteY8" fmla="*/ 11975789 h 15152939"/>
                <a:gd name="connsiteX9" fmla="*/ 24473715 w 27542354"/>
                <a:gd name="connsiteY9" fmla="*/ 12090334 h 15152939"/>
                <a:gd name="connsiteX10" fmla="*/ 23135328 w 27542354"/>
                <a:gd name="connsiteY10" fmla="*/ 12222964 h 15152939"/>
                <a:gd name="connsiteX11" fmla="*/ 22261159 w 27542354"/>
                <a:gd name="connsiteY11" fmla="*/ 12934357 h 15152939"/>
                <a:gd name="connsiteX12" fmla="*/ 20826342 w 27542354"/>
                <a:gd name="connsiteY12" fmla="*/ 14369204 h 15152939"/>
                <a:gd name="connsiteX13" fmla="*/ 12952786 w 27542354"/>
                <a:gd name="connsiteY13" fmla="*/ 14960014 h 15152939"/>
                <a:gd name="connsiteX14" fmla="*/ 11934663 w 27542354"/>
                <a:gd name="connsiteY14" fmla="*/ 15008264 h 15152939"/>
                <a:gd name="connsiteX15" fmla="*/ 8506848 w 27542354"/>
                <a:gd name="connsiteY15" fmla="*/ 15152939 h 15152939"/>
                <a:gd name="connsiteX16" fmla="*/ 7985095 w 27542354"/>
                <a:gd name="connsiteY16" fmla="*/ 14507857 h 15152939"/>
                <a:gd name="connsiteX17" fmla="*/ 7400308 w 27542354"/>
                <a:gd name="connsiteY17" fmla="*/ 14477712 h 15152939"/>
                <a:gd name="connsiteX18" fmla="*/ 6972273 w 27542354"/>
                <a:gd name="connsiteY18" fmla="*/ 14749009 h 15152939"/>
                <a:gd name="connsiteX19" fmla="*/ 5181729 w 27542354"/>
                <a:gd name="connsiteY19" fmla="*/ 14664610 h 15152939"/>
                <a:gd name="connsiteX20" fmla="*/ 4397998 w 27542354"/>
                <a:gd name="connsiteY20" fmla="*/ 14031593 h 15152939"/>
                <a:gd name="connsiteX21" fmla="*/ 2908896 w 27542354"/>
                <a:gd name="connsiteY21" fmla="*/ 13223739 h 15152939"/>
                <a:gd name="connsiteX22" fmla="*/ 1263043 w 27542354"/>
                <a:gd name="connsiteY22" fmla="*/ 12512346 h 15152939"/>
                <a:gd name="connsiteX23" fmla="*/ 485320 w 27542354"/>
                <a:gd name="connsiteY23" fmla="*/ 12060189 h 15152939"/>
                <a:gd name="connsiteX24" fmla="*/ 0 w 27542354"/>
                <a:gd name="connsiteY24" fmla="*/ 11767077 h 15152939"/>
                <a:gd name="connsiteX25" fmla="*/ 1003686 w 27542354"/>
                <a:gd name="connsiteY25" fmla="*/ 11021112 h 15152939"/>
                <a:gd name="connsiteX26" fmla="*/ 2902551 w 27542354"/>
                <a:gd name="connsiteY26" fmla="*/ 9836713 h 15152939"/>
                <a:gd name="connsiteX27" fmla="*/ 2558940 w 27542354"/>
                <a:gd name="connsiteY27" fmla="*/ 9303282 h 15152939"/>
                <a:gd name="connsiteX28" fmla="*/ 2402508 w 27542354"/>
                <a:gd name="connsiteY28" fmla="*/ 8616199 h 15152939"/>
                <a:gd name="connsiteX29" fmla="*/ 2730740 w 27542354"/>
                <a:gd name="connsiteY29" fmla="*/ 8589028 h 15152939"/>
                <a:gd name="connsiteX30" fmla="*/ 2947754 w 27542354"/>
                <a:gd name="connsiteY30" fmla="*/ 8118883 h 15152939"/>
                <a:gd name="connsiteX31" fmla="*/ 3499325 w 27542354"/>
                <a:gd name="connsiteY31" fmla="*/ 7675866 h 15152939"/>
                <a:gd name="connsiteX32" fmla="*/ 3680166 w 27542354"/>
                <a:gd name="connsiteY32" fmla="*/ 6798868 h 15152939"/>
                <a:gd name="connsiteX33" fmla="*/ 4186528 w 27542354"/>
                <a:gd name="connsiteY33" fmla="*/ 6807904 h 15152939"/>
                <a:gd name="connsiteX34" fmla="*/ 4837569 w 27542354"/>
                <a:gd name="connsiteY34" fmla="*/ 7278054 h 15152939"/>
                <a:gd name="connsiteX35" fmla="*/ 5352976 w 27542354"/>
                <a:gd name="connsiteY35" fmla="*/ 7196687 h 15152939"/>
                <a:gd name="connsiteX36" fmla="*/ 5741786 w 27542354"/>
                <a:gd name="connsiteY36" fmla="*/ 6825992 h 15152939"/>
                <a:gd name="connsiteX37" fmla="*/ 6157723 w 27542354"/>
                <a:gd name="connsiteY37" fmla="*/ 6663251 h 15152939"/>
                <a:gd name="connsiteX38" fmla="*/ 6745471 w 27542354"/>
                <a:gd name="connsiteY38" fmla="*/ 6093658 h 15152939"/>
                <a:gd name="connsiteX39" fmla="*/ 6890140 w 27542354"/>
                <a:gd name="connsiteY39" fmla="*/ 5243782 h 15152939"/>
                <a:gd name="connsiteX40" fmla="*/ 7568305 w 27542354"/>
                <a:gd name="connsiteY40" fmla="*/ 4674188 h 15152939"/>
                <a:gd name="connsiteX41" fmla="*/ 8137967 w 27542354"/>
                <a:gd name="connsiteY41" fmla="*/ 4231167 h 15152939"/>
                <a:gd name="connsiteX42" fmla="*/ 8463480 w 27542354"/>
                <a:gd name="connsiteY42" fmla="*/ 3426500 h 15152939"/>
                <a:gd name="connsiteX43" fmla="*/ 9024093 w 27542354"/>
                <a:gd name="connsiteY43" fmla="*/ 3073893 h 15152939"/>
                <a:gd name="connsiteX44" fmla="*/ 9675138 w 27542354"/>
                <a:gd name="connsiteY44" fmla="*/ 2721291 h 15152939"/>
                <a:gd name="connsiteX45" fmla="*/ 9558580 w 27542354"/>
                <a:gd name="connsiteY45" fmla="*/ 2173007 h 15152939"/>
                <a:gd name="connsiteX46" fmla="*/ 10353296 w 27542354"/>
                <a:gd name="connsiteY46" fmla="*/ 1500723 h 15152939"/>
                <a:gd name="connsiteX47" fmla="*/ 10832530 w 27542354"/>
                <a:gd name="connsiteY47" fmla="*/ 1428389 h 15152939"/>
                <a:gd name="connsiteX48" fmla="*/ 11058585 w 27542354"/>
                <a:gd name="connsiteY48" fmla="*/ 1880458 h 15152939"/>
                <a:gd name="connsiteX49" fmla="*/ 11411229 w 27542354"/>
                <a:gd name="connsiteY49" fmla="*/ 2260189 h 15152939"/>
                <a:gd name="connsiteX50" fmla="*/ 11998974 w 27542354"/>
                <a:gd name="connsiteY50" fmla="*/ 2341559 h 15152939"/>
                <a:gd name="connsiteX51" fmla="*/ 12315449 w 27542354"/>
                <a:gd name="connsiteY51" fmla="*/ 3001571 h 15152939"/>
                <a:gd name="connsiteX52" fmla="*/ 12785642 w 27542354"/>
                <a:gd name="connsiteY52" fmla="*/ 2820742 h 15152939"/>
                <a:gd name="connsiteX53" fmla="*/ 13671776 w 27542354"/>
                <a:gd name="connsiteY53" fmla="*/ 3272803 h 15152939"/>
                <a:gd name="connsiteX54" fmla="*/ 14123886 w 27542354"/>
                <a:gd name="connsiteY54" fmla="*/ 2974450 h 15152939"/>
                <a:gd name="connsiteX55" fmla="*/ 14259509 w 27542354"/>
                <a:gd name="connsiteY55" fmla="*/ 2404849 h 15152939"/>
                <a:gd name="connsiteX56" fmla="*/ 14892468 w 27542354"/>
                <a:gd name="connsiteY56" fmla="*/ 1762918 h 15152939"/>
                <a:gd name="connsiteX57" fmla="*/ 15778605 w 27542354"/>
                <a:gd name="connsiteY57" fmla="*/ 1211398 h 15152939"/>
                <a:gd name="connsiteX58" fmla="*/ 16022739 w 27542354"/>
                <a:gd name="connsiteY58" fmla="*/ 1681548 h 15152939"/>
                <a:gd name="connsiteX59" fmla="*/ 16013694 w 27542354"/>
                <a:gd name="connsiteY59" fmla="*/ 2169778 h 15152939"/>
                <a:gd name="connsiteX60" fmla="*/ 16556232 w 27542354"/>
                <a:gd name="connsiteY60" fmla="*/ 2260200 h 15152939"/>
                <a:gd name="connsiteX61" fmla="*/ 16863663 w 27542354"/>
                <a:gd name="connsiteY61" fmla="*/ 1744834 h 15152939"/>
                <a:gd name="connsiteX62" fmla="*/ 17406193 w 27542354"/>
                <a:gd name="connsiteY62" fmla="*/ 1410312 h 15152939"/>
                <a:gd name="connsiteX63" fmla="*/ 17623203 w 27542354"/>
                <a:gd name="connsiteY63" fmla="*/ 867840 h 15152939"/>
                <a:gd name="connsiteX64" fmla="*/ 18120524 w 27542354"/>
                <a:gd name="connsiteY64" fmla="*/ 831675 h 15152939"/>
                <a:gd name="connsiteX65" fmla="*/ 18201903 w 27542354"/>
                <a:gd name="connsiteY65" fmla="*/ 542358 h 15152939"/>
                <a:gd name="connsiteX66" fmla="*/ 18744437 w 27542354"/>
                <a:gd name="connsiteY66" fmla="*/ 117414 h 15152939"/>
                <a:gd name="connsiteX67" fmla="*/ 19443290 w 27542354"/>
                <a:gd name="connsiteY67" fmla="*/ 0 h 15152939"/>
                <a:gd name="connsiteX68" fmla="*/ 19982300 w 27542354"/>
                <a:gd name="connsiteY68" fmla="*/ 460880 h 15152939"/>
                <a:gd name="connsiteX69" fmla="*/ 19530143 w 27542354"/>
                <a:gd name="connsiteY69" fmla="*/ 913038 h 15152939"/>
                <a:gd name="connsiteX70" fmla="*/ 19837609 w 27542354"/>
                <a:gd name="connsiteY70" fmla="*/ 1238588 h 15152939"/>
                <a:gd name="connsiteX71" fmla="*/ 20886614 w 27542354"/>
                <a:gd name="connsiteY71" fmla="*/ 1546055 h 15152939"/>
                <a:gd name="connsiteX72" fmla="*/ 21881359 w 27542354"/>
                <a:gd name="connsiteY72" fmla="*/ 1889694 h 15152939"/>
                <a:gd name="connsiteX73" fmla="*/ 21537712 w 27542354"/>
                <a:gd name="connsiteY73" fmla="*/ 2884438 h 15152939"/>
                <a:gd name="connsiteX74" fmla="*/ 22478203 w 27542354"/>
                <a:gd name="connsiteY74" fmla="*/ 2414189 h 15152939"/>
                <a:gd name="connsiteX75" fmla="*/ 23888932 w 27542354"/>
                <a:gd name="connsiteY75" fmla="*/ 1998212 h 15152939"/>
                <a:gd name="connsiteX76" fmla="*/ 25010275 w 27542354"/>
                <a:gd name="connsiteY76" fmla="*/ 695990 h 15152939"/>
                <a:gd name="connsiteX77" fmla="*/ 26402920 w 27542354"/>
                <a:gd name="connsiteY77" fmla="*/ 876857 h 15152939"/>
                <a:gd name="connsiteX78" fmla="*/ 26554742 w 27542354"/>
                <a:gd name="connsiteY78" fmla="*/ 2052454 h 15152939"/>
                <a:gd name="connsiteX79" fmla="*/ 25751806 w 27542354"/>
                <a:gd name="connsiteY79" fmla="*/ 3806840 h 15152939"/>
                <a:gd name="connsiteX0" fmla="*/ 25751806 w 27542354"/>
                <a:gd name="connsiteY0" fmla="*/ 3806840 h 15152939"/>
                <a:gd name="connsiteX1" fmla="*/ 25950755 w 27542354"/>
                <a:gd name="connsiteY1" fmla="*/ 4946265 h 15152939"/>
                <a:gd name="connsiteX2" fmla="*/ 26439085 w 27542354"/>
                <a:gd name="connsiteY2" fmla="*/ 6103777 h 15152939"/>
                <a:gd name="connsiteX3" fmla="*/ 25824148 w 27542354"/>
                <a:gd name="connsiteY3" fmla="*/ 6827228 h 15152939"/>
                <a:gd name="connsiteX4" fmla="*/ 26619948 w 27542354"/>
                <a:gd name="connsiteY4" fmla="*/ 7840060 h 15152939"/>
                <a:gd name="connsiteX5" fmla="*/ 26312478 w 27542354"/>
                <a:gd name="connsiteY5" fmla="*/ 9666777 h 15152939"/>
                <a:gd name="connsiteX6" fmla="*/ 26402912 w 27542354"/>
                <a:gd name="connsiteY6" fmla="*/ 10643437 h 15152939"/>
                <a:gd name="connsiteX7" fmla="*/ 27542355 w 27542354"/>
                <a:gd name="connsiteY7" fmla="*/ 12005935 h 15152939"/>
                <a:gd name="connsiteX8" fmla="*/ 26089423 w 27542354"/>
                <a:gd name="connsiteY8" fmla="*/ 11975789 h 15152939"/>
                <a:gd name="connsiteX9" fmla="*/ 24473715 w 27542354"/>
                <a:gd name="connsiteY9" fmla="*/ 12090334 h 15152939"/>
                <a:gd name="connsiteX10" fmla="*/ 23135328 w 27542354"/>
                <a:gd name="connsiteY10" fmla="*/ 12222964 h 15152939"/>
                <a:gd name="connsiteX11" fmla="*/ 22261159 w 27542354"/>
                <a:gd name="connsiteY11" fmla="*/ 12934357 h 15152939"/>
                <a:gd name="connsiteX12" fmla="*/ 20826342 w 27542354"/>
                <a:gd name="connsiteY12" fmla="*/ 14369204 h 15152939"/>
                <a:gd name="connsiteX13" fmla="*/ 12952786 w 27542354"/>
                <a:gd name="connsiteY13" fmla="*/ 14960014 h 15152939"/>
                <a:gd name="connsiteX14" fmla="*/ 11934663 w 27542354"/>
                <a:gd name="connsiteY14" fmla="*/ 15008264 h 15152939"/>
                <a:gd name="connsiteX15" fmla="*/ 8506848 w 27542354"/>
                <a:gd name="connsiteY15" fmla="*/ 15152939 h 15152939"/>
                <a:gd name="connsiteX16" fmla="*/ 7985095 w 27542354"/>
                <a:gd name="connsiteY16" fmla="*/ 14507857 h 15152939"/>
                <a:gd name="connsiteX17" fmla="*/ 7400308 w 27542354"/>
                <a:gd name="connsiteY17" fmla="*/ 14477712 h 15152939"/>
                <a:gd name="connsiteX18" fmla="*/ 6972273 w 27542354"/>
                <a:gd name="connsiteY18" fmla="*/ 14749009 h 15152939"/>
                <a:gd name="connsiteX19" fmla="*/ 5181729 w 27542354"/>
                <a:gd name="connsiteY19" fmla="*/ 14664610 h 15152939"/>
                <a:gd name="connsiteX20" fmla="*/ 4397998 w 27542354"/>
                <a:gd name="connsiteY20" fmla="*/ 14031593 h 15152939"/>
                <a:gd name="connsiteX21" fmla="*/ 2908896 w 27542354"/>
                <a:gd name="connsiteY21" fmla="*/ 13223739 h 15152939"/>
                <a:gd name="connsiteX22" fmla="*/ 1263043 w 27542354"/>
                <a:gd name="connsiteY22" fmla="*/ 12512346 h 15152939"/>
                <a:gd name="connsiteX23" fmla="*/ 485320 w 27542354"/>
                <a:gd name="connsiteY23" fmla="*/ 12060189 h 15152939"/>
                <a:gd name="connsiteX24" fmla="*/ 0 w 27542354"/>
                <a:gd name="connsiteY24" fmla="*/ 11767077 h 15152939"/>
                <a:gd name="connsiteX25" fmla="*/ 1003686 w 27542354"/>
                <a:gd name="connsiteY25" fmla="*/ 11021112 h 15152939"/>
                <a:gd name="connsiteX26" fmla="*/ 2902551 w 27542354"/>
                <a:gd name="connsiteY26" fmla="*/ 9836713 h 15152939"/>
                <a:gd name="connsiteX27" fmla="*/ 2558940 w 27542354"/>
                <a:gd name="connsiteY27" fmla="*/ 9303282 h 15152939"/>
                <a:gd name="connsiteX28" fmla="*/ 2402508 w 27542354"/>
                <a:gd name="connsiteY28" fmla="*/ 8616199 h 15152939"/>
                <a:gd name="connsiteX29" fmla="*/ 2730740 w 27542354"/>
                <a:gd name="connsiteY29" fmla="*/ 8589028 h 15152939"/>
                <a:gd name="connsiteX30" fmla="*/ 2947754 w 27542354"/>
                <a:gd name="connsiteY30" fmla="*/ 8118883 h 15152939"/>
                <a:gd name="connsiteX31" fmla="*/ 3499325 w 27542354"/>
                <a:gd name="connsiteY31" fmla="*/ 7675866 h 15152939"/>
                <a:gd name="connsiteX32" fmla="*/ 3680166 w 27542354"/>
                <a:gd name="connsiteY32" fmla="*/ 6798868 h 15152939"/>
                <a:gd name="connsiteX33" fmla="*/ 4186528 w 27542354"/>
                <a:gd name="connsiteY33" fmla="*/ 6807904 h 15152939"/>
                <a:gd name="connsiteX34" fmla="*/ 4837569 w 27542354"/>
                <a:gd name="connsiteY34" fmla="*/ 7278054 h 15152939"/>
                <a:gd name="connsiteX35" fmla="*/ 5352976 w 27542354"/>
                <a:gd name="connsiteY35" fmla="*/ 7196687 h 15152939"/>
                <a:gd name="connsiteX36" fmla="*/ 5741786 w 27542354"/>
                <a:gd name="connsiteY36" fmla="*/ 6825992 h 15152939"/>
                <a:gd name="connsiteX37" fmla="*/ 6157723 w 27542354"/>
                <a:gd name="connsiteY37" fmla="*/ 6663251 h 15152939"/>
                <a:gd name="connsiteX38" fmla="*/ 6745471 w 27542354"/>
                <a:gd name="connsiteY38" fmla="*/ 6093658 h 15152939"/>
                <a:gd name="connsiteX39" fmla="*/ 6890140 w 27542354"/>
                <a:gd name="connsiteY39" fmla="*/ 5243782 h 15152939"/>
                <a:gd name="connsiteX40" fmla="*/ 7568305 w 27542354"/>
                <a:gd name="connsiteY40" fmla="*/ 4674188 h 15152939"/>
                <a:gd name="connsiteX41" fmla="*/ 8137967 w 27542354"/>
                <a:gd name="connsiteY41" fmla="*/ 4231167 h 15152939"/>
                <a:gd name="connsiteX42" fmla="*/ 8463480 w 27542354"/>
                <a:gd name="connsiteY42" fmla="*/ 3426500 h 15152939"/>
                <a:gd name="connsiteX43" fmla="*/ 9024093 w 27542354"/>
                <a:gd name="connsiteY43" fmla="*/ 3073893 h 15152939"/>
                <a:gd name="connsiteX44" fmla="*/ 9675138 w 27542354"/>
                <a:gd name="connsiteY44" fmla="*/ 2721291 h 15152939"/>
                <a:gd name="connsiteX45" fmla="*/ 9558580 w 27542354"/>
                <a:gd name="connsiteY45" fmla="*/ 2173007 h 15152939"/>
                <a:gd name="connsiteX46" fmla="*/ 10353296 w 27542354"/>
                <a:gd name="connsiteY46" fmla="*/ 1500723 h 15152939"/>
                <a:gd name="connsiteX47" fmla="*/ 10832530 w 27542354"/>
                <a:gd name="connsiteY47" fmla="*/ 1428389 h 15152939"/>
                <a:gd name="connsiteX48" fmla="*/ 11058585 w 27542354"/>
                <a:gd name="connsiteY48" fmla="*/ 1880458 h 15152939"/>
                <a:gd name="connsiteX49" fmla="*/ 11411229 w 27542354"/>
                <a:gd name="connsiteY49" fmla="*/ 2260189 h 15152939"/>
                <a:gd name="connsiteX50" fmla="*/ 11998974 w 27542354"/>
                <a:gd name="connsiteY50" fmla="*/ 2341559 h 15152939"/>
                <a:gd name="connsiteX51" fmla="*/ 12315449 w 27542354"/>
                <a:gd name="connsiteY51" fmla="*/ 3001571 h 15152939"/>
                <a:gd name="connsiteX52" fmla="*/ 12785642 w 27542354"/>
                <a:gd name="connsiteY52" fmla="*/ 2820742 h 15152939"/>
                <a:gd name="connsiteX53" fmla="*/ 13671776 w 27542354"/>
                <a:gd name="connsiteY53" fmla="*/ 3272803 h 15152939"/>
                <a:gd name="connsiteX54" fmla="*/ 14123886 w 27542354"/>
                <a:gd name="connsiteY54" fmla="*/ 2974450 h 15152939"/>
                <a:gd name="connsiteX55" fmla="*/ 14259509 w 27542354"/>
                <a:gd name="connsiteY55" fmla="*/ 2404849 h 15152939"/>
                <a:gd name="connsiteX56" fmla="*/ 14892468 w 27542354"/>
                <a:gd name="connsiteY56" fmla="*/ 1762918 h 15152939"/>
                <a:gd name="connsiteX57" fmla="*/ 15778605 w 27542354"/>
                <a:gd name="connsiteY57" fmla="*/ 1211398 h 15152939"/>
                <a:gd name="connsiteX58" fmla="*/ 16022739 w 27542354"/>
                <a:gd name="connsiteY58" fmla="*/ 1681548 h 15152939"/>
                <a:gd name="connsiteX59" fmla="*/ 16013694 w 27542354"/>
                <a:gd name="connsiteY59" fmla="*/ 2169778 h 15152939"/>
                <a:gd name="connsiteX60" fmla="*/ 16556232 w 27542354"/>
                <a:gd name="connsiteY60" fmla="*/ 2260200 h 15152939"/>
                <a:gd name="connsiteX61" fmla="*/ 16863663 w 27542354"/>
                <a:gd name="connsiteY61" fmla="*/ 1744834 h 15152939"/>
                <a:gd name="connsiteX62" fmla="*/ 17406193 w 27542354"/>
                <a:gd name="connsiteY62" fmla="*/ 1410312 h 15152939"/>
                <a:gd name="connsiteX63" fmla="*/ 17623203 w 27542354"/>
                <a:gd name="connsiteY63" fmla="*/ 867840 h 15152939"/>
                <a:gd name="connsiteX64" fmla="*/ 18120524 w 27542354"/>
                <a:gd name="connsiteY64" fmla="*/ 831675 h 15152939"/>
                <a:gd name="connsiteX65" fmla="*/ 18201903 w 27542354"/>
                <a:gd name="connsiteY65" fmla="*/ 542358 h 15152939"/>
                <a:gd name="connsiteX66" fmla="*/ 18744437 w 27542354"/>
                <a:gd name="connsiteY66" fmla="*/ 117414 h 15152939"/>
                <a:gd name="connsiteX67" fmla="*/ 19443290 w 27542354"/>
                <a:gd name="connsiteY67" fmla="*/ 0 h 15152939"/>
                <a:gd name="connsiteX68" fmla="*/ 19982300 w 27542354"/>
                <a:gd name="connsiteY68" fmla="*/ 460880 h 15152939"/>
                <a:gd name="connsiteX69" fmla="*/ 19530143 w 27542354"/>
                <a:gd name="connsiteY69" fmla="*/ 913038 h 15152939"/>
                <a:gd name="connsiteX70" fmla="*/ 19837609 w 27542354"/>
                <a:gd name="connsiteY70" fmla="*/ 1238588 h 15152939"/>
                <a:gd name="connsiteX71" fmla="*/ 21881359 w 27542354"/>
                <a:gd name="connsiteY71" fmla="*/ 1889694 h 15152939"/>
                <a:gd name="connsiteX72" fmla="*/ 21537712 w 27542354"/>
                <a:gd name="connsiteY72" fmla="*/ 2884438 h 15152939"/>
                <a:gd name="connsiteX73" fmla="*/ 22478203 w 27542354"/>
                <a:gd name="connsiteY73" fmla="*/ 2414189 h 15152939"/>
                <a:gd name="connsiteX74" fmla="*/ 23888932 w 27542354"/>
                <a:gd name="connsiteY74" fmla="*/ 1998212 h 15152939"/>
                <a:gd name="connsiteX75" fmla="*/ 25010275 w 27542354"/>
                <a:gd name="connsiteY75" fmla="*/ 695990 h 15152939"/>
                <a:gd name="connsiteX76" fmla="*/ 26402920 w 27542354"/>
                <a:gd name="connsiteY76" fmla="*/ 876857 h 15152939"/>
                <a:gd name="connsiteX77" fmla="*/ 26554742 w 27542354"/>
                <a:gd name="connsiteY77" fmla="*/ 2052454 h 15152939"/>
                <a:gd name="connsiteX78" fmla="*/ 25751806 w 27542354"/>
                <a:gd name="connsiteY78" fmla="*/ 3806840 h 15152939"/>
                <a:gd name="connsiteX0" fmla="*/ 25751806 w 27542354"/>
                <a:gd name="connsiteY0" fmla="*/ 3806840 h 15152939"/>
                <a:gd name="connsiteX1" fmla="*/ 25950755 w 27542354"/>
                <a:gd name="connsiteY1" fmla="*/ 4946265 h 15152939"/>
                <a:gd name="connsiteX2" fmla="*/ 26439085 w 27542354"/>
                <a:gd name="connsiteY2" fmla="*/ 6103777 h 15152939"/>
                <a:gd name="connsiteX3" fmla="*/ 25824148 w 27542354"/>
                <a:gd name="connsiteY3" fmla="*/ 6827228 h 15152939"/>
                <a:gd name="connsiteX4" fmla="*/ 26619948 w 27542354"/>
                <a:gd name="connsiteY4" fmla="*/ 7840060 h 15152939"/>
                <a:gd name="connsiteX5" fmla="*/ 26312478 w 27542354"/>
                <a:gd name="connsiteY5" fmla="*/ 9666777 h 15152939"/>
                <a:gd name="connsiteX6" fmla="*/ 26402912 w 27542354"/>
                <a:gd name="connsiteY6" fmla="*/ 10643437 h 15152939"/>
                <a:gd name="connsiteX7" fmla="*/ 27542355 w 27542354"/>
                <a:gd name="connsiteY7" fmla="*/ 12005935 h 15152939"/>
                <a:gd name="connsiteX8" fmla="*/ 26089423 w 27542354"/>
                <a:gd name="connsiteY8" fmla="*/ 11975789 h 15152939"/>
                <a:gd name="connsiteX9" fmla="*/ 24473715 w 27542354"/>
                <a:gd name="connsiteY9" fmla="*/ 12090334 h 15152939"/>
                <a:gd name="connsiteX10" fmla="*/ 23135328 w 27542354"/>
                <a:gd name="connsiteY10" fmla="*/ 12222964 h 15152939"/>
                <a:gd name="connsiteX11" fmla="*/ 22261159 w 27542354"/>
                <a:gd name="connsiteY11" fmla="*/ 12934357 h 15152939"/>
                <a:gd name="connsiteX12" fmla="*/ 20826342 w 27542354"/>
                <a:gd name="connsiteY12" fmla="*/ 14369204 h 15152939"/>
                <a:gd name="connsiteX13" fmla="*/ 12952786 w 27542354"/>
                <a:gd name="connsiteY13" fmla="*/ 14960014 h 15152939"/>
                <a:gd name="connsiteX14" fmla="*/ 11934663 w 27542354"/>
                <a:gd name="connsiteY14" fmla="*/ 15008264 h 15152939"/>
                <a:gd name="connsiteX15" fmla="*/ 8506848 w 27542354"/>
                <a:gd name="connsiteY15" fmla="*/ 15152939 h 15152939"/>
                <a:gd name="connsiteX16" fmla="*/ 7985095 w 27542354"/>
                <a:gd name="connsiteY16" fmla="*/ 14507857 h 15152939"/>
                <a:gd name="connsiteX17" fmla="*/ 7400308 w 27542354"/>
                <a:gd name="connsiteY17" fmla="*/ 14477712 h 15152939"/>
                <a:gd name="connsiteX18" fmla="*/ 6972273 w 27542354"/>
                <a:gd name="connsiteY18" fmla="*/ 14749009 h 15152939"/>
                <a:gd name="connsiteX19" fmla="*/ 5181729 w 27542354"/>
                <a:gd name="connsiteY19" fmla="*/ 14664610 h 15152939"/>
                <a:gd name="connsiteX20" fmla="*/ 4397998 w 27542354"/>
                <a:gd name="connsiteY20" fmla="*/ 14031593 h 15152939"/>
                <a:gd name="connsiteX21" fmla="*/ 2908896 w 27542354"/>
                <a:gd name="connsiteY21" fmla="*/ 13223739 h 15152939"/>
                <a:gd name="connsiteX22" fmla="*/ 1263043 w 27542354"/>
                <a:gd name="connsiteY22" fmla="*/ 12512346 h 15152939"/>
                <a:gd name="connsiteX23" fmla="*/ 485320 w 27542354"/>
                <a:gd name="connsiteY23" fmla="*/ 12060189 h 15152939"/>
                <a:gd name="connsiteX24" fmla="*/ 0 w 27542354"/>
                <a:gd name="connsiteY24" fmla="*/ 11767077 h 15152939"/>
                <a:gd name="connsiteX25" fmla="*/ 1003686 w 27542354"/>
                <a:gd name="connsiteY25" fmla="*/ 11021112 h 15152939"/>
                <a:gd name="connsiteX26" fmla="*/ 2902551 w 27542354"/>
                <a:gd name="connsiteY26" fmla="*/ 9836713 h 15152939"/>
                <a:gd name="connsiteX27" fmla="*/ 2558940 w 27542354"/>
                <a:gd name="connsiteY27" fmla="*/ 9303282 h 15152939"/>
                <a:gd name="connsiteX28" fmla="*/ 2402508 w 27542354"/>
                <a:gd name="connsiteY28" fmla="*/ 8616199 h 15152939"/>
                <a:gd name="connsiteX29" fmla="*/ 2730740 w 27542354"/>
                <a:gd name="connsiteY29" fmla="*/ 8589028 h 15152939"/>
                <a:gd name="connsiteX30" fmla="*/ 2947754 w 27542354"/>
                <a:gd name="connsiteY30" fmla="*/ 8118883 h 15152939"/>
                <a:gd name="connsiteX31" fmla="*/ 3499325 w 27542354"/>
                <a:gd name="connsiteY31" fmla="*/ 7675866 h 15152939"/>
                <a:gd name="connsiteX32" fmla="*/ 3680166 w 27542354"/>
                <a:gd name="connsiteY32" fmla="*/ 6798868 h 15152939"/>
                <a:gd name="connsiteX33" fmla="*/ 4186528 w 27542354"/>
                <a:gd name="connsiteY33" fmla="*/ 6807904 h 15152939"/>
                <a:gd name="connsiteX34" fmla="*/ 4837569 w 27542354"/>
                <a:gd name="connsiteY34" fmla="*/ 7278054 h 15152939"/>
                <a:gd name="connsiteX35" fmla="*/ 5352976 w 27542354"/>
                <a:gd name="connsiteY35" fmla="*/ 7196687 h 15152939"/>
                <a:gd name="connsiteX36" fmla="*/ 5741786 w 27542354"/>
                <a:gd name="connsiteY36" fmla="*/ 6825992 h 15152939"/>
                <a:gd name="connsiteX37" fmla="*/ 6157723 w 27542354"/>
                <a:gd name="connsiteY37" fmla="*/ 6663251 h 15152939"/>
                <a:gd name="connsiteX38" fmla="*/ 6745471 w 27542354"/>
                <a:gd name="connsiteY38" fmla="*/ 6093658 h 15152939"/>
                <a:gd name="connsiteX39" fmla="*/ 6890140 w 27542354"/>
                <a:gd name="connsiteY39" fmla="*/ 5243782 h 15152939"/>
                <a:gd name="connsiteX40" fmla="*/ 7568305 w 27542354"/>
                <a:gd name="connsiteY40" fmla="*/ 4674188 h 15152939"/>
                <a:gd name="connsiteX41" fmla="*/ 8137967 w 27542354"/>
                <a:gd name="connsiteY41" fmla="*/ 4231167 h 15152939"/>
                <a:gd name="connsiteX42" fmla="*/ 8463480 w 27542354"/>
                <a:gd name="connsiteY42" fmla="*/ 3426500 h 15152939"/>
                <a:gd name="connsiteX43" fmla="*/ 9024093 w 27542354"/>
                <a:gd name="connsiteY43" fmla="*/ 3073893 h 15152939"/>
                <a:gd name="connsiteX44" fmla="*/ 9675138 w 27542354"/>
                <a:gd name="connsiteY44" fmla="*/ 2721291 h 15152939"/>
                <a:gd name="connsiteX45" fmla="*/ 9558580 w 27542354"/>
                <a:gd name="connsiteY45" fmla="*/ 2173007 h 15152939"/>
                <a:gd name="connsiteX46" fmla="*/ 10353296 w 27542354"/>
                <a:gd name="connsiteY46" fmla="*/ 1500723 h 15152939"/>
                <a:gd name="connsiteX47" fmla="*/ 10832530 w 27542354"/>
                <a:gd name="connsiteY47" fmla="*/ 1428389 h 15152939"/>
                <a:gd name="connsiteX48" fmla="*/ 11058585 w 27542354"/>
                <a:gd name="connsiteY48" fmla="*/ 1880458 h 15152939"/>
                <a:gd name="connsiteX49" fmla="*/ 11411229 w 27542354"/>
                <a:gd name="connsiteY49" fmla="*/ 2260189 h 15152939"/>
                <a:gd name="connsiteX50" fmla="*/ 11998974 w 27542354"/>
                <a:gd name="connsiteY50" fmla="*/ 2341559 h 15152939"/>
                <a:gd name="connsiteX51" fmla="*/ 12315449 w 27542354"/>
                <a:gd name="connsiteY51" fmla="*/ 3001571 h 15152939"/>
                <a:gd name="connsiteX52" fmla="*/ 12785642 w 27542354"/>
                <a:gd name="connsiteY52" fmla="*/ 2820742 h 15152939"/>
                <a:gd name="connsiteX53" fmla="*/ 13671776 w 27542354"/>
                <a:gd name="connsiteY53" fmla="*/ 3272803 h 15152939"/>
                <a:gd name="connsiteX54" fmla="*/ 14123886 w 27542354"/>
                <a:gd name="connsiteY54" fmla="*/ 2974450 h 15152939"/>
                <a:gd name="connsiteX55" fmla="*/ 14259509 w 27542354"/>
                <a:gd name="connsiteY55" fmla="*/ 2404849 h 15152939"/>
                <a:gd name="connsiteX56" fmla="*/ 14892468 w 27542354"/>
                <a:gd name="connsiteY56" fmla="*/ 1762918 h 15152939"/>
                <a:gd name="connsiteX57" fmla="*/ 15778605 w 27542354"/>
                <a:gd name="connsiteY57" fmla="*/ 1211398 h 15152939"/>
                <a:gd name="connsiteX58" fmla="*/ 16022739 w 27542354"/>
                <a:gd name="connsiteY58" fmla="*/ 1681548 h 15152939"/>
                <a:gd name="connsiteX59" fmla="*/ 16013694 w 27542354"/>
                <a:gd name="connsiteY59" fmla="*/ 2169778 h 15152939"/>
                <a:gd name="connsiteX60" fmla="*/ 16556232 w 27542354"/>
                <a:gd name="connsiteY60" fmla="*/ 2260200 h 15152939"/>
                <a:gd name="connsiteX61" fmla="*/ 16863663 w 27542354"/>
                <a:gd name="connsiteY61" fmla="*/ 1744834 h 15152939"/>
                <a:gd name="connsiteX62" fmla="*/ 17406193 w 27542354"/>
                <a:gd name="connsiteY62" fmla="*/ 1410312 h 15152939"/>
                <a:gd name="connsiteX63" fmla="*/ 17623203 w 27542354"/>
                <a:gd name="connsiteY63" fmla="*/ 867840 h 15152939"/>
                <a:gd name="connsiteX64" fmla="*/ 18120524 w 27542354"/>
                <a:gd name="connsiteY64" fmla="*/ 831675 h 15152939"/>
                <a:gd name="connsiteX65" fmla="*/ 18201903 w 27542354"/>
                <a:gd name="connsiteY65" fmla="*/ 542358 h 15152939"/>
                <a:gd name="connsiteX66" fmla="*/ 18744437 w 27542354"/>
                <a:gd name="connsiteY66" fmla="*/ 117414 h 15152939"/>
                <a:gd name="connsiteX67" fmla="*/ 19443290 w 27542354"/>
                <a:gd name="connsiteY67" fmla="*/ 0 h 15152939"/>
                <a:gd name="connsiteX68" fmla="*/ 19982300 w 27542354"/>
                <a:gd name="connsiteY68" fmla="*/ 460880 h 15152939"/>
                <a:gd name="connsiteX69" fmla="*/ 19837609 w 27542354"/>
                <a:gd name="connsiteY69" fmla="*/ 1238588 h 15152939"/>
                <a:gd name="connsiteX70" fmla="*/ 21881359 w 27542354"/>
                <a:gd name="connsiteY70" fmla="*/ 1889694 h 15152939"/>
                <a:gd name="connsiteX71" fmla="*/ 21537712 w 27542354"/>
                <a:gd name="connsiteY71" fmla="*/ 2884438 h 15152939"/>
                <a:gd name="connsiteX72" fmla="*/ 22478203 w 27542354"/>
                <a:gd name="connsiteY72" fmla="*/ 2414189 h 15152939"/>
                <a:gd name="connsiteX73" fmla="*/ 23888932 w 27542354"/>
                <a:gd name="connsiteY73" fmla="*/ 1998212 h 15152939"/>
                <a:gd name="connsiteX74" fmla="*/ 25010275 w 27542354"/>
                <a:gd name="connsiteY74" fmla="*/ 695990 h 15152939"/>
                <a:gd name="connsiteX75" fmla="*/ 26402920 w 27542354"/>
                <a:gd name="connsiteY75" fmla="*/ 876857 h 15152939"/>
                <a:gd name="connsiteX76" fmla="*/ 26554742 w 27542354"/>
                <a:gd name="connsiteY76" fmla="*/ 2052454 h 15152939"/>
                <a:gd name="connsiteX77" fmla="*/ 25751806 w 27542354"/>
                <a:gd name="connsiteY77" fmla="*/ 3806840 h 15152939"/>
                <a:gd name="connsiteX0" fmla="*/ 25751806 w 27542354"/>
                <a:gd name="connsiteY0" fmla="*/ 3689425 h 15035524"/>
                <a:gd name="connsiteX1" fmla="*/ 25950755 w 27542354"/>
                <a:gd name="connsiteY1" fmla="*/ 4828850 h 15035524"/>
                <a:gd name="connsiteX2" fmla="*/ 26439085 w 27542354"/>
                <a:gd name="connsiteY2" fmla="*/ 5986362 h 15035524"/>
                <a:gd name="connsiteX3" fmla="*/ 25824148 w 27542354"/>
                <a:gd name="connsiteY3" fmla="*/ 6709813 h 15035524"/>
                <a:gd name="connsiteX4" fmla="*/ 26619948 w 27542354"/>
                <a:gd name="connsiteY4" fmla="*/ 7722645 h 15035524"/>
                <a:gd name="connsiteX5" fmla="*/ 26312478 w 27542354"/>
                <a:gd name="connsiteY5" fmla="*/ 9549362 h 15035524"/>
                <a:gd name="connsiteX6" fmla="*/ 26402912 w 27542354"/>
                <a:gd name="connsiteY6" fmla="*/ 10526022 h 15035524"/>
                <a:gd name="connsiteX7" fmla="*/ 27542355 w 27542354"/>
                <a:gd name="connsiteY7" fmla="*/ 11888520 h 15035524"/>
                <a:gd name="connsiteX8" fmla="*/ 26089423 w 27542354"/>
                <a:gd name="connsiteY8" fmla="*/ 11858374 h 15035524"/>
                <a:gd name="connsiteX9" fmla="*/ 24473715 w 27542354"/>
                <a:gd name="connsiteY9" fmla="*/ 11972919 h 15035524"/>
                <a:gd name="connsiteX10" fmla="*/ 23135328 w 27542354"/>
                <a:gd name="connsiteY10" fmla="*/ 12105549 h 15035524"/>
                <a:gd name="connsiteX11" fmla="*/ 22261159 w 27542354"/>
                <a:gd name="connsiteY11" fmla="*/ 12816942 h 15035524"/>
                <a:gd name="connsiteX12" fmla="*/ 20826342 w 27542354"/>
                <a:gd name="connsiteY12" fmla="*/ 14251789 h 15035524"/>
                <a:gd name="connsiteX13" fmla="*/ 12952786 w 27542354"/>
                <a:gd name="connsiteY13" fmla="*/ 14842599 h 15035524"/>
                <a:gd name="connsiteX14" fmla="*/ 11934663 w 27542354"/>
                <a:gd name="connsiteY14" fmla="*/ 14890849 h 15035524"/>
                <a:gd name="connsiteX15" fmla="*/ 8506848 w 27542354"/>
                <a:gd name="connsiteY15" fmla="*/ 15035524 h 15035524"/>
                <a:gd name="connsiteX16" fmla="*/ 7985095 w 27542354"/>
                <a:gd name="connsiteY16" fmla="*/ 14390442 h 15035524"/>
                <a:gd name="connsiteX17" fmla="*/ 7400308 w 27542354"/>
                <a:gd name="connsiteY17" fmla="*/ 14360297 h 15035524"/>
                <a:gd name="connsiteX18" fmla="*/ 6972273 w 27542354"/>
                <a:gd name="connsiteY18" fmla="*/ 14631594 h 15035524"/>
                <a:gd name="connsiteX19" fmla="*/ 5181729 w 27542354"/>
                <a:gd name="connsiteY19" fmla="*/ 14547195 h 15035524"/>
                <a:gd name="connsiteX20" fmla="*/ 4397998 w 27542354"/>
                <a:gd name="connsiteY20" fmla="*/ 13914178 h 15035524"/>
                <a:gd name="connsiteX21" fmla="*/ 2908896 w 27542354"/>
                <a:gd name="connsiteY21" fmla="*/ 13106324 h 15035524"/>
                <a:gd name="connsiteX22" fmla="*/ 1263043 w 27542354"/>
                <a:gd name="connsiteY22" fmla="*/ 12394931 h 15035524"/>
                <a:gd name="connsiteX23" fmla="*/ 485320 w 27542354"/>
                <a:gd name="connsiteY23" fmla="*/ 11942774 h 15035524"/>
                <a:gd name="connsiteX24" fmla="*/ 0 w 27542354"/>
                <a:gd name="connsiteY24" fmla="*/ 11649662 h 15035524"/>
                <a:gd name="connsiteX25" fmla="*/ 1003686 w 27542354"/>
                <a:gd name="connsiteY25" fmla="*/ 10903697 h 15035524"/>
                <a:gd name="connsiteX26" fmla="*/ 2902551 w 27542354"/>
                <a:gd name="connsiteY26" fmla="*/ 9719298 h 15035524"/>
                <a:gd name="connsiteX27" fmla="*/ 2558940 w 27542354"/>
                <a:gd name="connsiteY27" fmla="*/ 9185867 h 15035524"/>
                <a:gd name="connsiteX28" fmla="*/ 2402508 w 27542354"/>
                <a:gd name="connsiteY28" fmla="*/ 8498784 h 15035524"/>
                <a:gd name="connsiteX29" fmla="*/ 2730740 w 27542354"/>
                <a:gd name="connsiteY29" fmla="*/ 8471613 h 15035524"/>
                <a:gd name="connsiteX30" fmla="*/ 2947754 w 27542354"/>
                <a:gd name="connsiteY30" fmla="*/ 8001468 h 15035524"/>
                <a:gd name="connsiteX31" fmla="*/ 3499325 w 27542354"/>
                <a:gd name="connsiteY31" fmla="*/ 7558451 h 15035524"/>
                <a:gd name="connsiteX32" fmla="*/ 3680166 w 27542354"/>
                <a:gd name="connsiteY32" fmla="*/ 6681453 h 15035524"/>
                <a:gd name="connsiteX33" fmla="*/ 4186528 w 27542354"/>
                <a:gd name="connsiteY33" fmla="*/ 6690489 h 15035524"/>
                <a:gd name="connsiteX34" fmla="*/ 4837569 w 27542354"/>
                <a:gd name="connsiteY34" fmla="*/ 7160639 h 15035524"/>
                <a:gd name="connsiteX35" fmla="*/ 5352976 w 27542354"/>
                <a:gd name="connsiteY35" fmla="*/ 7079272 h 15035524"/>
                <a:gd name="connsiteX36" fmla="*/ 5741786 w 27542354"/>
                <a:gd name="connsiteY36" fmla="*/ 6708577 h 15035524"/>
                <a:gd name="connsiteX37" fmla="*/ 6157723 w 27542354"/>
                <a:gd name="connsiteY37" fmla="*/ 6545836 h 15035524"/>
                <a:gd name="connsiteX38" fmla="*/ 6745471 w 27542354"/>
                <a:gd name="connsiteY38" fmla="*/ 5976243 h 15035524"/>
                <a:gd name="connsiteX39" fmla="*/ 6890140 w 27542354"/>
                <a:gd name="connsiteY39" fmla="*/ 5126367 h 15035524"/>
                <a:gd name="connsiteX40" fmla="*/ 7568305 w 27542354"/>
                <a:gd name="connsiteY40" fmla="*/ 4556773 h 15035524"/>
                <a:gd name="connsiteX41" fmla="*/ 8137967 w 27542354"/>
                <a:gd name="connsiteY41" fmla="*/ 4113752 h 15035524"/>
                <a:gd name="connsiteX42" fmla="*/ 8463480 w 27542354"/>
                <a:gd name="connsiteY42" fmla="*/ 3309085 h 15035524"/>
                <a:gd name="connsiteX43" fmla="*/ 9024093 w 27542354"/>
                <a:gd name="connsiteY43" fmla="*/ 2956478 h 15035524"/>
                <a:gd name="connsiteX44" fmla="*/ 9675138 w 27542354"/>
                <a:gd name="connsiteY44" fmla="*/ 2603876 h 15035524"/>
                <a:gd name="connsiteX45" fmla="*/ 9558580 w 27542354"/>
                <a:gd name="connsiteY45" fmla="*/ 2055592 h 15035524"/>
                <a:gd name="connsiteX46" fmla="*/ 10353296 w 27542354"/>
                <a:gd name="connsiteY46" fmla="*/ 1383308 h 15035524"/>
                <a:gd name="connsiteX47" fmla="*/ 10832530 w 27542354"/>
                <a:gd name="connsiteY47" fmla="*/ 1310974 h 15035524"/>
                <a:gd name="connsiteX48" fmla="*/ 11058585 w 27542354"/>
                <a:gd name="connsiteY48" fmla="*/ 1763043 h 15035524"/>
                <a:gd name="connsiteX49" fmla="*/ 11411229 w 27542354"/>
                <a:gd name="connsiteY49" fmla="*/ 2142774 h 15035524"/>
                <a:gd name="connsiteX50" fmla="*/ 11998974 w 27542354"/>
                <a:gd name="connsiteY50" fmla="*/ 2224144 h 15035524"/>
                <a:gd name="connsiteX51" fmla="*/ 12315449 w 27542354"/>
                <a:gd name="connsiteY51" fmla="*/ 2884156 h 15035524"/>
                <a:gd name="connsiteX52" fmla="*/ 12785642 w 27542354"/>
                <a:gd name="connsiteY52" fmla="*/ 2703327 h 15035524"/>
                <a:gd name="connsiteX53" fmla="*/ 13671776 w 27542354"/>
                <a:gd name="connsiteY53" fmla="*/ 3155388 h 15035524"/>
                <a:gd name="connsiteX54" fmla="*/ 14123886 w 27542354"/>
                <a:gd name="connsiteY54" fmla="*/ 2857035 h 15035524"/>
                <a:gd name="connsiteX55" fmla="*/ 14259509 w 27542354"/>
                <a:gd name="connsiteY55" fmla="*/ 2287434 h 15035524"/>
                <a:gd name="connsiteX56" fmla="*/ 14892468 w 27542354"/>
                <a:gd name="connsiteY56" fmla="*/ 1645503 h 15035524"/>
                <a:gd name="connsiteX57" fmla="*/ 15778605 w 27542354"/>
                <a:gd name="connsiteY57" fmla="*/ 1093983 h 15035524"/>
                <a:gd name="connsiteX58" fmla="*/ 16022739 w 27542354"/>
                <a:gd name="connsiteY58" fmla="*/ 1564133 h 15035524"/>
                <a:gd name="connsiteX59" fmla="*/ 16013694 w 27542354"/>
                <a:gd name="connsiteY59" fmla="*/ 2052363 h 15035524"/>
                <a:gd name="connsiteX60" fmla="*/ 16556232 w 27542354"/>
                <a:gd name="connsiteY60" fmla="*/ 2142785 h 15035524"/>
                <a:gd name="connsiteX61" fmla="*/ 16863663 w 27542354"/>
                <a:gd name="connsiteY61" fmla="*/ 1627419 h 15035524"/>
                <a:gd name="connsiteX62" fmla="*/ 17406193 w 27542354"/>
                <a:gd name="connsiteY62" fmla="*/ 1292897 h 15035524"/>
                <a:gd name="connsiteX63" fmla="*/ 17623203 w 27542354"/>
                <a:gd name="connsiteY63" fmla="*/ 750425 h 15035524"/>
                <a:gd name="connsiteX64" fmla="*/ 18120524 w 27542354"/>
                <a:gd name="connsiteY64" fmla="*/ 714260 h 15035524"/>
                <a:gd name="connsiteX65" fmla="*/ 18201903 w 27542354"/>
                <a:gd name="connsiteY65" fmla="*/ 424943 h 15035524"/>
                <a:gd name="connsiteX66" fmla="*/ 18744437 w 27542354"/>
                <a:gd name="connsiteY66" fmla="*/ -1 h 15035524"/>
                <a:gd name="connsiteX67" fmla="*/ 19982300 w 27542354"/>
                <a:gd name="connsiteY67" fmla="*/ 343465 h 15035524"/>
                <a:gd name="connsiteX68" fmla="*/ 19837609 w 27542354"/>
                <a:gd name="connsiteY68" fmla="*/ 1121173 h 15035524"/>
                <a:gd name="connsiteX69" fmla="*/ 21881359 w 27542354"/>
                <a:gd name="connsiteY69" fmla="*/ 1772279 h 15035524"/>
                <a:gd name="connsiteX70" fmla="*/ 21537712 w 27542354"/>
                <a:gd name="connsiteY70" fmla="*/ 2767023 h 15035524"/>
                <a:gd name="connsiteX71" fmla="*/ 22478203 w 27542354"/>
                <a:gd name="connsiteY71" fmla="*/ 2296774 h 15035524"/>
                <a:gd name="connsiteX72" fmla="*/ 23888932 w 27542354"/>
                <a:gd name="connsiteY72" fmla="*/ 1880797 h 15035524"/>
                <a:gd name="connsiteX73" fmla="*/ 25010275 w 27542354"/>
                <a:gd name="connsiteY73" fmla="*/ 578575 h 15035524"/>
                <a:gd name="connsiteX74" fmla="*/ 26402920 w 27542354"/>
                <a:gd name="connsiteY74" fmla="*/ 759442 h 15035524"/>
                <a:gd name="connsiteX75" fmla="*/ 26554742 w 27542354"/>
                <a:gd name="connsiteY75" fmla="*/ 1935039 h 15035524"/>
                <a:gd name="connsiteX76" fmla="*/ 25751806 w 27542354"/>
                <a:gd name="connsiteY76" fmla="*/ 3689425 h 15035524"/>
                <a:gd name="connsiteX0" fmla="*/ 25751806 w 27542354"/>
                <a:gd name="connsiteY0" fmla="*/ 3689425 h 15035524"/>
                <a:gd name="connsiteX1" fmla="*/ 25950755 w 27542354"/>
                <a:gd name="connsiteY1" fmla="*/ 4828850 h 15035524"/>
                <a:gd name="connsiteX2" fmla="*/ 26439085 w 27542354"/>
                <a:gd name="connsiteY2" fmla="*/ 5986362 h 15035524"/>
                <a:gd name="connsiteX3" fmla="*/ 25824148 w 27542354"/>
                <a:gd name="connsiteY3" fmla="*/ 6709813 h 15035524"/>
                <a:gd name="connsiteX4" fmla="*/ 26619948 w 27542354"/>
                <a:gd name="connsiteY4" fmla="*/ 7722645 h 15035524"/>
                <a:gd name="connsiteX5" fmla="*/ 26312478 w 27542354"/>
                <a:gd name="connsiteY5" fmla="*/ 9549362 h 15035524"/>
                <a:gd name="connsiteX6" fmla="*/ 26402912 w 27542354"/>
                <a:gd name="connsiteY6" fmla="*/ 10526022 h 15035524"/>
                <a:gd name="connsiteX7" fmla="*/ 27542355 w 27542354"/>
                <a:gd name="connsiteY7" fmla="*/ 11888520 h 15035524"/>
                <a:gd name="connsiteX8" fmla="*/ 26089423 w 27542354"/>
                <a:gd name="connsiteY8" fmla="*/ 11858374 h 15035524"/>
                <a:gd name="connsiteX9" fmla="*/ 24473715 w 27542354"/>
                <a:gd name="connsiteY9" fmla="*/ 11972919 h 15035524"/>
                <a:gd name="connsiteX10" fmla="*/ 23135328 w 27542354"/>
                <a:gd name="connsiteY10" fmla="*/ 12105549 h 15035524"/>
                <a:gd name="connsiteX11" fmla="*/ 22261159 w 27542354"/>
                <a:gd name="connsiteY11" fmla="*/ 12816942 h 15035524"/>
                <a:gd name="connsiteX12" fmla="*/ 20826342 w 27542354"/>
                <a:gd name="connsiteY12" fmla="*/ 14251789 h 15035524"/>
                <a:gd name="connsiteX13" fmla="*/ 12952786 w 27542354"/>
                <a:gd name="connsiteY13" fmla="*/ 14842599 h 15035524"/>
                <a:gd name="connsiteX14" fmla="*/ 11934663 w 27542354"/>
                <a:gd name="connsiteY14" fmla="*/ 14890849 h 15035524"/>
                <a:gd name="connsiteX15" fmla="*/ 8506848 w 27542354"/>
                <a:gd name="connsiteY15" fmla="*/ 15035524 h 15035524"/>
                <a:gd name="connsiteX16" fmla="*/ 7985095 w 27542354"/>
                <a:gd name="connsiteY16" fmla="*/ 14390442 h 15035524"/>
                <a:gd name="connsiteX17" fmla="*/ 7400308 w 27542354"/>
                <a:gd name="connsiteY17" fmla="*/ 14360297 h 15035524"/>
                <a:gd name="connsiteX18" fmla="*/ 6972273 w 27542354"/>
                <a:gd name="connsiteY18" fmla="*/ 14631594 h 15035524"/>
                <a:gd name="connsiteX19" fmla="*/ 5181729 w 27542354"/>
                <a:gd name="connsiteY19" fmla="*/ 14547195 h 15035524"/>
                <a:gd name="connsiteX20" fmla="*/ 4397998 w 27542354"/>
                <a:gd name="connsiteY20" fmla="*/ 13914178 h 15035524"/>
                <a:gd name="connsiteX21" fmla="*/ 2908896 w 27542354"/>
                <a:gd name="connsiteY21" fmla="*/ 13106324 h 15035524"/>
                <a:gd name="connsiteX22" fmla="*/ 1263043 w 27542354"/>
                <a:gd name="connsiteY22" fmla="*/ 12394931 h 15035524"/>
                <a:gd name="connsiteX23" fmla="*/ 485320 w 27542354"/>
                <a:gd name="connsiteY23" fmla="*/ 11942774 h 15035524"/>
                <a:gd name="connsiteX24" fmla="*/ 0 w 27542354"/>
                <a:gd name="connsiteY24" fmla="*/ 11649662 h 15035524"/>
                <a:gd name="connsiteX25" fmla="*/ 1003686 w 27542354"/>
                <a:gd name="connsiteY25" fmla="*/ 10903697 h 15035524"/>
                <a:gd name="connsiteX26" fmla="*/ 2902551 w 27542354"/>
                <a:gd name="connsiteY26" fmla="*/ 9719298 h 15035524"/>
                <a:gd name="connsiteX27" fmla="*/ 2558940 w 27542354"/>
                <a:gd name="connsiteY27" fmla="*/ 9185867 h 15035524"/>
                <a:gd name="connsiteX28" fmla="*/ 2402508 w 27542354"/>
                <a:gd name="connsiteY28" fmla="*/ 8498784 h 15035524"/>
                <a:gd name="connsiteX29" fmla="*/ 2730740 w 27542354"/>
                <a:gd name="connsiteY29" fmla="*/ 8471613 h 15035524"/>
                <a:gd name="connsiteX30" fmla="*/ 2947754 w 27542354"/>
                <a:gd name="connsiteY30" fmla="*/ 8001468 h 15035524"/>
                <a:gd name="connsiteX31" fmla="*/ 3499325 w 27542354"/>
                <a:gd name="connsiteY31" fmla="*/ 7558451 h 15035524"/>
                <a:gd name="connsiteX32" fmla="*/ 3680166 w 27542354"/>
                <a:gd name="connsiteY32" fmla="*/ 6681453 h 15035524"/>
                <a:gd name="connsiteX33" fmla="*/ 4186528 w 27542354"/>
                <a:gd name="connsiteY33" fmla="*/ 6690489 h 15035524"/>
                <a:gd name="connsiteX34" fmla="*/ 4837569 w 27542354"/>
                <a:gd name="connsiteY34" fmla="*/ 7160639 h 15035524"/>
                <a:gd name="connsiteX35" fmla="*/ 5352976 w 27542354"/>
                <a:gd name="connsiteY35" fmla="*/ 7079272 h 15035524"/>
                <a:gd name="connsiteX36" fmla="*/ 5741786 w 27542354"/>
                <a:gd name="connsiteY36" fmla="*/ 6708577 h 15035524"/>
                <a:gd name="connsiteX37" fmla="*/ 6157723 w 27542354"/>
                <a:gd name="connsiteY37" fmla="*/ 6545836 h 15035524"/>
                <a:gd name="connsiteX38" fmla="*/ 6745471 w 27542354"/>
                <a:gd name="connsiteY38" fmla="*/ 5976243 h 15035524"/>
                <a:gd name="connsiteX39" fmla="*/ 6890140 w 27542354"/>
                <a:gd name="connsiteY39" fmla="*/ 5126367 h 15035524"/>
                <a:gd name="connsiteX40" fmla="*/ 7568305 w 27542354"/>
                <a:gd name="connsiteY40" fmla="*/ 4556773 h 15035524"/>
                <a:gd name="connsiteX41" fmla="*/ 8137967 w 27542354"/>
                <a:gd name="connsiteY41" fmla="*/ 4113752 h 15035524"/>
                <a:gd name="connsiteX42" fmla="*/ 8463480 w 27542354"/>
                <a:gd name="connsiteY42" fmla="*/ 3309085 h 15035524"/>
                <a:gd name="connsiteX43" fmla="*/ 9024093 w 27542354"/>
                <a:gd name="connsiteY43" fmla="*/ 2956478 h 15035524"/>
                <a:gd name="connsiteX44" fmla="*/ 9675138 w 27542354"/>
                <a:gd name="connsiteY44" fmla="*/ 2603876 h 15035524"/>
                <a:gd name="connsiteX45" fmla="*/ 9558580 w 27542354"/>
                <a:gd name="connsiteY45" fmla="*/ 2055592 h 15035524"/>
                <a:gd name="connsiteX46" fmla="*/ 10353296 w 27542354"/>
                <a:gd name="connsiteY46" fmla="*/ 1383308 h 15035524"/>
                <a:gd name="connsiteX47" fmla="*/ 10832530 w 27542354"/>
                <a:gd name="connsiteY47" fmla="*/ 1310974 h 15035524"/>
                <a:gd name="connsiteX48" fmla="*/ 11058585 w 27542354"/>
                <a:gd name="connsiteY48" fmla="*/ 1763043 h 15035524"/>
                <a:gd name="connsiteX49" fmla="*/ 11411229 w 27542354"/>
                <a:gd name="connsiteY49" fmla="*/ 2142774 h 15035524"/>
                <a:gd name="connsiteX50" fmla="*/ 11998974 w 27542354"/>
                <a:gd name="connsiteY50" fmla="*/ 2224144 h 15035524"/>
                <a:gd name="connsiteX51" fmla="*/ 12315449 w 27542354"/>
                <a:gd name="connsiteY51" fmla="*/ 2884156 h 15035524"/>
                <a:gd name="connsiteX52" fmla="*/ 12785642 w 27542354"/>
                <a:gd name="connsiteY52" fmla="*/ 2703327 h 15035524"/>
                <a:gd name="connsiteX53" fmla="*/ 13671776 w 27542354"/>
                <a:gd name="connsiteY53" fmla="*/ 3155388 h 15035524"/>
                <a:gd name="connsiteX54" fmla="*/ 14123886 w 27542354"/>
                <a:gd name="connsiteY54" fmla="*/ 2857035 h 15035524"/>
                <a:gd name="connsiteX55" fmla="*/ 14259509 w 27542354"/>
                <a:gd name="connsiteY55" fmla="*/ 2287434 h 15035524"/>
                <a:gd name="connsiteX56" fmla="*/ 14892468 w 27542354"/>
                <a:gd name="connsiteY56" fmla="*/ 1645503 h 15035524"/>
                <a:gd name="connsiteX57" fmla="*/ 15778605 w 27542354"/>
                <a:gd name="connsiteY57" fmla="*/ 1093983 h 15035524"/>
                <a:gd name="connsiteX58" fmla="*/ 16022739 w 27542354"/>
                <a:gd name="connsiteY58" fmla="*/ 1564133 h 15035524"/>
                <a:gd name="connsiteX59" fmla="*/ 16013694 w 27542354"/>
                <a:gd name="connsiteY59" fmla="*/ 2052363 h 15035524"/>
                <a:gd name="connsiteX60" fmla="*/ 16556232 w 27542354"/>
                <a:gd name="connsiteY60" fmla="*/ 2142785 h 15035524"/>
                <a:gd name="connsiteX61" fmla="*/ 16863663 w 27542354"/>
                <a:gd name="connsiteY61" fmla="*/ 1627419 h 15035524"/>
                <a:gd name="connsiteX62" fmla="*/ 17406193 w 27542354"/>
                <a:gd name="connsiteY62" fmla="*/ 1292897 h 15035524"/>
                <a:gd name="connsiteX63" fmla="*/ 17623203 w 27542354"/>
                <a:gd name="connsiteY63" fmla="*/ 750425 h 15035524"/>
                <a:gd name="connsiteX64" fmla="*/ 18120524 w 27542354"/>
                <a:gd name="connsiteY64" fmla="*/ 714260 h 15035524"/>
                <a:gd name="connsiteX65" fmla="*/ 18744437 w 27542354"/>
                <a:gd name="connsiteY65" fmla="*/ -1 h 15035524"/>
                <a:gd name="connsiteX66" fmla="*/ 19982300 w 27542354"/>
                <a:gd name="connsiteY66" fmla="*/ 343465 h 15035524"/>
                <a:gd name="connsiteX67" fmla="*/ 19837609 w 27542354"/>
                <a:gd name="connsiteY67" fmla="*/ 1121173 h 15035524"/>
                <a:gd name="connsiteX68" fmla="*/ 21881359 w 27542354"/>
                <a:gd name="connsiteY68" fmla="*/ 1772279 h 15035524"/>
                <a:gd name="connsiteX69" fmla="*/ 21537712 w 27542354"/>
                <a:gd name="connsiteY69" fmla="*/ 2767023 h 15035524"/>
                <a:gd name="connsiteX70" fmla="*/ 22478203 w 27542354"/>
                <a:gd name="connsiteY70" fmla="*/ 2296774 h 15035524"/>
                <a:gd name="connsiteX71" fmla="*/ 23888932 w 27542354"/>
                <a:gd name="connsiteY71" fmla="*/ 1880797 h 15035524"/>
                <a:gd name="connsiteX72" fmla="*/ 25010275 w 27542354"/>
                <a:gd name="connsiteY72" fmla="*/ 578575 h 15035524"/>
                <a:gd name="connsiteX73" fmla="*/ 26402920 w 27542354"/>
                <a:gd name="connsiteY73" fmla="*/ 759442 h 15035524"/>
                <a:gd name="connsiteX74" fmla="*/ 26554742 w 27542354"/>
                <a:gd name="connsiteY74" fmla="*/ 1935039 h 15035524"/>
                <a:gd name="connsiteX75" fmla="*/ 25751806 w 27542354"/>
                <a:gd name="connsiteY75" fmla="*/ 3689425 h 15035524"/>
                <a:gd name="connsiteX0" fmla="*/ 25751806 w 27542354"/>
                <a:gd name="connsiteY0" fmla="*/ 3689425 h 15035524"/>
                <a:gd name="connsiteX1" fmla="*/ 25950755 w 27542354"/>
                <a:gd name="connsiteY1" fmla="*/ 4828850 h 15035524"/>
                <a:gd name="connsiteX2" fmla="*/ 26439085 w 27542354"/>
                <a:gd name="connsiteY2" fmla="*/ 5986362 h 15035524"/>
                <a:gd name="connsiteX3" fmla="*/ 25824148 w 27542354"/>
                <a:gd name="connsiteY3" fmla="*/ 6709813 h 15035524"/>
                <a:gd name="connsiteX4" fmla="*/ 26619948 w 27542354"/>
                <a:gd name="connsiteY4" fmla="*/ 7722645 h 15035524"/>
                <a:gd name="connsiteX5" fmla="*/ 26312478 w 27542354"/>
                <a:gd name="connsiteY5" fmla="*/ 9549362 h 15035524"/>
                <a:gd name="connsiteX6" fmla="*/ 26402912 w 27542354"/>
                <a:gd name="connsiteY6" fmla="*/ 10526022 h 15035524"/>
                <a:gd name="connsiteX7" fmla="*/ 27542355 w 27542354"/>
                <a:gd name="connsiteY7" fmla="*/ 11888520 h 15035524"/>
                <a:gd name="connsiteX8" fmla="*/ 26089423 w 27542354"/>
                <a:gd name="connsiteY8" fmla="*/ 11858374 h 15035524"/>
                <a:gd name="connsiteX9" fmla="*/ 24473715 w 27542354"/>
                <a:gd name="connsiteY9" fmla="*/ 11972919 h 15035524"/>
                <a:gd name="connsiteX10" fmla="*/ 23135328 w 27542354"/>
                <a:gd name="connsiteY10" fmla="*/ 12105549 h 15035524"/>
                <a:gd name="connsiteX11" fmla="*/ 22261159 w 27542354"/>
                <a:gd name="connsiteY11" fmla="*/ 12816942 h 15035524"/>
                <a:gd name="connsiteX12" fmla="*/ 20826342 w 27542354"/>
                <a:gd name="connsiteY12" fmla="*/ 14251789 h 15035524"/>
                <a:gd name="connsiteX13" fmla="*/ 12952786 w 27542354"/>
                <a:gd name="connsiteY13" fmla="*/ 14842599 h 15035524"/>
                <a:gd name="connsiteX14" fmla="*/ 11934663 w 27542354"/>
                <a:gd name="connsiteY14" fmla="*/ 14890849 h 15035524"/>
                <a:gd name="connsiteX15" fmla="*/ 8506848 w 27542354"/>
                <a:gd name="connsiteY15" fmla="*/ 15035524 h 15035524"/>
                <a:gd name="connsiteX16" fmla="*/ 7985095 w 27542354"/>
                <a:gd name="connsiteY16" fmla="*/ 14390442 h 15035524"/>
                <a:gd name="connsiteX17" fmla="*/ 7400308 w 27542354"/>
                <a:gd name="connsiteY17" fmla="*/ 14360297 h 15035524"/>
                <a:gd name="connsiteX18" fmla="*/ 6972273 w 27542354"/>
                <a:gd name="connsiteY18" fmla="*/ 14631594 h 15035524"/>
                <a:gd name="connsiteX19" fmla="*/ 5181729 w 27542354"/>
                <a:gd name="connsiteY19" fmla="*/ 14547195 h 15035524"/>
                <a:gd name="connsiteX20" fmla="*/ 4397998 w 27542354"/>
                <a:gd name="connsiteY20" fmla="*/ 13914178 h 15035524"/>
                <a:gd name="connsiteX21" fmla="*/ 2908896 w 27542354"/>
                <a:gd name="connsiteY21" fmla="*/ 13106324 h 15035524"/>
                <a:gd name="connsiteX22" fmla="*/ 1263043 w 27542354"/>
                <a:gd name="connsiteY22" fmla="*/ 12394931 h 15035524"/>
                <a:gd name="connsiteX23" fmla="*/ 485320 w 27542354"/>
                <a:gd name="connsiteY23" fmla="*/ 11942774 h 15035524"/>
                <a:gd name="connsiteX24" fmla="*/ 0 w 27542354"/>
                <a:gd name="connsiteY24" fmla="*/ 11649662 h 15035524"/>
                <a:gd name="connsiteX25" fmla="*/ 1003686 w 27542354"/>
                <a:gd name="connsiteY25" fmla="*/ 10903697 h 15035524"/>
                <a:gd name="connsiteX26" fmla="*/ 2902551 w 27542354"/>
                <a:gd name="connsiteY26" fmla="*/ 9719298 h 15035524"/>
                <a:gd name="connsiteX27" fmla="*/ 2558940 w 27542354"/>
                <a:gd name="connsiteY27" fmla="*/ 9185867 h 15035524"/>
                <a:gd name="connsiteX28" fmla="*/ 2402508 w 27542354"/>
                <a:gd name="connsiteY28" fmla="*/ 8498784 h 15035524"/>
                <a:gd name="connsiteX29" fmla="*/ 2730740 w 27542354"/>
                <a:gd name="connsiteY29" fmla="*/ 8471613 h 15035524"/>
                <a:gd name="connsiteX30" fmla="*/ 2947754 w 27542354"/>
                <a:gd name="connsiteY30" fmla="*/ 8001468 h 15035524"/>
                <a:gd name="connsiteX31" fmla="*/ 3499325 w 27542354"/>
                <a:gd name="connsiteY31" fmla="*/ 7558451 h 15035524"/>
                <a:gd name="connsiteX32" fmla="*/ 3680166 w 27542354"/>
                <a:gd name="connsiteY32" fmla="*/ 6681453 h 15035524"/>
                <a:gd name="connsiteX33" fmla="*/ 4186528 w 27542354"/>
                <a:gd name="connsiteY33" fmla="*/ 6690489 h 15035524"/>
                <a:gd name="connsiteX34" fmla="*/ 4837569 w 27542354"/>
                <a:gd name="connsiteY34" fmla="*/ 7160639 h 15035524"/>
                <a:gd name="connsiteX35" fmla="*/ 5352976 w 27542354"/>
                <a:gd name="connsiteY35" fmla="*/ 7079272 h 15035524"/>
                <a:gd name="connsiteX36" fmla="*/ 5741786 w 27542354"/>
                <a:gd name="connsiteY36" fmla="*/ 6708577 h 15035524"/>
                <a:gd name="connsiteX37" fmla="*/ 6157723 w 27542354"/>
                <a:gd name="connsiteY37" fmla="*/ 6545836 h 15035524"/>
                <a:gd name="connsiteX38" fmla="*/ 6745471 w 27542354"/>
                <a:gd name="connsiteY38" fmla="*/ 5976243 h 15035524"/>
                <a:gd name="connsiteX39" fmla="*/ 6890140 w 27542354"/>
                <a:gd name="connsiteY39" fmla="*/ 5126367 h 15035524"/>
                <a:gd name="connsiteX40" fmla="*/ 7568305 w 27542354"/>
                <a:gd name="connsiteY40" fmla="*/ 4556773 h 15035524"/>
                <a:gd name="connsiteX41" fmla="*/ 8137967 w 27542354"/>
                <a:gd name="connsiteY41" fmla="*/ 4113752 h 15035524"/>
                <a:gd name="connsiteX42" fmla="*/ 8463480 w 27542354"/>
                <a:gd name="connsiteY42" fmla="*/ 3309085 h 15035524"/>
                <a:gd name="connsiteX43" fmla="*/ 9024093 w 27542354"/>
                <a:gd name="connsiteY43" fmla="*/ 2956478 h 15035524"/>
                <a:gd name="connsiteX44" fmla="*/ 9675138 w 27542354"/>
                <a:gd name="connsiteY44" fmla="*/ 2603876 h 15035524"/>
                <a:gd name="connsiteX45" fmla="*/ 9558580 w 27542354"/>
                <a:gd name="connsiteY45" fmla="*/ 2055592 h 15035524"/>
                <a:gd name="connsiteX46" fmla="*/ 10353296 w 27542354"/>
                <a:gd name="connsiteY46" fmla="*/ 1383308 h 15035524"/>
                <a:gd name="connsiteX47" fmla="*/ 10832530 w 27542354"/>
                <a:gd name="connsiteY47" fmla="*/ 1310974 h 15035524"/>
                <a:gd name="connsiteX48" fmla="*/ 11058585 w 27542354"/>
                <a:gd name="connsiteY48" fmla="*/ 1763043 h 15035524"/>
                <a:gd name="connsiteX49" fmla="*/ 11411229 w 27542354"/>
                <a:gd name="connsiteY49" fmla="*/ 2142774 h 15035524"/>
                <a:gd name="connsiteX50" fmla="*/ 11998974 w 27542354"/>
                <a:gd name="connsiteY50" fmla="*/ 2224144 h 15035524"/>
                <a:gd name="connsiteX51" fmla="*/ 12315449 w 27542354"/>
                <a:gd name="connsiteY51" fmla="*/ 2884156 h 15035524"/>
                <a:gd name="connsiteX52" fmla="*/ 12785642 w 27542354"/>
                <a:gd name="connsiteY52" fmla="*/ 2703327 h 15035524"/>
                <a:gd name="connsiteX53" fmla="*/ 13671776 w 27542354"/>
                <a:gd name="connsiteY53" fmla="*/ 3155388 h 15035524"/>
                <a:gd name="connsiteX54" fmla="*/ 14123886 w 27542354"/>
                <a:gd name="connsiteY54" fmla="*/ 2857035 h 15035524"/>
                <a:gd name="connsiteX55" fmla="*/ 14259509 w 27542354"/>
                <a:gd name="connsiteY55" fmla="*/ 2287434 h 15035524"/>
                <a:gd name="connsiteX56" fmla="*/ 14892468 w 27542354"/>
                <a:gd name="connsiteY56" fmla="*/ 1645503 h 15035524"/>
                <a:gd name="connsiteX57" fmla="*/ 15778605 w 27542354"/>
                <a:gd name="connsiteY57" fmla="*/ 1093983 h 15035524"/>
                <a:gd name="connsiteX58" fmla="*/ 16022739 w 27542354"/>
                <a:gd name="connsiteY58" fmla="*/ 1564133 h 15035524"/>
                <a:gd name="connsiteX59" fmla="*/ 16013694 w 27542354"/>
                <a:gd name="connsiteY59" fmla="*/ 2052363 h 15035524"/>
                <a:gd name="connsiteX60" fmla="*/ 16556232 w 27542354"/>
                <a:gd name="connsiteY60" fmla="*/ 2142785 h 15035524"/>
                <a:gd name="connsiteX61" fmla="*/ 16863663 w 27542354"/>
                <a:gd name="connsiteY61" fmla="*/ 1627419 h 15035524"/>
                <a:gd name="connsiteX62" fmla="*/ 17406193 w 27542354"/>
                <a:gd name="connsiteY62" fmla="*/ 1292897 h 15035524"/>
                <a:gd name="connsiteX63" fmla="*/ 18120524 w 27542354"/>
                <a:gd name="connsiteY63" fmla="*/ 714260 h 15035524"/>
                <a:gd name="connsiteX64" fmla="*/ 18744437 w 27542354"/>
                <a:gd name="connsiteY64" fmla="*/ -1 h 15035524"/>
                <a:gd name="connsiteX65" fmla="*/ 19982300 w 27542354"/>
                <a:gd name="connsiteY65" fmla="*/ 343465 h 15035524"/>
                <a:gd name="connsiteX66" fmla="*/ 19837609 w 27542354"/>
                <a:gd name="connsiteY66" fmla="*/ 1121173 h 15035524"/>
                <a:gd name="connsiteX67" fmla="*/ 21881359 w 27542354"/>
                <a:gd name="connsiteY67" fmla="*/ 1772279 h 15035524"/>
                <a:gd name="connsiteX68" fmla="*/ 21537712 w 27542354"/>
                <a:gd name="connsiteY68" fmla="*/ 2767023 h 15035524"/>
                <a:gd name="connsiteX69" fmla="*/ 22478203 w 27542354"/>
                <a:gd name="connsiteY69" fmla="*/ 2296774 h 15035524"/>
                <a:gd name="connsiteX70" fmla="*/ 23888932 w 27542354"/>
                <a:gd name="connsiteY70" fmla="*/ 1880797 h 15035524"/>
                <a:gd name="connsiteX71" fmla="*/ 25010275 w 27542354"/>
                <a:gd name="connsiteY71" fmla="*/ 578575 h 15035524"/>
                <a:gd name="connsiteX72" fmla="*/ 26402920 w 27542354"/>
                <a:gd name="connsiteY72" fmla="*/ 759442 h 15035524"/>
                <a:gd name="connsiteX73" fmla="*/ 26554742 w 27542354"/>
                <a:gd name="connsiteY73" fmla="*/ 1935039 h 15035524"/>
                <a:gd name="connsiteX74" fmla="*/ 25751806 w 27542354"/>
                <a:gd name="connsiteY74" fmla="*/ 3689425 h 15035524"/>
                <a:gd name="connsiteX0" fmla="*/ 25751806 w 27542354"/>
                <a:gd name="connsiteY0" fmla="*/ 3689425 h 15035524"/>
                <a:gd name="connsiteX1" fmla="*/ 25950755 w 27542354"/>
                <a:gd name="connsiteY1" fmla="*/ 4828850 h 15035524"/>
                <a:gd name="connsiteX2" fmla="*/ 26439085 w 27542354"/>
                <a:gd name="connsiteY2" fmla="*/ 5986362 h 15035524"/>
                <a:gd name="connsiteX3" fmla="*/ 25824148 w 27542354"/>
                <a:gd name="connsiteY3" fmla="*/ 6709813 h 15035524"/>
                <a:gd name="connsiteX4" fmla="*/ 26619948 w 27542354"/>
                <a:gd name="connsiteY4" fmla="*/ 7722645 h 15035524"/>
                <a:gd name="connsiteX5" fmla="*/ 26312478 w 27542354"/>
                <a:gd name="connsiteY5" fmla="*/ 9549362 h 15035524"/>
                <a:gd name="connsiteX6" fmla="*/ 26402912 w 27542354"/>
                <a:gd name="connsiteY6" fmla="*/ 10526022 h 15035524"/>
                <a:gd name="connsiteX7" fmla="*/ 27542355 w 27542354"/>
                <a:gd name="connsiteY7" fmla="*/ 11888520 h 15035524"/>
                <a:gd name="connsiteX8" fmla="*/ 26089423 w 27542354"/>
                <a:gd name="connsiteY8" fmla="*/ 11858374 h 15035524"/>
                <a:gd name="connsiteX9" fmla="*/ 24473715 w 27542354"/>
                <a:gd name="connsiteY9" fmla="*/ 11972919 h 15035524"/>
                <a:gd name="connsiteX10" fmla="*/ 23135328 w 27542354"/>
                <a:gd name="connsiteY10" fmla="*/ 12105549 h 15035524"/>
                <a:gd name="connsiteX11" fmla="*/ 22261159 w 27542354"/>
                <a:gd name="connsiteY11" fmla="*/ 12816942 h 15035524"/>
                <a:gd name="connsiteX12" fmla="*/ 20826342 w 27542354"/>
                <a:gd name="connsiteY12" fmla="*/ 14251789 h 15035524"/>
                <a:gd name="connsiteX13" fmla="*/ 12952786 w 27542354"/>
                <a:gd name="connsiteY13" fmla="*/ 14842599 h 15035524"/>
                <a:gd name="connsiteX14" fmla="*/ 11934663 w 27542354"/>
                <a:gd name="connsiteY14" fmla="*/ 14890849 h 15035524"/>
                <a:gd name="connsiteX15" fmla="*/ 8506848 w 27542354"/>
                <a:gd name="connsiteY15" fmla="*/ 15035524 h 15035524"/>
                <a:gd name="connsiteX16" fmla="*/ 7985095 w 27542354"/>
                <a:gd name="connsiteY16" fmla="*/ 14390442 h 15035524"/>
                <a:gd name="connsiteX17" fmla="*/ 7400308 w 27542354"/>
                <a:gd name="connsiteY17" fmla="*/ 14360297 h 15035524"/>
                <a:gd name="connsiteX18" fmla="*/ 6972273 w 27542354"/>
                <a:gd name="connsiteY18" fmla="*/ 14631594 h 15035524"/>
                <a:gd name="connsiteX19" fmla="*/ 5181729 w 27542354"/>
                <a:gd name="connsiteY19" fmla="*/ 14547195 h 15035524"/>
                <a:gd name="connsiteX20" fmla="*/ 4397998 w 27542354"/>
                <a:gd name="connsiteY20" fmla="*/ 13914178 h 15035524"/>
                <a:gd name="connsiteX21" fmla="*/ 2908896 w 27542354"/>
                <a:gd name="connsiteY21" fmla="*/ 13106324 h 15035524"/>
                <a:gd name="connsiteX22" fmla="*/ 1263043 w 27542354"/>
                <a:gd name="connsiteY22" fmla="*/ 12394931 h 15035524"/>
                <a:gd name="connsiteX23" fmla="*/ 485320 w 27542354"/>
                <a:gd name="connsiteY23" fmla="*/ 11942774 h 15035524"/>
                <a:gd name="connsiteX24" fmla="*/ 0 w 27542354"/>
                <a:gd name="connsiteY24" fmla="*/ 11649662 h 15035524"/>
                <a:gd name="connsiteX25" fmla="*/ 1003686 w 27542354"/>
                <a:gd name="connsiteY25" fmla="*/ 10903697 h 15035524"/>
                <a:gd name="connsiteX26" fmla="*/ 2902551 w 27542354"/>
                <a:gd name="connsiteY26" fmla="*/ 9719298 h 15035524"/>
                <a:gd name="connsiteX27" fmla="*/ 2558940 w 27542354"/>
                <a:gd name="connsiteY27" fmla="*/ 9185867 h 15035524"/>
                <a:gd name="connsiteX28" fmla="*/ 2402508 w 27542354"/>
                <a:gd name="connsiteY28" fmla="*/ 8498784 h 15035524"/>
                <a:gd name="connsiteX29" fmla="*/ 2730740 w 27542354"/>
                <a:gd name="connsiteY29" fmla="*/ 8471613 h 15035524"/>
                <a:gd name="connsiteX30" fmla="*/ 2947754 w 27542354"/>
                <a:gd name="connsiteY30" fmla="*/ 8001468 h 15035524"/>
                <a:gd name="connsiteX31" fmla="*/ 3499325 w 27542354"/>
                <a:gd name="connsiteY31" fmla="*/ 7558451 h 15035524"/>
                <a:gd name="connsiteX32" fmla="*/ 3680166 w 27542354"/>
                <a:gd name="connsiteY32" fmla="*/ 6681453 h 15035524"/>
                <a:gd name="connsiteX33" fmla="*/ 4186528 w 27542354"/>
                <a:gd name="connsiteY33" fmla="*/ 6690489 h 15035524"/>
                <a:gd name="connsiteX34" fmla="*/ 4837569 w 27542354"/>
                <a:gd name="connsiteY34" fmla="*/ 7160639 h 15035524"/>
                <a:gd name="connsiteX35" fmla="*/ 5352976 w 27542354"/>
                <a:gd name="connsiteY35" fmla="*/ 7079272 h 15035524"/>
                <a:gd name="connsiteX36" fmla="*/ 5741786 w 27542354"/>
                <a:gd name="connsiteY36" fmla="*/ 6708577 h 15035524"/>
                <a:gd name="connsiteX37" fmla="*/ 6157723 w 27542354"/>
                <a:gd name="connsiteY37" fmla="*/ 6545836 h 15035524"/>
                <a:gd name="connsiteX38" fmla="*/ 6745471 w 27542354"/>
                <a:gd name="connsiteY38" fmla="*/ 5976243 h 15035524"/>
                <a:gd name="connsiteX39" fmla="*/ 6890140 w 27542354"/>
                <a:gd name="connsiteY39" fmla="*/ 5126367 h 15035524"/>
                <a:gd name="connsiteX40" fmla="*/ 7568305 w 27542354"/>
                <a:gd name="connsiteY40" fmla="*/ 4556773 h 15035524"/>
                <a:gd name="connsiteX41" fmla="*/ 8137967 w 27542354"/>
                <a:gd name="connsiteY41" fmla="*/ 4113752 h 15035524"/>
                <a:gd name="connsiteX42" fmla="*/ 8463480 w 27542354"/>
                <a:gd name="connsiteY42" fmla="*/ 3309085 h 15035524"/>
                <a:gd name="connsiteX43" fmla="*/ 9024093 w 27542354"/>
                <a:gd name="connsiteY43" fmla="*/ 2956478 h 15035524"/>
                <a:gd name="connsiteX44" fmla="*/ 9675138 w 27542354"/>
                <a:gd name="connsiteY44" fmla="*/ 2603876 h 15035524"/>
                <a:gd name="connsiteX45" fmla="*/ 9558580 w 27542354"/>
                <a:gd name="connsiteY45" fmla="*/ 2055592 h 15035524"/>
                <a:gd name="connsiteX46" fmla="*/ 10353296 w 27542354"/>
                <a:gd name="connsiteY46" fmla="*/ 1383308 h 15035524"/>
                <a:gd name="connsiteX47" fmla="*/ 10832530 w 27542354"/>
                <a:gd name="connsiteY47" fmla="*/ 1310974 h 15035524"/>
                <a:gd name="connsiteX48" fmla="*/ 11058585 w 27542354"/>
                <a:gd name="connsiteY48" fmla="*/ 1763043 h 15035524"/>
                <a:gd name="connsiteX49" fmla="*/ 11411229 w 27542354"/>
                <a:gd name="connsiteY49" fmla="*/ 2142774 h 15035524"/>
                <a:gd name="connsiteX50" fmla="*/ 11998974 w 27542354"/>
                <a:gd name="connsiteY50" fmla="*/ 2224144 h 15035524"/>
                <a:gd name="connsiteX51" fmla="*/ 12315449 w 27542354"/>
                <a:gd name="connsiteY51" fmla="*/ 2884156 h 15035524"/>
                <a:gd name="connsiteX52" fmla="*/ 12785642 w 27542354"/>
                <a:gd name="connsiteY52" fmla="*/ 2703327 h 15035524"/>
                <a:gd name="connsiteX53" fmla="*/ 13671776 w 27542354"/>
                <a:gd name="connsiteY53" fmla="*/ 3155388 h 15035524"/>
                <a:gd name="connsiteX54" fmla="*/ 14123886 w 27542354"/>
                <a:gd name="connsiteY54" fmla="*/ 2857035 h 15035524"/>
                <a:gd name="connsiteX55" fmla="*/ 14259509 w 27542354"/>
                <a:gd name="connsiteY55" fmla="*/ 2287434 h 15035524"/>
                <a:gd name="connsiteX56" fmla="*/ 14892468 w 27542354"/>
                <a:gd name="connsiteY56" fmla="*/ 1645503 h 15035524"/>
                <a:gd name="connsiteX57" fmla="*/ 15778605 w 27542354"/>
                <a:gd name="connsiteY57" fmla="*/ 1093983 h 15035524"/>
                <a:gd name="connsiteX58" fmla="*/ 16022739 w 27542354"/>
                <a:gd name="connsiteY58" fmla="*/ 1564133 h 15035524"/>
                <a:gd name="connsiteX59" fmla="*/ 16013694 w 27542354"/>
                <a:gd name="connsiteY59" fmla="*/ 2052363 h 15035524"/>
                <a:gd name="connsiteX60" fmla="*/ 16556232 w 27542354"/>
                <a:gd name="connsiteY60" fmla="*/ 2142785 h 15035524"/>
                <a:gd name="connsiteX61" fmla="*/ 17406193 w 27542354"/>
                <a:gd name="connsiteY61" fmla="*/ 1292897 h 15035524"/>
                <a:gd name="connsiteX62" fmla="*/ 18120524 w 27542354"/>
                <a:gd name="connsiteY62" fmla="*/ 714260 h 15035524"/>
                <a:gd name="connsiteX63" fmla="*/ 18744437 w 27542354"/>
                <a:gd name="connsiteY63" fmla="*/ -1 h 15035524"/>
                <a:gd name="connsiteX64" fmla="*/ 19982300 w 27542354"/>
                <a:gd name="connsiteY64" fmla="*/ 343465 h 15035524"/>
                <a:gd name="connsiteX65" fmla="*/ 19837609 w 27542354"/>
                <a:gd name="connsiteY65" fmla="*/ 1121173 h 15035524"/>
                <a:gd name="connsiteX66" fmla="*/ 21881359 w 27542354"/>
                <a:gd name="connsiteY66" fmla="*/ 1772279 h 15035524"/>
                <a:gd name="connsiteX67" fmla="*/ 21537712 w 27542354"/>
                <a:gd name="connsiteY67" fmla="*/ 2767023 h 15035524"/>
                <a:gd name="connsiteX68" fmla="*/ 22478203 w 27542354"/>
                <a:gd name="connsiteY68" fmla="*/ 2296774 h 15035524"/>
                <a:gd name="connsiteX69" fmla="*/ 23888932 w 27542354"/>
                <a:gd name="connsiteY69" fmla="*/ 1880797 h 15035524"/>
                <a:gd name="connsiteX70" fmla="*/ 25010275 w 27542354"/>
                <a:gd name="connsiteY70" fmla="*/ 578575 h 15035524"/>
                <a:gd name="connsiteX71" fmla="*/ 26402920 w 27542354"/>
                <a:gd name="connsiteY71" fmla="*/ 759442 h 15035524"/>
                <a:gd name="connsiteX72" fmla="*/ 26554742 w 27542354"/>
                <a:gd name="connsiteY72" fmla="*/ 1935039 h 15035524"/>
                <a:gd name="connsiteX73" fmla="*/ 25751806 w 27542354"/>
                <a:gd name="connsiteY73" fmla="*/ 3689425 h 15035524"/>
                <a:gd name="connsiteX0" fmla="*/ 25751806 w 27542354"/>
                <a:gd name="connsiteY0" fmla="*/ 3689425 h 15035524"/>
                <a:gd name="connsiteX1" fmla="*/ 25950755 w 27542354"/>
                <a:gd name="connsiteY1" fmla="*/ 4828850 h 15035524"/>
                <a:gd name="connsiteX2" fmla="*/ 26439085 w 27542354"/>
                <a:gd name="connsiteY2" fmla="*/ 5986362 h 15035524"/>
                <a:gd name="connsiteX3" fmla="*/ 25824148 w 27542354"/>
                <a:gd name="connsiteY3" fmla="*/ 6709813 h 15035524"/>
                <a:gd name="connsiteX4" fmla="*/ 26619948 w 27542354"/>
                <a:gd name="connsiteY4" fmla="*/ 7722645 h 15035524"/>
                <a:gd name="connsiteX5" fmla="*/ 26312478 w 27542354"/>
                <a:gd name="connsiteY5" fmla="*/ 9549362 h 15035524"/>
                <a:gd name="connsiteX6" fmla="*/ 26402912 w 27542354"/>
                <a:gd name="connsiteY6" fmla="*/ 10526022 h 15035524"/>
                <a:gd name="connsiteX7" fmla="*/ 27542355 w 27542354"/>
                <a:gd name="connsiteY7" fmla="*/ 11888520 h 15035524"/>
                <a:gd name="connsiteX8" fmla="*/ 26089423 w 27542354"/>
                <a:gd name="connsiteY8" fmla="*/ 11858374 h 15035524"/>
                <a:gd name="connsiteX9" fmla="*/ 24473715 w 27542354"/>
                <a:gd name="connsiteY9" fmla="*/ 11972919 h 15035524"/>
                <a:gd name="connsiteX10" fmla="*/ 23135328 w 27542354"/>
                <a:gd name="connsiteY10" fmla="*/ 12105549 h 15035524"/>
                <a:gd name="connsiteX11" fmla="*/ 22261159 w 27542354"/>
                <a:gd name="connsiteY11" fmla="*/ 12816942 h 15035524"/>
                <a:gd name="connsiteX12" fmla="*/ 20826342 w 27542354"/>
                <a:gd name="connsiteY12" fmla="*/ 14251789 h 15035524"/>
                <a:gd name="connsiteX13" fmla="*/ 12952786 w 27542354"/>
                <a:gd name="connsiteY13" fmla="*/ 14842599 h 15035524"/>
                <a:gd name="connsiteX14" fmla="*/ 11934663 w 27542354"/>
                <a:gd name="connsiteY14" fmla="*/ 14890849 h 15035524"/>
                <a:gd name="connsiteX15" fmla="*/ 8506848 w 27542354"/>
                <a:gd name="connsiteY15" fmla="*/ 15035524 h 15035524"/>
                <a:gd name="connsiteX16" fmla="*/ 7985095 w 27542354"/>
                <a:gd name="connsiteY16" fmla="*/ 14390442 h 15035524"/>
                <a:gd name="connsiteX17" fmla="*/ 7400308 w 27542354"/>
                <a:gd name="connsiteY17" fmla="*/ 14360297 h 15035524"/>
                <a:gd name="connsiteX18" fmla="*/ 6972273 w 27542354"/>
                <a:gd name="connsiteY18" fmla="*/ 14631594 h 15035524"/>
                <a:gd name="connsiteX19" fmla="*/ 5181729 w 27542354"/>
                <a:gd name="connsiteY19" fmla="*/ 14547195 h 15035524"/>
                <a:gd name="connsiteX20" fmla="*/ 4397998 w 27542354"/>
                <a:gd name="connsiteY20" fmla="*/ 13914178 h 15035524"/>
                <a:gd name="connsiteX21" fmla="*/ 2908896 w 27542354"/>
                <a:gd name="connsiteY21" fmla="*/ 13106324 h 15035524"/>
                <a:gd name="connsiteX22" fmla="*/ 1263043 w 27542354"/>
                <a:gd name="connsiteY22" fmla="*/ 12394931 h 15035524"/>
                <a:gd name="connsiteX23" fmla="*/ 485320 w 27542354"/>
                <a:gd name="connsiteY23" fmla="*/ 11942774 h 15035524"/>
                <a:gd name="connsiteX24" fmla="*/ 0 w 27542354"/>
                <a:gd name="connsiteY24" fmla="*/ 11649662 h 15035524"/>
                <a:gd name="connsiteX25" fmla="*/ 1003686 w 27542354"/>
                <a:gd name="connsiteY25" fmla="*/ 10903697 h 15035524"/>
                <a:gd name="connsiteX26" fmla="*/ 2902551 w 27542354"/>
                <a:gd name="connsiteY26" fmla="*/ 9719298 h 15035524"/>
                <a:gd name="connsiteX27" fmla="*/ 2558940 w 27542354"/>
                <a:gd name="connsiteY27" fmla="*/ 9185867 h 15035524"/>
                <a:gd name="connsiteX28" fmla="*/ 2402508 w 27542354"/>
                <a:gd name="connsiteY28" fmla="*/ 8498784 h 15035524"/>
                <a:gd name="connsiteX29" fmla="*/ 2730740 w 27542354"/>
                <a:gd name="connsiteY29" fmla="*/ 8471613 h 15035524"/>
                <a:gd name="connsiteX30" fmla="*/ 2947754 w 27542354"/>
                <a:gd name="connsiteY30" fmla="*/ 8001468 h 15035524"/>
                <a:gd name="connsiteX31" fmla="*/ 3499325 w 27542354"/>
                <a:gd name="connsiteY31" fmla="*/ 7558451 h 15035524"/>
                <a:gd name="connsiteX32" fmla="*/ 3680166 w 27542354"/>
                <a:gd name="connsiteY32" fmla="*/ 6681453 h 15035524"/>
                <a:gd name="connsiteX33" fmla="*/ 4186528 w 27542354"/>
                <a:gd name="connsiteY33" fmla="*/ 6690489 h 15035524"/>
                <a:gd name="connsiteX34" fmla="*/ 4837569 w 27542354"/>
                <a:gd name="connsiteY34" fmla="*/ 7160639 h 15035524"/>
                <a:gd name="connsiteX35" fmla="*/ 5352976 w 27542354"/>
                <a:gd name="connsiteY35" fmla="*/ 7079272 h 15035524"/>
                <a:gd name="connsiteX36" fmla="*/ 5741786 w 27542354"/>
                <a:gd name="connsiteY36" fmla="*/ 6708577 h 15035524"/>
                <a:gd name="connsiteX37" fmla="*/ 6157723 w 27542354"/>
                <a:gd name="connsiteY37" fmla="*/ 6545836 h 15035524"/>
                <a:gd name="connsiteX38" fmla="*/ 6745471 w 27542354"/>
                <a:gd name="connsiteY38" fmla="*/ 5976243 h 15035524"/>
                <a:gd name="connsiteX39" fmla="*/ 6890140 w 27542354"/>
                <a:gd name="connsiteY39" fmla="*/ 5126367 h 15035524"/>
                <a:gd name="connsiteX40" fmla="*/ 7568305 w 27542354"/>
                <a:gd name="connsiteY40" fmla="*/ 4556773 h 15035524"/>
                <a:gd name="connsiteX41" fmla="*/ 8137967 w 27542354"/>
                <a:gd name="connsiteY41" fmla="*/ 4113752 h 15035524"/>
                <a:gd name="connsiteX42" fmla="*/ 8463480 w 27542354"/>
                <a:gd name="connsiteY42" fmla="*/ 3309085 h 15035524"/>
                <a:gd name="connsiteX43" fmla="*/ 9024093 w 27542354"/>
                <a:gd name="connsiteY43" fmla="*/ 2956478 h 15035524"/>
                <a:gd name="connsiteX44" fmla="*/ 9675138 w 27542354"/>
                <a:gd name="connsiteY44" fmla="*/ 2603876 h 15035524"/>
                <a:gd name="connsiteX45" fmla="*/ 9558580 w 27542354"/>
                <a:gd name="connsiteY45" fmla="*/ 2055592 h 15035524"/>
                <a:gd name="connsiteX46" fmla="*/ 10353296 w 27542354"/>
                <a:gd name="connsiteY46" fmla="*/ 1383308 h 15035524"/>
                <a:gd name="connsiteX47" fmla="*/ 10832530 w 27542354"/>
                <a:gd name="connsiteY47" fmla="*/ 1310974 h 15035524"/>
                <a:gd name="connsiteX48" fmla="*/ 11058585 w 27542354"/>
                <a:gd name="connsiteY48" fmla="*/ 1763043 h 15035524"/>
                <a:gd name="connsiteX49" fmla="*/ 11411229 w 27542354"/>
                <a:gd name="connsiteY49" fmla="*/ 2142774 h 15035524"/>
                <a:gd name="connsiteX50" fmla="*/ 11998974 w 27542354"/>
                <a:gd name="connsiteY50" fmla="*/ 2224144 h 15035524"/>
                <a:gd name="connsiteX51" fmla="*/ 12315449 w 27542354"/>
                <a:gd name="connsiteY51" fmla="*/ 2884156 h 15035524"/>
                <a:gd name="connsiteX52" fmla="*/ 12785642 w 27542354"/>
                <a:gd name="connsiteY52" fmla="*/ 2703327 h 15035524"/>
                <a:gd name="connsiteX53" fmla="*/ 13671776 w 27542354"/>
                <a:gd name="connsiteY53" fmla="*/ 3155388 h 15035524"/>
                <a:gd name="connsiteX54" fmla="*/ 14123886 w 27542354"/>
                <a:gd name="connsiteY54" fmla="*/ 2857035 h 15035524"/>
                <a:gd name="connsiteX55" fmla="*/ 14259509 w 27542354"/>
                <a:gd name="connsiteY55" fmla="*/ 2287434 h 15035524"/>
                <a:gd name="connsiteX56" fmla="*/ 14892468 w 27542354"/>
                <a:gd name="connsiteY56" fmla="*/ 1645503 h 15035524"/>
                <a:gd name="connsiteX57" fmla="*/ 15778605 w 27542354"/>
                <a:gd name="connsiteY57" fmla="*/ 1093983 h 15035524"/>
                <a:gd name="connsiteX58" fmla="*/ 16022739 w 27542354"/>
                <a:gd name="connsiteY58" fmla="*/ 1564133 h 15035524"/>
                <a:gd name="connsiteX59" fmla="*/ 16556232 w 27542354"/>
                <a:gd name="connsiteY59" fmla="*/ 2142785 h 15035524"/>
                <a:gd name="connsiteX60" fmla="*/ 17406193 w 27542354"/>
                <a:gd name="connsiteY60" fmla="*/ 1292897 h 15035524"/>
                <a:gd name="connsiteX61" fmla="*/ 18120524 w 27542354"/>
                <a:gd name="connsiteY61" fmla="*/ 714260 h 15035524"/>
                <a:gd name="connsiteX62" fmla="*/ 18744437 w 27542354"/>
                <a:gd name="connsiteY62" fmla="*/ -1 h 15035524"/>
                <a:gd name="connsiteX63" fmla="*/ 19982300 w 27542354"/>
                <a:gd name="connsiteY63" fmla="*/ 343465 h 15035524"/>
                <a:gd name="connsiteX64" fmla="*/ 19837609 w 27542354"/>
                <a:gd name="connsiteY64" fmla="*/ 1121173 h 15035524"/>
                <a:gd name="connsiteX65" fmla="*/ 21881359 w 27542354"/>
                <a:gd name="connsiteY65" fmla="*/ 1772279 h 15035524"/>
                <a:gd name="connsiteX66" fmla="*/ 21537712 w 27542354"/>
                <a:gd name="connsiteY66" fmla="*/ 2767023 h 15035524"/>
                <a:gd name="connsiteX67" fmla="*/ 22478203 w 27542354"/>
                <a:gd name="connsiteY67" fmla="*/ 2296774 h 15035524"/>
                <a:gd name="connsiteX68" fmla="*/ 23888932 w 27542354"/>
                <a:gd name="connsiteY68" fmla="*/ 1880797 h 15035524"/>
                <a:gd name="connsiteX69" fmla="*/ 25010275 w 27542354"/>
                <a:gd name="connsiteY69" fmla="*/ 578575 h 15035524"/>
                <a:gd name="connsiteX70" fmla="*/ 26402920 w 27542354"/>
                <a:gd name="connsiteY70" fmla="*/ 759442 h 15035524"/>
                <a:gd name="connsiteX71" fmla="*/ 26554742 w 27542354"/>
                <a:gd name="connsiteY71" fmla="*/ 1935039 h 15035524"/>
                <a:gd name="connsiteX72" fmla="*/ 25751806 w 27542354"/>
                <a:gd name="connsiteY72" fmla="*/ 3689425 h 15035524"/>
                <a:gd name="connsiteX0" fmla="*/ 25751806 w 27542354"/>
                <a:gd name="connsiteY0" fmla="*/ 3689425 h 15035524"/>
                <a:gd name="connsiteX1" fmla="*/ 25950755 w 27542354"/>
                <a:gd name="connsiteY1" fmla="*/ 4828850 h 15035524"/>
                <a:gd name="connsiteX2" fmla="*/ 26439085 w 27542354"/>
                <a:gd name="connsiteY2" fmla="*/ 5986362 h 15035524"/>
                <a:gd name="connsiteX3" fmla="*/ 25824148 w 27542354"/>
                <a:gd name="connsiteY3" fmla="*/ 6709813 h 15035524"/>
                <a:gd name="connsiteX4" fmla="*/ 26619948 w 27542354"/>
                <a:gd name="connsiteY4" fmla="*/ 7722645 h 15035524"/>
                <a:gd name="connsiteX5" fmla="*/ 26312478 w 27542354"/>
                <a:gd name="connsiteY5" fmla="*/ 9549362 h 15035524"/>
                <a:gd name="connsiteX6" fmla="*/ 26402912 w 27542354"/>
                <a:gd name="connsiteY6" fmla="*/ 10526022 h 15035524"/>
                <a:gd name="connsiteX7" fmla="*/ 27542355 w 27542354"/>
                <a:gd name="connsiteY7" fmla="*/ 11888520 h 15035524"/>
                <a:gd name="connsiteX8" fmla="*/ 26089423 w 27542354"/>
                <a:gd name="connsiteY8" fmla="*/ 11858374 h 15035524"/>
                <a:gd name="connsiteX9" fmla="*/ 24473715 w 27542354"/>
                <a:gd name="connsiteY9" fmla="*/ 11972919 h 15035524"/>
                <a:gd name="connsiteX10" fmla="*/ 23135328 w 27542354"/>
                <a:gd name="connsiteY10" fmla="*/ 12105549 h 15035524"/>
                <a:gd name="connsiteX11" fmla="*/ 22261159 w 27542354"/>
                <a:gd name="connsiteY11" fmla="*/ 12816942 h 15035524"/>
                <a:gd name="connsiteX12" fmla="*/ 16081136 w 27542354"/>
                <a:gd name="connsiteY12" fmla="*/ 11254718 h 15035524"/>
                <a:gd name="connsiteX13" fmla="*/ 12952786 w 27542354"/>
                <a:gd name="connsiteY13" fmla="*/ 14842599 h 15035524"/>
                <a:gd name="connsiteX14" fmla="*/ 11934663 w 27542354"/>
                <a:gd name="connsiteY14" fmla="*/ 14890849 h 15035524"/>
                <a:gd name="connsiteX15" fmla="*/ 8506848 w 27542354"/>
                <a:gd name="connsiteY15" fmla="*/ 15035524 h 15035524"/>
                <a:gd name="connsiteX16" fmla="*/ 7985095 w 27542354"/>
                <a:gd name="connsiteY16" fmla="*/ 14390442 h 15035524"/>
                <a:gd name="connsiteX17" fmla="*/ 7400308 w 27542354"/>
                <a:gd name="connsiteY17" fmla="*/ 14360297 h 15035524"/>
                <a:gd name="connsiteX18" fmla="*/ 6972273 w 27542354"/>
                <a:gd name="connsiteY18" fmla="*/ 14631594 h 15035524"/>
                <a:gd name="connsiteX19" fmla="*/ 5181729 w 27542354"/>
                <a:gd name="connsiteY19" fmla="*/ 14547195 h 15035524"/>
                <a:gd name="connsiteX20" fmla="*/ 4397998 w 27542354"/>
                <a:gd name="connsiteY20" fmla="*/ 13914178 h 15035524"/>
                <a:gd name="connsiteX21" fmla="*/ 2908896 w 27542354"/>
                <a:gd name="connsiteY21" fmla="*/ 13106324 h 15035524"/>
                <a:gd name="connsiteX22" fmla="*/ 1263043 w 27542354"/>
                <a:gd name="connsiteY22" fmla="*/ 12394931 h 15035524"/>
                <a:gd name="connsiteX23" fmla="*/ 485320 w 27542354"/>
                <a:gd name="connsiteY23" fmla="*/ 11942774 h 15035524"/>
                <a:gd name="connsiteX24" fmla="*/ 0 w 27542354"/>
                <a:gd name="connsiteY24" fmla="*/ 11649662 h 15035524"/>
                <a:gd name="connsiteX25" fmla="*/ 1003686 w 27542354"/>
                <a:gd name="connsiteY25" fmla="*/ 10903697 h 15035524"/>
                <a:gd name="connsiteX26" fmla="*/ 2902551 w 27542354"/>
                <a:gd name="connsiteY26" fmla="*/ 9719298 h 15035524"/>
                <a:gd name="connsiteX27" fmla="*/ 2558940 w 27542354"/>
                <a:gd name="connsiteY27" fmla="*/ 9185867 h 15035524"/>
                <a:gd name="connsiteX28" fmla="*/ 2402508 w 27542354"/>
                <a:gd name="connsiteY28" fmla="*/ 8498784 h 15035524"/>
                <a:gd name="connsiteX29" fmla="*/ 2730740 w 27542354"/>
                <a:gd name="connsiteY29" fmla="*/ 8471613 h 15035524"/>
                <a:gd name="connsiteX30" fmla="*/ 2947754 w 27542354"/>
                <a:gd name="connsiteY30" fmla="*/ 8001468 h 15035524"/>
                <a:gd name="connsiteX31" fmla="*/ 3499325 w 27542354"/>
                <a:gd name="connsiteY31" fmla="*/ 7558451 h 15035524"/>
                <a:gd name="connsiteX32" fmla="*/ 3680166 w 27542354"/>
                <a:gd name="connsiteY32" fmla="*/ 6681453 h 15035524"/>
                <a:gd name="connsiteX33" fmla="*/ 4186528 w 27542354"/>
                <a:gd name="connsiteY33" fmla="*/ 6690489 h 15035524"/>
                <a:gd name="connsiteX34" fmla="*/ 4837569 w 27542354"/>
                <a:gd name="connsiteY34" fmla="*/ 7160639 h 15035524"/>
                <a:gd name="connsiteX35" fmla="*/ 5352976 w 27542354"/>
                <a:gd name="connsiteY35" fmla="*/ 7079272 h 15035524"/>
                <a:gd name="connsiteX36" fmla="*/ 5741786 w 27542354"/>
                <a:gd name="connsiteY36" fmla="*/ 6708577 h 15035524"/>
                <a:gd name="connsiteX37" fmla="*/ 6157723 w 27542354"/>
                <a:gd name="connsiteY37" fmla="*/ 6545836 h 15035524"/>
                <a:gd name="connsiteX38" fmla="*/ 6745471 w 27542354"/>
                <a:gd name="connsiteY38" fmla="*/ 5976243 h 15035524"/>
                <a:gd name="connsiteX39" fmla="*/ 6890140 w 27542354"/>
                <a:gd name="connsiteY39" fmla="*/ 5126367 h 15035524"/>
                <a:gd name="connsiteX40" fmla="*/ 7568305 w 27542354"/>
                <a:gd name="connsiteY40" fmla="*/ 4556773 h 15035524"/>
                <a:gd name="connsiteX41" fmla="*/ 8137967 w 27542354"/>
                <a:gd name="connsiteY41" fmla="*/ 4113752 h 15035524"/>
                <a:gd name="connsiteX42" fmla="*/ 8463480 w 27542354"/>
                <a:gd name="connsiteY42" fmla="*/ 3309085 h 15035524"/>
                <a:gd name="connsiteX43" fmla="*/ 9024093 w 27542354"/>
                <a:gd name="connsiteY43" fmla="*/ 2956478 h 15035524"/>
                <a:gd name="connsiteX44" fmla="*/ 9675138 w 27542354"/>
                <a:gd name="connsiteY44" fmla="*/ 2603876 h 15035524"/>
                <a:gd name="connsiteX45" fmla="*/ 9558580 w 27542354"/>
                <a:gd name="connsiteY45" fmla="*/ 2055592 h 15035524"/>
                <a:gd name="connsiteX46" fmla="*/ 10353296 w 27542354"/>
                <a:gd name="connsiteY46" fmla="*/ 1383308 h 15035524"/>
                <a:gd name="connsiteX47" fmla="*/ 10832530 w 27542354"/>
                <a:gd name="connsiteY47" fmla="*/ 1310974 h 15035524"/>
                <a:gd name="connsiteX48" fmla="*/ 11058585 w 27542354"/>
                <a:gd name="connsiteY48" fmla="*/ 1763043 h 15035524"/>
                <a:gd name="connsiteX49" fmla="*/ 11411229 w 27542354"/>
                <a:gd name="connsiteY49" fmla="*/ 2142774 h 15035524"/>
                <a:gd name="connsiteX50" fmla="*/ 11998974 w 27542354"/>
                <a:gd name="connsiteY50" fmla="*/ 2224144 h 15035524"/>
                <a:gd name="connsiteX51" fmla="*/ 12315449 w 27542354"/>
                <a:gd name="connsiteY51" fmla="*/ 2884156 h 15035524"/>
                <a:gd name="connsiteX52" fmla="*/ 12785642 w 27542354"/>
                <a:gd name="connsiteY52" fmla="*/ 2703327 h 15035524"/>
                <a:gd name="connsiteX53" fmla="*/ 13671776 w 27542354"/>
                <a:gd name="connsiteY53" fmla="*/ 3155388 h 15035524"/>
                <a:gd name="connsiteX54" fmla="*/ 14123886 w 27542354"/>
                <a:gd name="connsiteY54" fmla="*/ 2857035 h 15035524"/>
                <a:gd name="connsiteX55" fmla="*/ 14259509 w 27542354"/>
                <a:gd name="connsiteY55" fmla="*/ 2287434 h 15035524"/>
                <a:gd name="connsiteX56" fmla="*/ 14892468 w 27542354"/>
                <a:gd name="connsiteY56" fmla="*/ 1645503 h 15035524"/>
                <a:gd name="connsiteX57" fmla="*/ 15778605 w 27542354"/>
                <a:gd name="connsiteY57" fmla="*/ 1093983 h 15035524"/>
                <a:gd name="connsiteX58" fmla="*/ 16022739 w 27542354"/>
                <a:gd name="connsiteY58" fmla="*/ 1564133 h 15035524"/>
                <a:gd name="connsiteX59" fmla="*/ 16556232 w 27542354"/>
                <a:gd name="connsiteY59" fmla="*/ 2142785 h 15035524"/>
                <a:gd name="connsiteX60" fmla="*/ 17406193 w 27542354"/>
                <a:gd name="connsiteY60" fmla="*/ 1292897 h 15035524"/>
                <a:gd name="connsiteX61" fmla="*/ 18120524 w 27542354"/>
                <a:gd name="connsiteY61" fmla="*/ 714260 h 15035524"/>
                <a:gd name="connsiteX62" fmla="*/ 18744437 w 27542354"/>
                <a:gd name="connsiteY62" fmla="*/ -1 h 15035524"/>
                <a:gd name="connsiteX63" fmla="*/ 19982300 w 27542354"/>
                <a:gd name="connsiteY63" fmla="*/ 343465 h 15035524"/>
                <a:gd name="connsiteX64" fmla="*/ 19837609 w 27542354"/>
                <a:gd name="connsiteY64" fmla="*/ 1121173 h 15035524"/>
                <a:gd name="connsiteX65" fmla="*/ 21881359 w 27542354"/>
                <a:gd name="connsiteY65" fmla="*/ 1772279 h 15035524"/>
                <a:gd name="connsiteX66" fmla="*/ 21537712 w 27542354"/>
                <a:gd name="connsiteY66" fmla="*/ 2767023 h 15035524"/>
                <a:gd name="connsiteX67" fmla="*/ 22478203 w 27542354"/>
                <a:gd name="connsiteY67" fmla="*/ 2296774 h 15035524"/>
                <a:gd name="connsiteX68" fmla="*/ 23888932 w 27542354"/>
                <a:gd name="connsiteY68" fmla="*/ 1880797 h 15035524"/>
                <a:gd name="connsiteX69" fmla="*/ 25010275 w 27542354"/>
                <a:gd name="connsiteY69" fmla="*/ 578575 h 15035524"/>
                <a:gd name="connsiteX70" fmla="*/ 26402920 w 27542354"/>
                <a:gd name="connsiteY70" fmla="*/ 759442 h 15035524"/>
                <a:gd name="connsiteX71" fmla="*/ 26554742 w 27542354"/>
                <a:gd name="connsiteY71" fmla="*/ 1935039 h 15035524"/>
                <a:gd name="connsiteX72" fmla="*/ 25751806 w 27542354"/>
                <a:gd name="connsiteY72" fmla="*/ 3689425 h 15035524"/>
                <a:gd name="connsiteX0" fmla="*/ 25751806 w 27542354"/>
                <a:gd name="connsiteY0" fmla="*/ 3689425 h 15035524"/>
                <a:gd name="connsiteX1" fmla="*/ 25950755 w 27542354"/>
                <a:gd name="connsiteY1" fmla="*/ 4828850 h 15035524"/>
                <a:gd name="connsiteX2" fmla="*/ 26439085 w 27542354"/>
                <a:gd name="connsiteY2" fmla="*/ 5986362 h 15035524"/>
                <a:gd name="connsiteX3" fmla="*/ 25824148 w 27542354"/>
                <a:gd name="connsiteY3" fmla="*/ 6709813 h 15035524"/>
                <a:gd name="connsiteX4" fmla="*/ 26619948 w 27542354"/>
                <a:gd name="connsiteY4" fmla="*/ 7722645 h 15035524"/>
                <a:gd name="connsiteX5" fmla="*/ 26312478 w 27542354"/>
                <a:gd name="connsiteY5" fmla="*/ 9549362 h 15035524"/>
                <a:gd name="connsiteX6" fmla="*/ 26402912 w 27542354"/>
                <a:gd name="connsiteY6" fmla="*/ 10526022 h 15035524"/>
                <a:gd name="connsiteX7" fmla="*/ 27542355 w 27542354"/>
                <a:gd name="connsiteY7" fmla="*/ 11888520 h 15035524"/>
                <a:gd name="connsiteX8" fmla="*/ 26089423 w 27542354"/>
                <a:gd name="connsiteY8" fmla="*/ 11858374 h 15035524"/>
                <a:gd name="connsiteX9" fmla="*/ 24473715 w 27542354"/>
                <a:gd name="connsiteY9" fmla="*/ 11972919 h 15035524"/>
                <a:gd name="connsiteX10" fmla="*/ 23135328 w 27542354"/>
                <a:gd name="connsiteY10" fmla="*/ 12105549 h 15035524"/>
                <a:gd name="connsiteX11" fmla="*/ 22261159 w 27542354"/>
                <a:gd name="connsiteY11" fmla="*/ 12816942 h 15035524"/>
                <a:gd name="connsiteX12" fmla="*/ 14929927 w 27542354"/>
                <a:gd name="connsiteY12" fmla="*/ 14391846 h 15035524"/>
                <a:gd name="connsiteX13" fmla="*/ 12952786 w 27542354"/>
                <a:gd name="connsiteY13" fmla="*/ 14842599 h 15035524"/>
                <a:gd name="connsiteX14" fmla="*/ 11934663 w 27542354"/>
                <a:gd name="connsiteY14" fmla="*/ 14890849 h 15035524"/>
                <a:gd name="connsiteX15" fmla="*/ 8506848 w 27542354"/>
                <a:gd name="connsiteY15" fmla="*/ 15035524 h 15035524"/>
                <a:gd name="connsiteX16" fmla="*/ 7985095 w 27542354"/>
                <a:gd name="connsiteY16" fmla="*/ 14390442 h 15035524"/>
                <a:gd name="connsiteX17" fmla="*/ 7400308 w 27542354"/>
                <a:gd name="connsiteY17" fmla="*/ 14360297 h 15035524"/>
                <a:gd name="connsiteX18" fmla="*/ 6972273 w 27542354"/>
                <a:gd name="connsiteY18" fmla="*/ 14631594 h 15035524"/>
                <a:gd name="connsiteX19" fmla="*/ 5181729 w 27542354"/>
                <a:gd name="connsiteY19" fmla="*/ 14547195 h 15035524"/>
                <a:gd name="connsiteX20" fmla="*/ 4397998 w 27542354"/>
                <a:gd name="connsiteY20" fmla="*/ 13914178 h 15035524"/>
                <a:gd name="connsiteX21" fmla="*/ 2908896 w 27542354"/>
                <a:gd name="connsiteY21" fmla="*/ 13106324 h 15035524"/>
                <a:gd name="connsiteX22" fmla="*/ 1263043 w 27542354"/>
                <a:gd name="connsiteY22" fmla="*/ 12394931 h 15035524"/>
                <a:gd name="connsiteX23" fmla="*/ 485320 w 27542354"/>
                <a:gd name="connsiteY23" fmla="*/ 11942774 h 15035524"/>
                <a:gd name="connsiteX24" fmla="*/ 0 w 27542354"/>
                <a:gd name="connsiteY24" fmla="*/ 11649662 h 15035524"/>
                <a:gd name="connsiteX25" fmla="*/ 1003686 w 27542354"/>
                <a:gd name="connsiteY25" fmla="*/ 10903697 h 15035524"/>
                <a:gd name="connsiteX26" fmla="*/ 2902551 w 27542354"/>
                <a:gd name="connsiteY26" fmla="*/ 9719298 h 15035524"/>
                <a:gd name="connsiteX27" fmla="*/ 2558940 w 27542354"/>
                <a:gd name="connsiteY27" fmla="*/ 9185867 h 15035524"/>
                <a:gd name="connsiteX28" fmla="*/ 2402508 w 27542354"/>
                <a:gd name="connsiteY28" fmla="*/ 8498784 h 15035524"/>
                <a:gd name="connsiteX29" fmla="*/ 2730740 w 27542354"/>
                <a:gd name="connsiteY29" fmla="*/ 8471613 h 15035524"/>
                <a:gd name="connsiteX30" fmla="*/ 2947754 w 27542354"/>
                <a:gd name="connsiteY30" fmla="*/ 8001468 h 15035524"/>
                <a:gd name="connsiteX31" fmla="*/ 3499325 w 27542354"/>
                <a:gd name="connsiteY31" fmla="*/ 7558451 h 15035524"/>
                <a:gd name="connsiteX32" fmla="*/ 3680166 w 27542354"/>
                <a:gd name="connsiteY32" fmla="*/ 6681453 h 15035524"/>
                <a:gd name="connsiteX33" fmla="*/ 4186528 w 27542354"/>
                <a:gd name="connsiteY33" fmla="*/ 6690489 h 15035524"/>
                <a:gd name="connsiteX34" fmla="*/ 4837569 w 27542354"/>
                <a:gd name="connsiteY34" fmla="*/ 7160639 h 15035524"/>
                <a:gd name="connsiteX35" fmla="*/ 5352976 w 27542354"/>
                <a:gd name="connsiteY35" fmla="*/ 7079272 h 15035524"/>
                <a:gd name="connsiteX36" fmla="*/ 5741786 w 27542354"/>
                <a:gd name="connsiteY36" fmla="*/ 6708577 h 15035524"/>
                <a:gd name="connsiteX37" fmla="*/ 6157723 w 27542354"/>
                <a:gd name="connsiteY37" fmla="*/ 6545836 h 15035524"/>
                <a:gd name="connsiteX38" fmla="*/ 6745471 w 27542354"/>
                <a:gd name="connsiteY38" fmla="*/ 5976243 h 15035524"/>
                <a:gd name="connsiteX39" fmla="*/ 6890140 w 27542354"/>
                <a:gd name="connsiteY39" fmla="*/ 5126367 h 15035524"/>
                <a:gd name="connsiteX40" fmla="*/ 7568305 w 27542354"/>
                <a:gd name="connsiteY40" fmla="*/ 4556773 h 15035524"/>
                <a:gd name="connsiteX41" fmla="*/ 8137967 w 27542354"/>
                <a:gd name="connsiteY41" fmla="*/ 4113752 h 15035524"/>
                <a:gd name="connsiteX42" fmla="*/ 8463480 w 27542354"/>
                <a:gd name="connsiteY42" fmla="*/ 3309085 h 15035524"/>
                <a:gd name="connsiteX43" fmla="*/ 9024093 w 27542354"/>
                <a:gd name="connsiteY43" fmla="*/ 2956478 h 15035524"/>
                <a:gd name="connsiteX44" fmla="*/ 9675138 w 27542354"/>
                <a:gd name="connsiteY44" fmla="*/ 2603876 h 15035524"/>
                <a:gd name="connsiteX45" fmla="*/ 9558580 w 27542354"/>
                <a:gd name="connsiteY45" fmla="*/ 2055592 h 15035524"/>
                <a:gd name="connsiteX46" fmla="*/ 10353296 w 27542354"/>
                <a:gd name="connsiteY46" fmla="*/ 1383308 h 15035524"/>
                <a:gd name="connsiteX47" fmla="*/ 10832530 w 27542354"/>
                <a:gd name="connsiteY47" fmla="*/ 1310974 h 15035524"/>
                <a:gd name="connsiteX48" fmla="*/ 11058585 w 27542354"/>
                <a:gd name="connsiteY48" fmla="*/ 1763043 h 15035524"/>
                <a:gd name="connsiteX49" fmla="*/ 11411229 w 27542354"/>
                <a:gd name="connsiteY49" fmla="*/ 2142774 h 15035524"/>
                <a:gd name="connsiteX50" fmla="*/ 11998974 w 27542354"/>
                <a:gd name="connsiteY50" fmla="*/ 2224144 h 15035524"/>
                <a:gd name="connsiteX51" fmla="*/ 12315449 w 27542354"/>
                <a:gd name="connsiteY51" fmla="*/ 2884156 h 15035524"/>
                <a:gd name="connsiteX52" fmla="*/ 12785642 w 27542354"/>
                <a:gd name="connsiteY52" fmla="*/ 2703327 h 15035524"/>
                <a:gd name="connsiteX53" fmla="*/ 13671776 w 27542354"/>
                <a:gd name="connsiteY53" fmla="*/ 3155388 h 15035524"/>
                <a:gd name="connsiteX54" fmla="*/ 14123886 w 27542354"/>
                <a:gd name="connsiteY54" fmla="*/ 2857035 h 15035524"/>
                <a:gd name="connsiteX55" fmla="*/ 14259509 w 27542354"/>
                <a:gd name="connsiteY55" fmla="*/ 2287434 h 15035524"/>
                <a:gd name="connsiteX56" fmla="*/ 14892468 w 27542354"/>
                <a:gd name="connsiteY56" fmla="*/ 1645503 h 15035524"/>
                <a:gd name="connsiteX57" fmla="*/ 15778605 w 27542354"/>
                <a:gd name="connsiteY57" fmla="*/ 1093983 h 15035524"/>
                <a:gd name="connsiteX58" fmla="*/ 16022739 w 27542354"/>
                <a:gd name="connsiteY58" fmla="*/ 1564133 h 15035524"/>
                <a:gd name="connsiteX59" fmla="*/ 16556232 w 27542354"/>
                <a:gd name="connsiteY59" fmla="*/ 2142785 h 15035524"/>
                <a:gd name="connsiteX60" fmla="*/ 17406193 w 27542354"/>
                <a:gd name="connsiteY60" fmla="*/ 1292897 h 15035524"/>
                <a:gd name="connsiteX61" fmla="*/ 18120524 w 27542354"/>
                <a:gd name="connsiteY61" fmla="*/ 714260 h 15035524"/>
                <a:gd name="connsiteX62" fmla="*/ 18744437 w 27542354"/>
                <a:gd name="connsiteY62" fmla="*/ -1 h 15035524"/>
                <a:gd name="connsiteX63" fmla="*/ 19982300 w 27542354"/>
                <a:gd name="connsiteY63" fmla="*/ 343465 h 15035524"/>
                <a:gd name="connsiteX64" fmla="*/ 19837609 w 27542354"/>
                <a:gd name="connsiteY64" fmla="*/ 1121173 h 15035524"/>
                <a:gd name="connsiteX65" fmla="*/ 21881359 w 27542354"/>
                <a:gd name="connsiteY65" fmla="*/ 1772279 h 15035524"/>
                <a:gd name="connsiteX66" fmla="*/ 21537712 w 27542354"/>
                <a:gd name="connsiteY66" fmla="*/ 2767023 h 15035524"/>
                <a:gd name="connsiteX67" fmla="*/ 22478203 w 27542354"/>
                <a:gd name="connsiteY67" fmla="*/ 2296774 h 15035524"/>
                <a:gd name="connsiteX68" fmla="*/ 23888932 w 27542354"/>
                <a:gd name="connsiteY68" fmla="*/ 1880797 h 15035524"/>
                <a:gd name="connsiteX69" fmla="*/ 25010275 w 27542354"/>
                <a:gd name="connsiteY69" fmla="*/ 578575 h 15035524"/>
                <a:gd name="connsiteX70" fmla="*/ 26402920 w 27542354"/>
                <a:gd name="connsiteY70" fmla="*/ 759442 h 15035524"/>
                <a:gd name="connsiteX71" fmla="*/ 26554742 w 27542354"/>
                <a:gd name="connsiteY71" fmla="*/ 1935039 h 15035524"/>
                <a:gd name="connsiteX72" fmla="*/ 25751806 w 27542354"/>
                <a:gd name="connsiteY72" fmla="*/ 3689425 h 15035524"/>
                <a:gd name="connsiteX0" fmla="*/ 25751806 w 27542354"/>
                <a:gd name="connsiteY0" fmla="*/ 3689425 h 15035524"/>
                <a:gd name="connsiteX1" fmla="*/ 25950755 w 27542354"/>
                <a:gd name="connsiteY1" fmla="*/ 4828850 h 15035524"/>
                <a:gd name="connsiteX2" fmla="*/ 26439085 w 27542354"/>
                <a:gd name="connsiteY2" fmla="*/ 5986362 h 15035524"/>
                <a:gd name="connsiteX3" fmla="*/ 25824148 w 27542354"/>
                <a:gd name="connsiteY3" fmla="*/ 6709813 h 15035524"/>
                <a:gd name="connsiteX4" fmla="*/ 26619948 w 27542354"/>
                <a:gd name="connsiteY4" fmla="*/ 7722645 h 15035524"/>
                <a:gd name="connsiteX5" fmla="*/ 26312478 w 27542354"/>
                <a:gd name="connsiteY5" fmla="*/ 9549362 h 15035524"/>
                <a:gd name="connsiteX6" fmla="*/ 26402912 w 27542354"/>
                <a:gd name="connsiteY6" fmla="*/ 10526022 h 15035524"/>
                <a:gd name="connsiteX7" fmla="*/ 27542355 w 27542354"/>
                <a:gd name="connsiteY7" fmla="*/ 11888520 h 15035524"/>
                <a:gd name="connsiteX8" fmla="*/ 26089423 w 27542354"/>
                <a:gd name="connsiteY8" fmla="*/ 11858374 h 15035524"/>
                <a:gd name="connsiteX9" fmla="*/ 24473715 w 27542354"/>
                <a:gd name="connsiteY9" fmla="*/ 11972919 h 15035524"/>
                <a:gd name="connsiteX10" fmla="*/ 23135328 w 27542354"/>
                <a:gd name="connsiteY10" fmla="*/ 12105549 h 15035524"/>
                <a:gd name="connsiteX11" fmla="*/ 13276149 w 27542354"/>
                <a:gd name="connsiteY11" fmla="*/ 11528479 h 15035524"/>
                <a:gd name="connsiteX12" fmla="*/ 14929927 w 27542354"/>
                <a:gd name="connsiteY12" fmla="*/ 14391846 h 15035524"/>
                <a:gd name="connsiteX13" fmla="*/ 12952786 w 27542354"/>
                <a:gd name="connsiteY13" fmla="*/ 14842599 h 15035524"/>
                <a:gd name="connsiteX14" fmla="*/ 11934663 w 27542354"/>
                <a:gd name="connsiteY14" fmla="*/ 14890849 h 15035524"/>
                <a:gd name="connsiteX15" fmla="*/ 8506848 w 27542354"/>
                <a:gd name="connsiteY15" fmla="*/ 15035524 h 15035524"/>
                <a:gd name="connsiteX16" fmla="*/ 7985095 w 27542354"/>
                <a:gd name="connsiteY16" fmla="*/ 14390442 h 15035524"/>
                <a:gd name="connsiteX17" fmla="*/ 7400308 w 27542354"/>
                <a:gd name="connsiteY17" fmla="*/ 14360297 h 15035524"/>
                <a:gd name="connsiteX18" fmla="*/ 6972273 w 27542354"/>
                <a:gd name="connsiteY18" fmla="*/ 14631594 h 15035524"/>
                <a:gd name="connsiteX19" fmla="*/ 5181729 w 27542354"/>
                <a:gd name="connsiteY19" fmla="*/ 14547195 h 15035524"/>
                <a:gd name="connsiteX20" fmla="*/ 4397998 w 27542354"/>
                <a:gd name="connsiteY20" fmla="*/ 13914178 h 15035524"/>
                <a:gd name="connsiteX21" fmla="*/ 2908896 w 27542354"/>
                <a:gd name="connsiteY21" fmla="*/ 13106324 h 15035524"/>
                <a:gd name="connsiteX22" fmla="*/ 1263043 w 27542354"/>
                <a:gd name="connsiteY22" fmla="*/ 12394931 h 15035524"/>
                <a:gd name="connsiteX23" fmla="*/ 485320 w 27542354"/>
                <a:gd name="connsiteY23" fmla="*/ 11942774 h 15035524"/>
                <a:gd name="connsiteX24" fmla="*/ 0 w 27542354"/>
                <a:gd name="connsiteY24" fmla="*/ 11649662 h 15035524"/>
                <a:gd name="connsiteX25" fmla="*/ 1003686 w 27542354"/>
                <a:gd name="connsiteY25" fmla="*/ 10903697 h 15035524"/>
                <a:gd name="connsiteX26" fmla="*/ 2902551 w 27542354"/>
                <a:gd name="connsiteY26" fmla="*/ 9719298 h 15035524"/>
                <a:gd name="connsiteX27" fmla="*/ 2558940 w 27542354"/>
                <a:gd name="connsiteY27" fmla="*/ 9185867 h 15035524"/>
                <a:gd name="connsiteX28" fmla="*/ 2402508 w 27542354"/>
                <a:gd name="connsiteY28" fmla="*/ 8498784 h 15035524"/>
                <a:gd name="connsiteX29" fmla="*/ 2730740 w 27542354"/>
                <a:gd name="connsiteY29" fmla="*/ 8471613 h 15035524"/>
                <a:gd name="connsiteX30" fmla="*/ 2947754 w 27542354"/>
                <a:gd name="connsiteY30" fmla="*/ 8001468 h 15035524"/>
                <a:gd name="connsiteX31" fmla="*/ 3499325 w 27542354"/>
                <a:gd name="connsiteY31" fmla="*/ 7558451 h 15035524"/>
                <a:gd name="connsiteX32" fmla="*/ 3680166 w 27542354"/>
                <a:gd name="connsiteY32" fmla="*/ 6681453 h 15035524"/>
                <a:gd name="connsiteX33" fmla="*/ 4186528 w 27542354"/>
                <a:gd name="connsiteY33" fmla="*/ 6690489 h 15035524"/>
                <a:gd name="connsiteX34" fmla="*/ 4837569 w 27542354"/>
                <a:gd name="connsiteY34" fmla="*/ 7160639 h 15035524"/>
                <a:gd name="connsiteX35" fmla="*/ 5352976 w 27542354"/>
                <a:gd name="connsiteY35" fmla="*/ 7079272 h 15035524"/>
                <a:gd name="connsiteX36" fmla="*/ 5741786 w 27542354"/>
                <a:gd name="connsiteY36" fmla="*/ 6708577 h 15035524"/>
                <a:gd name="connsiteX37" fmla="*/ 6157723 w 27542354"/>
                <a:gd name="connsiteY37" fmla="*/ 6545836 h 15035524"/>
                <a:gd name="connsiteX38" fmla="*/ 6745471 w 27542354"/>
                <a:gd name="connsiteY38" fmla="*/ 5976243 h 15035524"/>
                <a:gd name="connsiteX39" fmla="*/ 6890140 w 27542354"/>
                <a:gd name="connsiteY39" fmla="*/ 5126367 h 15035524"/>
                <a:gd name="connsiteX40" fmla="*/ 7568305 w 27542354"/>
                <a:gd name="connsiteY40" fmla="*/ 4556773 h 15035524"/>
                <a:gd name="connsiteX41" fmla="*/ 8137967 w 27542354"/>
                <a:gd name="connsiteY41" fmla="*/ 4113752 h 15035524"/>
                <a:gd name="connsiteX42" fmla="*/ 8463480 w 27542354"/>
                <a:gd name="connsiteY42" fmla="*/ 3309085 h 15035524"/>
                <a:gd name="connsiteX43" fmla="*/ 9024093 w 27542354"/>
                <a:gd name="connsiteY43" fmla="*/ 2956478 h 15035524"/>
                <a:gd name="connsiteX44" fmla="*/ 9675138 w 27542354"/>
                <a:gd name="connsiteY44" fmla="*/ 2603876 h 15035524"/>
                <a:gd name="connsiteX45" fmla="*/ 9558580 w 27542354"/>
                <a:gd name="connsiteY45" fmla="*/ 2055592 h 15035524"/>
                <a:gd name="connsiteX46" fmla="*/ 10353296 w 27542354"/>
                <a:gd name="connsiteY46" fmla="*/ 1383308 h 15035524"/>
                <a:gd name="connsiteX47" fmla="*/ 10832530 w 27542354"/>
                <a:gd name="connsiteY47" fmla="*/ 1310974 h 15035524"/>
                <a:gd name="connsiteX48" fmla="*/ 11058585 w 27542354"/>
                <a:gd name="connsiteY48" fmla="*/ 1763043 h 15035524"/>
                <a:gd name="connsiteX49" fmla="*/ 11411229 w 27542354"/>
                <a:gd name="connsiteY49" fmla="*/ 2142774 h 15035524"/>
                <a:gd name="connsiteX50" fmla="*/ 11998974 w 27542354"/>
                <a:gd name="connsiteY50" fmla="*/ 2224144 h 15035524"/>
                <a:gd name="connsiteX51" fmla="*/ 12315449 w 27542354"/>
                <a:gd name="connsiteY51" fmla="*/ 2884156 h 15035524"/>
                <a:gd name="connsiteX52" fmla="*/ 12785642 w 27542354"/>
                <a:gd name="connsiteY52" fmla="*/ 2703327 h 15035524"/>
                <a:gd name="connsiteX53" fmla="*/ 13671776 w 27542354"/>
                <a:gd name="connsiteY53" fmla="*/ 3155388 h 15035524"/>
                <a:gd name="connsiteX54" fmla="*/ 14123886 w 27542354"/>
                <a:gd name="connsiteY54" fmla="*/ 2857035 h 15035524"/>
                <a:gd name="connsiteX55" fmla="*/ 14259509 w 27542354"/>
                <a:gd name="connsiteY55" fmla="*/ 2287434 h 15035524"/>
                <a:gd name="connsiteX56" fmla="*/ 14892468 w 27542354"/>
                <a:gd name="connsiteY56" fmla="*/ 1645503 h 15035524"/>
                <a:gd name="connsiteX57" fmla="*/ 15778605 w 27542354"/>
                <a:gd name="connsiteY57" fmla="*/ 1093983 h 15035524"/>
                <a:gd name="connsiteX58" fmla="*/ 16022739 w 27542354"/>
                <a:gd name="connsiteY58" fmla="*/ 1564133 h 15035524"/>
                <a:gd name="connsiteX59" fmla="*/ 16556232 w 27542354"/>
                <a:gd name="connsiteY59" fmla="*/ 2142785 h 15035524"/>
                <a:gd name="connsiteX60" fmla="*/ 17406193 w 27542354"/>
                <a:gd name="connsiteY60" fmla="*/ 1292897 h 15035524"/>
                <a:gd name="connsiteX61" fmla="*/ 18120524 w 27542354"/>
                <a:gd name="connsiteY61" fmla="*/ 714260 h 15035524"/>
                <a:gd name="connsiteX62" fmla="*/ 18744437 w 27542354"/>
                <a:gd name="connsiteY62" fmla="*/ -1 h 15035524"/>
                <a:gd name="connsiteX63" fmla="*/ 19982300 w 27542354"/>
                <a:gd name="connsiteY63" fmla="*/ 343465 h 15035524"/>
                <a:gd name="connsiteX64" fmla="*/ 19837609 w 27542354"/>
                <a:gd name="connsiteY64" fmla="*/ 1121173 h 15035524"/>
                <a:gd name="connsiteX65" fmla="*/ 21881359 w 27542354"/>
                <a:gd name="connsiteY65" fmla="*/ 1772279 h 15035524"/>
                <a:gd name="connsiteX66" fmla="*/ 21537712 w 27542354"/>
                <a:gd name="connsiteY66" fmla="*/ 2767023 h 15035524"/>
                <a:gd name="connsiteX67" fmla="*/ 22478203 w 27542354"/>
                <a:gd name="connsiteY67" fmla="*/ 2296774 h 15035524"/>
                <a:gd name="connsiteX68" fmla="*/ 23888932 w 27542354"/>
                <a:gd name="connsiteY68" fmla="*/ 1880797 h 15035524"/>
                <a:gd name="connsiteX69" fmla="*/ 25010275 w 27542354"/>
                <a:gd name="connsiteY69" fmla="*/ 578575 h 15035524"/>
                <a:gd name="connsiteX70" fmla="*/ 26402920 w 27542354"/>
                <a:gd name="connsiteY70" fmla="*/ 759442 h 15035524"/>
                <a:gd name="connsiteX71" fmla="*/ 26554742 w 27542354"/>
                <a:gd name="connsiteY71" fmla="*/ 1935039 h 15035524"/>
                <a:gd name="connsiteX72" fmla="*/ 25751806 w 27542354"/>
                <a:gd name="connsiteY72" fmla="*/ 3689425 h 15035524"/>
                <a:gd name="connsiteX0" fmla="*/ 25751806 w 27542354"/>
                <a:gd name="connsiteY0" fmla="*/ 3689425 h 15035524"/>
                <a:gd name="connsiteX1" fmla="*/ 25950755 w 27542354"/>
                <a:gd name="connsiteY1" fmla="*/ 4828850 h 15035524"/>
                <a:gd name="connsiteX2" fmla="*/ 26439085 w 27542354"/>
                <a:gd name="connsiteY2" fmla="*/ 5986362 h 15035524"/>
                <a:gd name="connsiteX3" fmla="*/ 25824148 w 27542354"/>
                <a:gd name="connsiteY3" fmla="*/ 6709813 h 15035524"/>
                <a:gd name="connsiteX4" fmla="*/ 26619948 w 27542354"/>
                <a:gd name="connsiteY4" fmla="*/ 7722645 h 15035524"/>
                <a:gd name="connsiteX5" fmla="*/ 26312478 w 27542354"/>
                <a:gd name="connsiteY5" fmla="*/ 9549362 h 15035524"/>
                <a:gd name="connsiteX6" fmla="*/ 26402912 w 27542354"/>
                <a:gd name="connsiteY6" fmla="*/ 10526022 h 15035524"/>
                <a:gd name="connsiteX7" fmla="*/ 27542355 w 27542354"/>
                <a:gd name="connsiteY7" fmla="*/ 11888520 h 15035524"/>
                <a:gd name="connsiteX8" fmla="*/ 26089423 w 27542354"/>
                <a:gd name="connsiteY8" fmla="*/ 11858374 h 15035524"/>
                <a:gd name="connsiteX9" fmla="*/ 24473715 w 27542354"/>
                <a:gd name="connsiteY9" fmla="*/ 11972919 h 15035524"/>
                <a:gd name="connsiteX10" fmla="*/ 23135328 w 27542354"/>
                <a:gd name="connsiteY10" fmla="*/ 12105549 h 15035524"/>
                <a:gd name="connsiteX11" fmla="*/ 14904684 w 27542354"/>
                <a:gd name="connsiteY11" fmla="*/ 12760926 h 15035524"/>
                <a:gd name="connsiteX12" fmla="*/ 14929927 w 27542354"/>
                <a:gd name="connsiteY12" fmla="*/ 14391846 h 15035524"/>
                <a:gd name="connsiteX13" fmla="*/ 12952786 w 27542354"/>
                <a:gd name="connsiteY13" fmla="*/ 14842599 h 15035524"/>
                <a:gd name="connsiteX14" fmla="*/ 11934663 w 27542354"/>
                <a:gd name="connsiteY14" fmla="*/ 14890849 h 15035524"/>
                <a:gd name="connsiteX15" fmla="*/ 8506848 w 27542354"/>
                <a:gd name="connsiteY15" fmla="*/ 15035524 h 15035524"/>
                <a:gd name="connsiteX16" fmla="*/ 7985095 w 27542354"/>
                <a:gd name="connsiteY16" fmla="*/ 14390442 h 15035524"/>
                <a:gd name="connsiteX17" fmla="*/ 7400308 w 27542354"/>
                <a:gd name="connsiteY17" fmla="*/ 14360297 h 15035524"/>
                <a:gd name="connsiteX18" fmla="*/ 6972273 w 27542354"/>
                <a:gd name="connsiteY18" fmla="*/ 14631594 h 15035524"/>
                <a:gd name="connsiteX19" fmla="*/ 5181729 w 27542354"/>
                <a:gd name="connsiteY19" fmla="*/ 14547195 h 15035524"/>
                <a:gd name="connsiteX20" fmla="*/ 4397998 w 27542354"/>
                <a:gd name="connsiteY20" fmla="*/ 13914178 h 15035524"/>
                <a:gd name="connsiteX21" fmla="*/ 2908896 w 27542354"/>
                <a:gd name="connsiteY21" fmla="*/ 13106324 h 15035524"/>
                <a:gd name="connsiteX22" fmla="*/ 1263043 w 27542354"/>
                <a:gd name="connsiteY22" fmla="*/ 12394931 h 15035524"/>
                <a:gd name="connsiteX23" fmla="*/ 485320 w 27542354"/>
                <a:gd name="connsiteY23" fmla="*/ 11942774 h 15035524"/>
                <a:gd name="connsiteX24" fmla="*/ 0 w 27542354"/>
                <a:gd name="connsiteY24" fmla="*/ 11649662 h 15035524"/>
                <a:gd name="connsiteX25" fmla="*/ 1003686 w 27542354"/>
                <a:gd name="connsiteY25" fmla="*/ 10903697 h 15035524"/>
                <a:gd name="connsiteX26" fmla="*/ 2902551 w 27542354"/>
                <a:gd name="connsiteY26" fmla="*/ 9719298 h 15035524"/>
                <a:gd name="connsiteX27" fmla="*/ 2558940 w 27542354"/>
                <a:gd name="connsiteY27" fmla="*/ 9185867 h 15035524"/>
                <a:gd name="connsiteX28" fmla="*/ 2402508 w 27542354"/>
                <a:gd name="connsiteY28" fmla="*/ 8498784 h 15035524"/>
                <a:gd name="connsiteX29" fmla="*/ 2730740 w 27542354"/>
                <a:gd name="connsiteY29" fmla="*/ 8471613 h 15035524"/>
                <a:gd name="connsiteX30" fmla="*/ 2947754 w 27542354"/>
                <a:gd name="connsiteY30" fmla="*/ 8001468 h 15035524"/>
                <a:gd name="connsiteX31" fmla="*/ 3499325 w 27542354"/>
                <a:gd name="connsiteY31" fmla="*/ 7558451 h 15035524"/>
                <a:gd name="connsiteX32" fmla="*/ 3680166 w 27542354"/>
                <a:gd name="connsiteY32" fmla="*/ 6681453 h 15035524"/>
                <a:gd name="connsiteX33" fmla="*/ 4186528 w 27542354"/>
                <a:gd name="connsiteY33" fmla="*/ 6690489 h 15035524"/>
                <a:gd name="connsiteX34" fmla="*/ 4837569 w 27542354"/>
                <a:gd name="connsiteY34" fmla="*/ 7160639 h 15035524"/>
                <a:gd name="connsiteX35" fmla="*/ 5352976 w 27542354"/>
                <a:gd name="connsiteY35" fmla="*/ 7079272 h 15035524"/>
                <a:gd name="connsiteX36" fmla="*/ 5741786 w 27542354"/>
                <a:gd name="connsiteY36" fmla="*/ 6708577 h 15035524"/>
                <a:gd name="connsiteX37" fmla="*/ 6157723 w 27542354"/>
                <a:gd name="connsiteY37" fmla="*/ 6545836 h 15035524"/>
                <a:gd name="connsiteX38" fmla="*/ 6745471 w 27542354"/>
                <a:gd name="connsiteY38" fmla="*/ 5976243 h 15035524"/>
                <a:gd name="connsiteX39" fmla="*/ 6890140 w 27542354"/>
                <a:gd name="connsiteY39" fmla="*/ 5126367 h 15035524"/>
                <a:gd name="connsiteX40" fmla="*/ 7568305 w 27542354"/>
                <a:gd name="connsiteY40" fmla="*/ 4556773 h 15035524"/>
                <a:gd name="connsiteX41" fmla="*/ 8137967 w 27542354"/>
                <a:gd name="connsiteY41" fmla="*/ 4113752 h 15035524"/>
                <a:gd name="connsiteX42" fmla="*/ 8463480 w 27542354"/>
                <a:gd name="connsiteY42" fmla="*/ 3309085 h 15035524"/>
                <a:gd name="connsiteX43" fmla="*/ 9024093 w 27542354"/>
                <a:gd name="connsiteY43" fmla="*/ 2956478 h 15035524"/>
                <a:gd name="connsiteX44" fmla="*/ 9675138 w 27542354"/>
                <a:gd name="connsiteY44" fmla="*/ 2603876 h 15035524"/>
                <a:gd name="connsiteX45" fmla="*/ 9558580 w 27542354"/>
                <a:gd name="connsiteY45" fmla="*/ 2055592 h 15035524"/>
                <a:gd name="connsiteX46" fmla="*/ 10353296 w 27542354"/>
                <a:gd name="connsiteY46" fmla="*/ 1383308 h 15035524"/>
                <a:gd name="connsiteX47" fmla="*/ 10832530 w 27542354"/>
                <a:gd name="connsiteY47" fmla="*/ 1310974 h 15035524"/>
                <a:gd name="connsiteX48" fmla="*/ 11058585 w 27542354"/>
                <a:gd name="connsiteY48" fmla="*/ 1763043 h 15035524"/>
                <a:gd name="connsiteX49" fmla="*/ 11411229 w 27542354"/>
                <a:gd name="connsiteY49" fmla="*/ 2142774 h 15035524"/>
                <a:gd name="connsiteX50" fmla="*/ 11998974 w 27542354"/>
                <a:gd name="connsiteY50" fmla="*/ 2224144 h 15035524"/>
                <a:gd name="connsiteX51" fmla="*/ 12315449 w 27542354"/>
                <a:gd name="connsiteY51" fmla="*/ 2884156 h 15035524"/>
                <a:gd name="connsiteX52" fmla="*/ 12785642 w 27542354"/>
                <a:gd name="connsiteY52" fmla="*/ 2703327 h 15035524"/>
                <a:gd name="connsiteX53" fmla="*/ 13671776 w 27542354"/>
                <a:gd name="connsiteY53" fmla="*/ 3155388 h 15035524"/>
                <a:gd name="connsiteX54" fmla="*/ 14123886 w 27542354"/>
                <a:gd name="connsiteY54" fmla="*/ 2857035 h 15035524"/>
                <a:gd name="connsiteX55" fmla="*/ 14259509 w 27542354"/>
                <a:gd name="connsiteY55" fmla="*/ 2287434 h 15035524"/>
                <a:gd name="connsiteX56" fmla="*/ 14892468 w 27542354"/>
                <a:gd name="connsiteY56" fmla="*/ 1645503 h 15035524"/>
                <a:gd name="connsiteX57" fmla="*/ 15778605 w 27542354"/>
                <a:gd name="connsiteY57" fmla="*/ 1093983 h 15035524"/>
                <a:gd name="connsiteX58" fmla="*/ 16022739 w 27542354"/>
                <a:gd name="connsiteY58" fmla="*/ 1564133 h 15035524"/>
                <a:gd name="connsiteX59" fmla="*/ 16556232 w 27542354"/>
                <a:gd name="connsiteY59" fmla="*/ 2142785 h 15035524"/>
                <a:gd name="connsiteX60" fmla="*/ 17406193 w 27542354"/>
                <a:gd name="connsiteY60" fmla="*/ 1292897 h 15035524"/>
                <a:gd name="connsiteX61" fmla="*/ 18120524 w 27542354"/>
                <a:gd name="connsiteY61" fmla="*/ 714260 h 15035524"/>
                <a:gd name="connsiteX62" fmla="*/ 18744437 w 27542354"/>
                <a:gd name="connsiteY62" fmla="*/ -1 h 15035524"/>
                <a:gd name="connsiteX63" fmla="*/ 19982300 w 27542354"/>
                <a:gd name="connsiteY63" fmla="*/ 343465 h 15035524"/>
                <a:gd name="connsiteX64" fmla="*/ 19837609 w 27542354"/>
                <a:gd name="connsiteY64" fmla="*/ 1121173 h 15035524"/>
                <a:gd name="connsiteX65" fmla="*/ 21881359 w 27542354"/>
                <a:gd name="connsiteY65" fmla="*/ 1772279 h 15035524"/>
                <a:gd name="connsiteX66" fmla="*/ 21537712 w 27542354"/>
                <a:gd name="connsiteY66" fmla="*/ 2767023 h 15035524"/>
                <a:gd name="connsiteX67" fmla="*/ 22478203 w 27542354"/>
                <a:gd name="connsiteY67" fmla="*/ 2296774 h 15035524"/>
                <a:gd name="connsiteX68" fmla="*/ 23888932 w 27542354"/>
                <a:gd name="connsiteY68" fmla="*/ 1880797 h 15035524"/>
                <a:gd name="connsiteX69" fmla="*/ 25010275 w 27542354"/>
                <a:gd name="connsiteY69" fmla="*/ 578575 h 15035524"/>
                <a:gd name="connsiteX70" fmla="*/ 26402920 w 27542354"/>
                <a:gd name="connsiteY70" fmla="*/ 759442 h 15035524"/>
                <a:gd name="connsiteX71" fmla="*/ 26554742 w 27542354"/>
                <a:gd name="connsiteY71" fmla="*/ 1935039 h 15035524"/>
                <a:gd name="connsiteX72" fmla="*/ 25751806 w 27542354"/>
                <a:gd name="connsiteY72" fmla="*/ 3689425 h 15035524"/>
                <a:gd name="connsiteX0" fmla="*/ 25751806 w 27542354"/>
                <a:gd name="connsiteY0" fmla="*/ 3689425 h 15035524"/>
                <a:gd name="connsiteX1" fmla="*/ 25950755 w 27542354"/>
                <a:gd name="connsiteY1" fmla="*/ 4828850 h 15035524"/>
                <a:gd name="connsiteX2" fmla="*/ 26439085 w 27542354"/>
                <a:gd name="connsiteY2" fmla="*/ 5986362 h 15035524"/>
                <a:gd name="connsiteX3" fmla="*/ 25824148 w 27542354"/>
                <a:gd name="connsiteY3" fmla="*/ 6709813 h 15035524"/>
                <a:gd name="connsiteX4" fmla="*/ 26619948 w 27542354"/>
                <a:gd name="connsiteY4" fmla="*/ 7722645 h 15035524"/>
                <a:gd name="connsiteX5" fmla="*/ 26312478 w 27542354"/>
                <a:gd name="connsiteY5" fmla="*/ 9549362 h 15035524"/>
                <a:gd name="connsiteX6" fmla="*/ 26402912 w 27542354"/>
                <a:gd name="connsiteY6" fmla="*/ 10526022 h 15035524"/>
                <a:gd name="connsiteX7" fmla="*/ 27542355 w 27542354"/>
                <a:gd name="connsiteY7" fmla="*/ 11888520 h 15035524"/>
                <a:gd name="connsiteX8" fmla="*/ 26089423 w 27542354"/>
                <a:gd name="connsiteY8" fmla="*/ 11858374 h 15035524"/>
                <a:gd name="connsiteX9" fmla="*/ 24473715 w 27542354"/>
                <a:gd name="connsiteY9" fmla="*/ 11972919 h 15035524"/>
                <a:gd name="connsiteX10" fmla="*/ 14150319 w 27542354"/>
                <a:gd name="connsiteY10" fmla="*/ 11405301 h 15035524"/>
                <a:gd name="connsiteX11" fmla="*/ 14904684 w 27542354"/>
                <a:gd name="connsiteY11" fmla="*/ 12760926 h 15035524"/>
                <a:gd name="connsiteX12" fmla="*/ 14929927 w 27542354"/>
                <a:gd name="connsiteY12" fmla="*/ 14391846 h 15035524"/>
                <a:gd name="connsiteX13" fmla="*/ 12952786 w 27542354"/>
                <a:gd name="connsiteY13" fmla="*/ 14842599 h 15035524"/>
                <a:gd name="connsiteX14" fmla="*/ 11934663 w 27542354"/>
                <a:gd name="connsiteY14" fmla="*/ 14890849 h 15035524"/>
                <a:gd name="connsiteX15" fmla="*/ 8506848 w 27542354"/>
                <a:gd name="connsiteY15" fmla="*/ 15035524 h 15035524"/>
                <a:gd name="connsiteX16" fmla="*/ 7985095 w 27542354"/>
                <a:gd name="connsiteY16" fmla="*/ 14390442 h 15035524"/>
                <a:gd name="connsiteX17" fmla="*/ 7400308 w 27542354"/>
                <a:gd name="connsiteY17" fmla="*/ 14360297 h 15035524"/>
                <a:gd name="connsiteX18" fmla="*/ 6972273 w 27542354"/>
                <a:gd name="connsiteY18" fmla="*/ 14631594 h 15035524"/>
                <a:gd name="connsiteX19" fmla="*/ 5181729 w 27542354"/>
                <a:gd name="connsiteY19" fmla="*/ 14547195 h 15035524"/>
                <a:gd name="connsiteX20" fmla="*/ 4397998 w 27542354"/>
                <a:gd name="connsiteY20" fmla="*/ 13914178 h 15035524"/>
                <a:gd name="connsiteX21" fmla="*/ 2908896 w 27542354"/>
                <a:gd name="connsiteY21" fmla="*/ 13106324 h 15035524"/>
                <a:gd name="connsiteX22" fmla="*/ 1263043 w 27542354"/>
                <a:gd name="connsiteY22" fmla="*/ 12394931 h 15035524"/>
                <a:gd name="connsiteX23" fmla="*/ 485320 w 27542354"/>
                <a:gd name="connsiteY23" fmla="*/ 11942774 h 15035524"/>
                <a:gd name="connsiteX24" fmla="*/ 0 w 27542354"/>
                <a:gd name="connsiteY24" fmla="*/ 11649662 h 15035524"/>
                <a:gd name="connsiteX25" fmla="*/ 1003686 w 27542354"/>
                <a:gd name="connsiteY25" fmla="*/ 10903697 h 15035524"/>
                <a:gd name="connsiteX26" fmla="*/ 2902551 w 27542354"/>
                <a:gd name="connsiteY26" fmla="*/ 9719298 h 15035524"/>
                <a:gd name="connsiteX27" fmla="*/ 2558940 w 27542354"/>
                <a:gd name="connsiteY27" fmla="*/ 9185867 h 15035524"/>
                <a:gd name="connsiteX28" fmla="*/ 2402508 w 27542354"/>
                <a:gd name="connsiteY28" fmla="*/ 8498784 h 15035524"/>
                <a:gd name="connsiteX29" fmla="*/ 2730740 w 27542354"/>
                <a:gd name="connsiteY29" fmla="*/ 8471613 h 15035524"/>
                <a:gd name="connsiteX30" fmla="*/ 2947754 w 27542354"/>
                <a:gd name="connsiteY30" fmla="*/ 8001468 h 15035524"/>
                <a:gd name="connsiteX31" fmla="*/ 3499325 w 27542354"/>
                <a:gd name="connsiteY31" fmla="*/ 7558451 h 15035524"/>
                <a:gd name="connsiteX32" fmla="*/ 3680166 w 27542354"/>
                <a:gd name="connsiteY32" fmla="*/ 6681453 h 15035524"/>
                <a:gd name="connsiteX33" fmla="*/ 4186528 w 27542354"/>
                <a:gd name="connsiteY33" fmla="*/ 6690489 h 15035524"/>
                <a:gd name="connsiteX34" fmla="*/ 4837569 w 27542354"/>
                <a:gd name="connsiteY34" fmla="*/ 7160639 h 15035524"/>
                <a:gd name="connsiteX35" fmla="*/ 5352976 w 27542354"/>
                <a:gd name="connsiteY35" fmla="*/ 7079272 h 15035524"/>
                <a:gd name="connsiteX36" fmla="*/ 5741786 w 27542354"/>
                <a:gd name="connsiteY36" fmla="*/ 6708577 h 15035524"/>
                <a:gd name="connsiteX37" fmla="*/ 6157723 w 27542354"/>
                <a:gd name="connsiteY37" fmla="*/ 6545836 h 15035524"/>
                <a:gd name="connsiteX38" fmla="*/ 6745471 w 27542354"/>
                <a:gd name="connsiteY38" fmla="*/ 5976243 h 15035524"/>
                <a:gd name="connsiteX39" fmla="*/ 6890140 w 27542354"/>
                <a:gd name="connsiteY39" fmla="*/ 5126367 h 15035524"/>
                <a:gd name="connsiteX40" fmla="*/ 7568305 w 27542354"/>
                <a:gd name="connsiteY40" fmla="*/ 4556773 h 15035524"/>
                <a:gd name="connsiteX41" fmla="*/ 8137967 w 27542354"/>
                <a:gd name="connsiteY41" fmla="*/ 4113752 h 15035524"/>
                <a:gd name="connsiteX42" fmla="*/ 8463480 w 27542354"/>
                <a:gd name="connsiteY42" fmla="*/ 3309085 h 15035524"/>
                <a:gd name="connsiteX43" fmla="*/ 9024093 w 27542354"/>
                <a:gd name="connsiteY43" fmla="*/ 2956478 h 15035524"/>
                <a:gd name="connsiteX44" fmla="*/ 9675138 w 27542354"/>
                <a:gd name="connsiteY44" fmla="*/ 2603876 h 15035524"/>
                <a:gd name="connsiteX45" fmla="*/ 9558580 w 27542354"/>
                <a:gd name="connsiteY45" fmla="*/ 2055592 h 15035524"/>
                <a:gd name="connsiteX46" fmla="*/ 10353296 w 27542354"/>
                <a:gd name="connsiteY46" fmla="*/ 1383308 h 15035524"/>
                <a:gd name="connsiteX47" fmla="*/ 10832530 w 27542354"/>
                <a:gd name="connsiteY47" fmla="*/ 1310974 h 15035524"/>
                <a:gd name="connsiteX48" fmla="*/ 11058585 w 27542354"/>
                <a:gd name="connsiteY48" fmla="*/ 1763043 h 15035524"/>
                <a:gd name="connsiteX49" fmla="*/ 11411229 w 27542354"/>
                <a:gd name="connsiteY49" fmla="*/ 2142774 h 15035524"/>
                <a:gd name="connsiteX50" fmla="*/ 11998974 w 27542354"/>
                <a:gd name="connsiteY50" fmla="*/ 2224144 h 15035524"/>
                <a:gd name="connsiteX51" fmla="*/ 12315449 w 27542354"/>
                <a:gd name="connsiteY51" fmla="*/ 2884156 h 15035524"/>
                <a:gd name="connsiteX52" fmla="*/ 12785642 w 27542354"/>
                <a:gd name="connsiteY52" fmla="*/ 2703327 h 15035524"/>
                <a:gd name="connsiteX53" fmla="*/ 13671776 w 27542354"/>
                <a:gd name="connsiteY53" fmla="*/ 3155388 h 15035524"/>
                <a:gd name="connsiteX54" fmla="*/ 14123886 w 27542354"/>
                <a:gd name="connsiteY54" fmla="*/ 2857035 h 15035524"/>
                <a:gd name="connsiteX55" fmla="*/ 14259509 w 27542354"/>
                <a:gd name="connsiteY55" fmla="*/ 2287434 h 15035524"/>
                <a:gd name="connsiteX56" fmla="*/ 14892468 w 27542354"/>
                <a:gd name="connsiteY56" fmla="*/ 1645503 h 15035524"/>
                <a:gd name="connsiteX57" fmla="*/ 15778605 w 27542354"/>
                <a:gd name="connsiteY57" fmla="*/ 1093983 h 15035524"/>
                <a:gd name="connsiteX58" fmla="*/ 16022739 w 27542354"/>
                <a:gd name="connsiteY58" fmla="*/ 1564133 h 15035524"/>
                <a:gd name="connsiteX59" fmla="*/ 16556232 w 27542354"/>
                <a:gd name="connsiteY59" fmla="*/ 2142785 h 15035524"/>
                <a:gd name="connsiteX60" fmla="*/ 17406193 w 27542354"/>
                <a:gd name="connsiteY60" fmla="*/ 1292897 h 15035524"/>
                <a:gd name="connsiteX61" fmla="*/ 18120524 w 27542354"/>
                <a:gd name="connsiteY61" fmla="*/ 714260 h 15035524"/>
                <a:gd name="connsiteX62" fmla="*/ 18744437 w 27542354"/>
                <a:gd name="connsiteY62" fmla="*/ -1 h 15035524"/>
                <a:gd name="connsiteX63" fmla="*/ 19982300 w 27542354"/>
                <a:gd name="connsiteY63" fmla="*/ 343465 h 15035524"/>
                <a:gd name="connsiteX64" fmla="*/ 19837609 w 27542354"/>
                <a:gd name="connsiteY64" fmla="*/ 1121173 h 15035524"/>
                <a:gd name="connsiteX65" fmla="*/ 21881359 w 27542354"/>
                <a:gd name="connsiteY65" fmla="*/ 1772279 h 15035524"/>
                <a:gd name="connsiteX66" fmla="*/ 21537712 w 27542354"/>
                <a:gd name="connsiteY66" fmla="*/ 2767023 h 15035524"/>
                <a:gd name="connsiteX67" fmla="*/ 22478203 w 27542354"/>
                <a:gd name="connsiteY67" fmla="*/ 2296774 h 15035524"/>
                <a:gd name="connsiteX68" fmla="*/ 23888932 w 27542354"/>
                <a:gd name="connsiteY68" fmla="*/ 1880797 h 15035524"/>
                <a:gd name="connsiteX69" fmla="*/ 25010275 w 27542354"/>
                <a:gd name="connsiteY69" fmla="*/ 578575 h 15035524"/>
                <a:gd name="connsiteX70" fmla="*/ 26402920 w 27542354"/>
                <a:gd name="connsiteY70" fmla="*/ 759442 h 15035524"/>
                <a:gd name="connsiteX71" fmla="*/ 26554742 w 27542354"/>
                <a:gd name="connsiteY71" fmla="*/ 1935039 h 15035524"/>
                <a:gd name="connsiteX72" fmla="*/ 25751806 w 27542354"/>
                <a:gd name="connsiteY72" fmla="*/ 3689425 h 15035524"/>
                <a:gd name="connsiteX0" fmla="*/ 25751806 w 27542354"/>
                <a:gd name="connsiteY0" fmla="*/ 3689425 h 15035524"/>
                <a:gd name="connsiteX1" fmla="*/ 25950755 w 27542354"/>
                <a:gd name="connsiteY1" fmla="*/ 4828850 h 15035524"/>
                <a:gd name="connsiteX2" fmla="*/ 26439085 w 27542354"/>
                <a:gd name="connsiteY2" fmla="*/ 5986362 h 15035524"/>
                <a:gd name="connsiteX3" fmla="*/ 25824148 w 27542354"/>
                <a:gd name="connsiteY3" fmla="*/ 6709813 h 15035524"/>
                <a:gd name="connsiteX4" fmla="*/ 26619948 w 27542354"/>
                <a:gd name="connsiteY4" fmla="*/ 7722645 h 15035524"/>
                <a:gd name="connsiteX5" fmla="*/ 26312478 w 27542354"/>
                <a:gd name="connsiteY5" fmla="*/ 9549362 h 15035524"/>
                <a:gd name="connsiteX6" fmla="*/ 26402912 w 27542354"/>
                <a:gd name="connsiteY6" fmla="*/ 10526022 h 15035524"/>
                <a:gd name="connsiteX7" fmla="*/ 27542355 w 27542354"/>
                <a:gd name="connsiteY7" fmla="*/ 11888520 h 15035524"/>
                <a:gd name="connsiteX8" fmla="*/ 26089423 w 27542354"/>
                <a:gd name="connsiteY8" fmla="*/ 11858374 h 15035524"/>
                <a:gd name="connsiteX9" fmla="*/ 24473715 w 27542354"/>
                <a:gd name="connsiteY9" fmla="*/ 11972919 h 15035524"/>
                <a:gd name="connsiteX10" fmla="*/ 14908430 w 27542354"/>
                <a:gd name="connsiteY10" fmla="*/ 11937487 h 15035524"/>
                <a:gd name="connsiteX11" fmla="*/ 14904684 w 27542354"/>
                <a:gd name="connsiteY11" fmla="*/ 12760926 h 15035524"/>
                <a:gd name="connsiteX12" fmla="*/ 14929927 w 27542354"/>
                <a:gd name="connsiteY12" fmla="*/ 14391846 h 15035524"/>
                <a:gd name="connsiteX13" fmla="*/ 12952786 w 27542354"/>
                <a:gd name="connsiteY13" fmla="*/ 14842599 h 15035524"/>
                <a:gd name="connsiteX14" fmla="*/ 11934663 w 27542354"/>
                <a:gd name="connsiteY14" fmla="*/ 14890849 h 15035524"/>
                <a:gd name="connsiteX15" fmla="*/ 8506848 w 27542354"/>
                <a:gd name="connsiteY15" fmla="*/ 15035524 h 15035524"/>
                <a:gd name="connsiteX16" fmla="*/ 7985095 w 27542354"/>
                <a:gd name="connsiteY16" fmla="*/ 14390442 h 15035524"/>
                <a:gd name="connsiteX17" fmla="*/ 7400308 w 27542354"/>
                <a:gd name="connsiteY17" fmla="*/ 14360297 h 15035524"/>
                <a:gd name="connsiteX18" fmla="*/ 6972273 w 27542354"/>
                <a:gd name="connsiteY18" fmla="*/ 14631594 h 15035524"/>
                <a:gd name="connsiteX19" fmla="*/ 5181729 w 27542354"/>
                <a:gd name="connsiteY19" fmla="*/ 14547195 h 15035524"/>
                <a:gd name="connsiteX20" fmla="*/ 4397998 w 27542354"/>
                <a:gd name="connsiteY20" fmla="*/ 13914178 h 15035524"/>
                <a:gd name="connsiteX21" fmla="*/ 2908896 w 27542354"/>
                <a:gd name="connsiteY21" fmla="*/ 13106324 h 15035524"/>
                <a:gd name="connsiteX22" fmla="*/ 1263043 w 27542354"/>
                <a:gd name="connsiteY22" fmla="*/ 12394931 h 15035524"/>
                <a:gd name="connsiteX23" fmla="*/ 485320 w 27542354"/>
                <a:gd name="connsiteY23" fmla="*/ 11942774 h 15035524"/>
                <a:gd name="connsiteX24" fmla="*/ 0 w 27542354"/>
                <a:gd name="connsiteY24" fmla="*/ 11649662 h 15035524"/>
                <a:gd name="connsiteX25" fmla="*/ 1003686 w 27542354"/>
                <a:gd name="connsiteY25" fmla="*/ 10903697 h 15035524"/>
                <a:gd name="connsiteX26" fmla="*/ 2902551 w 27542354"/>
                <a:gd name="connsiteY26" fmla="*/ 9719298 h 15035524"/>
                <a:gd name="connsiteX27" fmla="*/ 2558940 w 27542354"/>
                <a:gd name="connsiteY27" fmla="*/ 9185867 h 15035524"/>
                <a:gd name="connsiteX28" fmla="*/ 2402508 w 27542354"/>
                <a:gd name="connsiteY28" fmla="*/ 8498784 h 15035524"/>
                <a:gd name="connsiteX29" fmla="*/ 2730740 w 27542354"/>
                <a:gd name="connsiteY29" fmla="*/ 8471613 h 15035524"/>
                <a:gd name="connsiteX30" fmla="*/ 2947754 w 27542354"/>
                <a:gd name="connsiteY30" fmla="*/ 8001468 h 15035524"/>
                <a:gd name="connsiteX31" fmla="*/ 3499325 w 27542354"/>
                <a:gd name="connsiteY31" fmla="*/ 7558451 h 15035524"/>
                <a:gd name="connsiteX32" fmla="*/ 3680166 w 27542354"/>
                <a:gd name="connsiteY32" fmla="*/ 6681453 h 15035524"/>
                <a:gd name="connsiteX33" fmla="*/ 4186528 w 27542354"/>
                <a:gd name="connsiteY33" fmla="*/ 6690489 h 15035524"/>
                <a:gd name="connsiteX34" fmla="*/ 4837569 w 27542354"/>
                <a:gd name="connsiteY34" fmla="*/ 7160639 h 15035524"/>
                <a:gd name="connsiteX35" fmla="*/ 5352976 w 27542354"/>
                <a:gd name="connsiteY35" fmla="*/ 7079272 h 15035524"/>
                <a:gd name="connsiteX36" fmla="*/ 5741786 w 27542354"/>
                <a:gd name="connsiteY36" fmla="*/ 6708577 h 15035524"/>
                <a:gd name="connsiteX37" fmla="*/ 6157723 w 27542354"/>
                <a:gd name="connsiteY37" fmla="*/ 6545836 h 15035524"/>
                <a:gd name="connsiteX38" fmla="*/ 6745471 w 27542354"/>
                <a:gd name="connsiteY38" fmla="*/ 5976243 h 15035524"/>
                <a:gd name="connsiteX39" fmla="*/ 6890140 w 27542354"/>
                <a:gd name="connsiteY39" fmla="*/ 5126367 h 15035524"/>
                <a:gd name="connsiteX40" fmla="*/ 7568305 w 27542354"/>
                <a:gd name="connsiteY40" fmla="*/ 4556773 h 15035524"/>
                <a:gd name="connsiteX41" fmla="*/ 8137967 w 27542354"/>
                <a:gd name="connsiteY41" fmla="*/ 4113752 h 15035524"/>
                <a:gd name="connsiteX42" fmla="*/ 8463480 w 27542354"/>
                <a:gd name="connsiteY42" fmla="*/ 3309085 h 15035524"/>
                <a:gd name="connsiteX43" fmla="*/ 9024093 w 27542354"/>
                <a:gd name="connsiteY43" fmla="*/ 2956478 h 15035524"/>
                <a:gd name="connsiteX44" fmla="*/ 9675138 w 27542354"/>
                <a:gd name="connsiteY44" fmla="*/ 2603876 h 15035524"/>
                <a:gd name="connsiteX45" fmla="*/ 9558580 w 27542354"/>
                <a:gd name="connsiteY45" fmla="*/ 2055592 h 15035524"/>
                <a:gd name="connsiteX46" fmla="*/ 10353296 w 27542354"/>
                <a:gd name="connsiteY46" fmla="*/ 1383308 h 15035524"/>
                <a:gd name="connsiteX47" fmla="*/ 10832530 w 27542354"/>
                <a:gd name="connsiteY47" fmla="*/ 1310974 h 15035524"/>
                <a:gd name="connsiteX48" fmla="*/ 11058585 w 27542354"/>
                <a:gd name="connsiteY48" fmla="*/ 1763043 h 15035524"/>
                <a:gd name="connsiteX49" fmla="*/ 11411229 w 27542354"/>
                <a:gd name="connsiteY49" fmla="*/ 2142774 h 15035524"/>
                <a:gd name="connsiteX50" fmla="*/ 11998974 w 27542354"/>
                <a:gd name="connsiteY50" fmla="*/ 2224144 h 15035524"/>
                <a:gd name="connsiteX51" fmla="*/ 12315449 w 27542354"/>
                <a:gd name="connsiteY51" fmla="*/ 2884156 h 15035524"/>
                <a:gd name="connsiteX52" fmla="*/ 12785642 w 27542354"/>
                <a:gd name="connsiteY52" fmla="*/ 2703327 h 15035524"/>
                <a:gd name="connsiteX53" fmla="*/ 13671776 w 27542354"/>
                <a:gd name="connsiteY53" fmla="*/ 3155388 h 15035524"/>
                <a:gd name="connsiteX54" fmla="*/ 14123886 w 27542354"/>
                <a:gd name="connsiteY54" fmla="*/ 2857035 h 15035524"/>
                <a:gd name="connsiteX55" fmla="*/ 14259509 w 27542354"/>
                <a:gd name="connsiteY55" fmla="*/ 2287434 h 15035524"/>
                <a:gd name="connsiteX56" fmla="*/ 14892468 w 27542354"/>
                <a:gd name="connsiteY56" fmla="*/ 1645503 h 15035524"/>
                <a:gd name="connsiteX57" fmla="*/ 15778605 w 27542354"/>
                <a:gd name="connsiteY57" fmla="*/ 1093983 h 15035524"/>
                <a:gd name="connsiteX58" fmla="*/ 16022739 w 27542354"/>
                <a:gd name="connsiteY58" fmla="*/ 1564133 h 15035524"/>
                <a:gd name="connsiteX59" fmla="*/ 16556232 w 27542354"/>
                <a:gd name="connsiteY59" fmla="*/ 2142785 h 15035524"/>
                <a:gd name="connsiteX60" fmla="*/ 17406193 w 27542354"/>
                <a:gd name="connsiteY60" fmla="*/ 1292897 h 15035524"/>
                <a:gd name="connsiteX61" fmla="*/ 18120524 w 27542354"/>
                <a:gd name="connsiteY61" fmla="*/ 714260 h 15035524"/>
                <a:gd name="connsiteX62" fmla="*/ 18744437 w 27542354"/>
                <a:gd name="connsiteY62" fmla="*/ -1 h 15035524"/>
                <a:gd name="connsiteX63" fmla="*/ 19982300 w 27542354"/>
                <a:gd name="connsiteY63" fmla="*/ 343465 h 15035524"/>
                <a:gd name="connsiteX64" fmla="*/ 19837609 w 27542354"/>
                <a:gd name="connsiteY64" fmla="*/ 1121173 h 15035524"/>
                <a:gd name="connsiteX65" fmla="*/ 21881359 w 27542354"/>
                <a:gd name="connsiteY65" fmla="*/ 1772279 h 15035524"/>
                <a:gd name="connsiteX66" fmla="*/ 21537712 w 27542354"/>
                <a:gd name="connsiteY66" fmla="*/ 2767023 h 15035524"/>
                <a:gd name="connsiteX67" fmla="*/ 22478203 w 27542354"/>
                <a:gd name="connsiteY67" fmla="*/ 2296774 h 15035524"/>
                <a:gd name="connsiteX68" fmla="*/ 23888932 w 27542354"/>
                <a:gd name="connsiteY68" fmla="*/ 1880797 h 15035524"/>
                <a:gd name="connsiteX69" fmla="*/ 25010275 w 27542354"/>
                <a:gd name="connsiteY69" fmla="*/ 578575 h 15035524"/>
                <a:gd name="connsiteX70" fmla="*/ 26402920 w 27542354"/>
                <a:gd name="connsiteY70" fmla="*/ 759442 h 15035524"/>
                <a:gd name="connsiteX71" fmla="*/ 26554742 w 27542354"/>
                <a:gd name="connsiteY71" fmla="*/ 1935039 h 15035524"/>
                <a:gd name="connsiteX72" fmla="*/ 25751806 w 27542354"/>
                <a:gd name="connsiteY72" fmla="*/ 3689425 h 15035524"/>
                <a:gd name="connsiteX0" fmla="*/ 25751806 w 27542354"/>
                <a:gd name="connsiteY0" fmla="*/ 3689425 h 15035524"/>
                <a:gd name="connsiteX1" fmla="*/ 25950755 w 27542354"/>
                <a:gd name="connsiteY1" fmla="*/ 4828850 h 15035524"/>
                <a:gd name="connsiteX2" fmla="*/ 26439085 w 27542354"/>
                <a:gd name="connsiteY2" fmla="*/ 5986362 h 15035524"/>
                <a:gd name="connsiteX3" fmla="*/ 25824148 w 27542354"/>
                <a:gd name="connsiteY3" fmla="*/ 6709813 h 15035524"/>
                <a:gd name="connsiteX4" fmla="*/ 26619948 w 27542354"/>
                <a:gd name="connsiteY4" fmla="*/ 7722645 h 15035524"/>
                <a:gd name="connsiteX5" fmla="*/ 26312478 w 27542354"/>
                <a:gd name="connsiteY5" fmla="*/ 9549362 h 15035524"/>
                <a:gd name="connsiteX6" fmla="*/ 26402912 w 27542354"/>
                <a:gd name="connsiteY6" fmla="*/ 10526022 h 15035524"/>
                <a:gd name="connsiteX7" fmla="*/ 27542355 w 27542354"/>
                <a:gd name="connsiteY7" fmla="*/ 11888520 h 15035524"/>
                <a:gd name="connsiteX8" fmla="*/ 26089423 w 27542354"/>
                <a:gd name="connsiteY8" fmla="*/ 11858374 h 15035524"/>
                <a:gd name="connsiteX9" fmla="*/ 14618283 w 27542354"/>
                <a:gd name="connsiteY9" fmla="*/ 10516400 h 15035524"/>
                <a:gd name="connsiteX10" fmla="*/ 14908430 w 27542354"/>
                <a:gd name="connsiteY10" fmla="*/ 11937487 h 15035524"/>
                <a:gd name="connsiteX11" fmla="*/ 14904684 w 27542354"/>
                <a:gd name="connsiteY11" fmla="*/ 12760926 h 15035524"/>
                <a:gd name="connsiteX12" fmla="*/ 14929927 w 27542354"/>
                <a:gd name="connsiteY12" fmla="*/ 14391846 h 15035524"/>
                <a:gd name="connsiteX13" fmla="*/ 12952786 w 27542354"/>
                <a:gd name="connsiteY13" fmla="*/ 14842599 h 15035524"/>
                <a:gd name="connsiteX14" fmla="*/ 11934663 w 27542354"/>
                <a:gd name="connsiteY14" fmla="*/ 14890849 h 15035524"/>
                <a:gd name="connsiteX15" fmla="*/ 8506848 w 27542354"/>
                <a:gd name="connsiteY15" fmla="*/ 15035524 h 15035524"/>
                <a:gd name="connsiteX16" fmla="*/ 7985095 w 27542354"/>
                <a:gd name="connsiteY16" fmla="*/ 14390442 h 15035524"/>
                <a:gd name="connsiteX17" fmla="*/ 7400308 w 27542354"/>
                <a:gd name="connsiteY17" fmla="*/ 14360297 h 15035524"/>
                <a:gd name="connsiteX18" fmla="*/ 6972273 w 27542354"/>
                <a:gd name="connsiteY18" fmla="*/ 14631594 h 15035524"/>
                <a:gd name="connsiteX19" fmla="*/ 5181729 w 27542354"/>
                <a:gd name="connsiteY19" fmla="*/ 14547195 h 15035524"/>
                <a:gd name="connsiteX20" fmla="*/ 4397998 w 27542354"/>
                <a:gd name="connsiteY20" fmla="*/ 13914178 h 15035524"/>
                <a:gd name="connsiteX21" fmla="*/ 2908896 w 27542354"/>
                <a:gd name="connsiteY21" fmla="*/ 13106324 h 15035524"/>
                <a:gd name="connsiteX22" fmla="*/ 1263043 w 27542354"/>
                <a:gd name="connsiteY22" fmla="*/ 12394931 h 15035524"/>
                <a:gd name="connsiteX23" fmla="*/ 485320 w 27542354"/>
                <a:gd name="connsiteY23" fmla="*/ 11942774 h 15035524"/>
                <a:gd name="connsiteX24" fmla="*/ 0 w 27542354"/>
                <a:gd name="connsiteY24" fmla="*/ 11649662 h 15035524"/>
                <a:gd name="connsiteX25" fmla="*/ 1003686 w 27542354"/>
                <a:gd name="connsiteY25" fmla="*/ 10903697 h 15035524"/>
                <a:gd name="connsiteX26" fmla="*/ 2902551 w 27542354"/>
                <a:gd name="connsiteY26" fmla="*/ 9719298 h 15035524"/>
                <a:gd name="connsiteX27" fmla="*/ 2558940 w 27542354"/>
                <a:gd name="connsiteY27" fmla="*/ 9185867 h 15035524"/>
                <a:gd name="connsiteX28" fmla="*/ 2402508 w 27542354"/>
                <a:gd name="connsiteY28" fmla="*/ 8498784 h 15035524"/>
                <a:gd name="connsiteX29" fmla="*/ 2730740 w 27542354"/>
                <a:gd name="connsiteY29" fmla="*/ 8471613 h 15035524"/>
                <a:gd name="connsiteX30" fmla="*/ 2947754 w 27542354"/>
                <a:gd name="connsiteY30" fmla="*/ 8001468 h 15035524"/>
                <a:gd name="connsiteX31" fmla="*/ 3499325 w 27542354"/>
                <a:gd name="connsiteY31" fmla="*/ 7558451 h 15035524"/>
                <a:gd name="connsiteX32" fmla="*/ 3680166 w 27542354"/>
                <a:gd name="connsiteY32" fmla="*/ 6681453 h 15035524"/>
                <a:gd name="connsiteX33" fmla="*/ 4186528 w 27542354"/>
                <a:gd name="connsiteY33" fmla="*/ 6690489 h 15035524"/>
                <a:gd name="connsiteX34" fmla="*/ 4837569 w 27542354"/>
                <a:gd name="connsiteY34" fmla="*/ 7160639 h 15035524"/>
                <a:gd name="connsiteX35" fmla="*/ 5352976 w 27542354"/>
                <a:gd name="connsiteY35" fmla="*/ 7079272 h 15035524"/>
                <a:gd name="connsiteX36" fmla="*/ 5741786 w 27542354"/>
                <a:gd name="connsiteY36" fmla="*/ 6708577 h 15035524"/>
                <a:gd name="connsiteX37" fmla="*/ 6157723 w 27542354"/>
                <a:gd name="connsiteY37" fmla="*/ 6545836 h 15035524"/>
                <a:gd name="connsiteX38" fmla="*/ 6745471 w 27542354"/>
                <a:gd name="connsiteY38" fmla="*/ 5976243 h 15035524"/>
                <a:gd name="connsiteX39" fmla="*/ 6890140 w 27542354"/>
                <a:gd name="connsiteY39" fmla="*/ 5126367 h 15035524"/>
                <a:gd name="connsiteX40" fmla="*/ 7568305 w 27542354"/>
                <a:gd name="connsiteY40" fmla="*/ 4556773 h 15035524"/>
                <a:gd name="connsiteX41" fmla="*/ 8137967 w 27542354"/>
                <a:gd name="connsiteY41" fmla="*/ 4113752 h 15035524"/>
                <a:gd name="connsiteX42" fmla="*/ 8463480 w 27542354"/>
                <a:gd name="connsiteY42" fmla="*/ 3309085 h 15035524"/>
                <a:gd name="connsiteX43" fmla="*/ 9024093 w 27542354"/>
                <a:gd name="connsiteY43" fmla="*/ 2956478 h 15035524"/>
                <a:gd name="connsiteX44" fmla="*/ 9675138 w 27542354"/>
                <a:gd name="connsiteY44" fmla="*/ 2603876 h 15035524"/>
                <a:gd name="connsiteX45" fmla="*/ 9558580 w 27542354"/>
                <a:gd name="connsiteY45" fmla="*/ 2055592 h 15035524"/>
                <a:gd name="connsiteX46" fmla="*/ 10353296 w 27542354"/>
                <a:gd name="connsiteY46" fmla="*/ 1383308 h 15035524"/>
                <a:gd name="connsiteX47" fmla="*/ 10832530 w 27542354"/>
                <a:gd name="connsiteY47" fmla="*/ 1310974 h 15035524"/>
                <a:gd name="connsiteX48" fmla="*/ 11058585 w 27542354"/>
                <a:gd name="connsiteY48" fmla="*/ 1763043 h 15035524"/>
                <a:gd name="connsiteX49" fmla="*/ 11411229 w 27542354"/>
                <a:gd name="connsiteY49" fmla="*/ 2142774 h 15035524"/>
                <a:gd name="connsiteX50" fmla="*/ 11998974 w 27542354"/>
                <a:gd name="connsiteY50" fmla="*/ 2224144 h 15035524"/>
                <a:gd name="connsiteX51" fmla="*/ 12315449 w 27542354"/>
                <a:gd name="connsiteY51" fmla="*/ 2884156 h 15035524"/>
                <a:gd name="connsiteX52" fmla="*/ 12785642 w 27542354"/>
                <a:gd name="connsiteY52" fmla="*/ 2703327 h 15035524"/>
                <a:gd name="connsiteX53" fmla="*/ 13671776 w 27542354"/>
                <a:gd name="connsiteY53" fmla="*/ 3155388 h 15035524"/>
                <a:gd name="connsiteX54" fmla="*/ 14123886 w 27542354"/>
                <a:gd name="connsiteY54" fmla="*/ 2857035 h 15035524"/>
                <a:gd name="connsiteX55" fmla="*/ 14259509 w 27542354"/>
                <a:gd name="connsiteY55" fmla="*/ 2287434 h 15035524"/>
                <a:gd name="connsiteX56" fmla="*/ 14892468 w 27542354"/>
                <a:gd name="connsiteY56" fmla="*/ 1645503 h 15035524"/>
                <a:gd name="connsiteX57" fmla="*/ 15778605 w 27542354"/>
                <a:gd name="connsiteY57" fmla="*/ 1093983 h 15035524"/>
                <a:gd name="connsiteX58" fmla="*/ 16022739 w 27542354"/>
                <a:gd name="connsiteY58" fmla="*/ 1564133 h 15035524"/>
                <a:gd name="connsiteX59" fmla="*/ 16556232 w 27542354"/>
                <a:gd name="connsiteY59" fmla="*/ 2142785 h 15035524"/>
                <a:gd name="connsiteX60" fmla="*/ 17406193 w 27542354"/>
                <a:gd name="connsiteY60" fmla="*/ 1292897 h 15035524"/>
                <a:gd name="connsiteX61" fmla="*/ 18120524 w 27542354"/>
                <a:gd name="connsiteY61" fmla="*/ 714260 h 15035524"/>
                <a:gd name="connsiteX62" fmla="*/ 18744437 w 27542354"/>
                <a:gd name="connsiteY62" fmla="*/ -1 h 15035524"/>
                <a:gd name="connsiteX63" fmla="*/ 19982300 w 27542354"/>
                <a:gd name="connsiteY63" fmla="*/ 343465 h 15035524"/>
                <a:gd name="connsiteX64" fmla="*/ 19837609 w 27542354"/>
                <a:gd name="connsiteY64" fmla="*/ 1121173 h 15035524"/>
                <a:gd name="connsiteX65" fmla="*/ 21881359 w 27542354"/>
                <a:gd name="connsiteY65" fmla="*/ 1772279 h 15035524"/>
                <a:gd name="connsiteX66" fmla="*/ 21537712 w 27542354"/>
                <a:gd name="connsiteY66" fmla="*/ 2767023 h 15035524"/>
                <a:gd name="connsiteX67" fmla="*/ 22478203 w 27542354"/>
                <a:gd name="connsiteY67" fmla="*/ 2296774 h 15035524"/>
                <a:gd name="connsiteX68" fmla="*/ 23888932 w 27542354"/>
                <a:gd name="connsiteY68" fmla="*/ 1880797 h 15035524"/>
                <a:gd name="connsiteX69" fmla="*/ 25010275 w 27542354"/>
                <a:gd name="connsiteY69" fmla="*/ 578575 h 15035524"/>
                <a:gd name="connsiteX70" fmla="*/ 26402920 w 27542354"/>
                <a:gd name="connsiteY70" fmla="*/ 759442 h 15035524"/>
                <a:gd name="connsiteX71" fmla="*/ 26554742 w 27542354"/>
                <a:gd name="connsiteY71" fmla="*/ 1935039 h 15035524"/>
                <a:gd name="connsiteX72" fmla="*/ 25751806 w 27542354"/>
                <a:gd name="connsiteY72" fmla="*/ 3689425 h 15035524"/>
                <a:gd name="connsiteX0" fmla="*/ 25751806 w 27542354"/>
                <a:gd name="connsiteY0" fmla="*/ 3689425 h 15035524"/>
                <a:gd name="connsiteX1" fmla="*/ 25950755 w 27542354"/>
                <a:gd name="connsiteY1" fmla="*/ 4828850 h 15035524"/>
                <a:gd name="connsiteX2" fmla="*/ 26439085 w 27542354"/>
                <a:gd name="connsiteY2" fmla="*/ 5986362 h 15035524"/>
                <a:gd name="connsiteX3" fmla="*/ 25824148 w 27542354"/>
                <a:gd name="connsiteY3" fmla="*/ 6709813 h 15035524"/>
                <a:gd name="connsiteX4" fmla="*/ 26619948 w 27542354"/>
                <a:gd name="connsiteY4" fmla="*/ 7722645 h 15035524"/>
                <a:gd name="connsiteX5" fmla="*/ 26312478 w 27542354"/>
                <a:gd name="connsiteY5" fmla="*/ 9549362 h 15035524"/>
                <a:gd name="connsiteX6" fmla="*/ 26402912 w 27542354"/>
                <a:gd name="connsiteY6" fmla="*/ 10526022 h 15035524"/>
                <a:gd name="connsiteX7" fmla="*/ 27542355 w 27542354"/>
                <a:gd name="connsiteY7" fmla="*/ 11888520 h 15035524"/>
                <a:gd name="connsiteX8" fmla="*/ 26089423 w 27542354"/>
                <a:gd name="connsiteY8" fmla="*/ 11858374 h 15035524"/>
                <a:gd name="connsiteX9" fmla="*/ 15011380 w 27542354"/>
                <a:gd name="connsiteY9" fmla="*/ 11048592 h 15035524"/>
                <a:gd name="connsiteX10" fmla="*/ 14908430 w 27542354"/>
                <a:gd name="connsiteY10" fmla="*/ 11937487 h 15035524"/>
                <a:gd name="connsiteX11" fmla="*/ 14904684 w 27542354"/>
                <a:gd name="connsiteY11" fmla="*/ 12760926 h 15035524"/>
                <a:gd name="connsiteX12" fmla="*/ 14929927 w 27542354"/>
                <a:gd name="connsiteY12" fmla="*/ 14391846 h 15035524"/>
                <a:gd name="connsiteX13" fmla="*/ 12952786 w 27542354"/>
                <a:gd name="connsiteY13" fmla="*/ 14842599 h 15035524"/>
                <a:gd name="connsiteX14" fmla="*/ 11934663 w 27542354"/>
                <a:gd name="connsiteY14" fmla="*/ 14890849 h 15035524"/>
                <a:gd name="connsiteX15" fmla="*/ 8506848 w 27542354"/>
                <a:gd name="connsiteY15" fmla="*/ 15035524 h 15035524"/>
                <a:gd name="connsiteX16" fmla="*/ 7985095 w 27542354"/>
                <a:gd name="connsiteY16" fmla="*/ 14390442 h 15035524"/>
                <a:gd name="connsiteX17" fmla="*/ 7400308 w 27542354"/>
                <a:gd name="connsiteY17" fmla="*/ 14360297 h 15035524"/>
                <a:gd name="connsiteX18" fmla="*/ 6972273 w 27542354"/>
                <a:gd name="connsiteY18" fmla="*/ 14631594 h 15035524"/>
                <a:gd name="connsiteX19" fmla="*/ 5181729 w 27542354"/>
                <a:gd name="connsiteY19" fmla="*/ 14547195 h 15035524"/>
                <a:gd name="connsiteX20" fmla="*/ 4397998 w 27542354"/>
                <a:gd name="connsiteY20" fmla="*/ 13914178 h 15035524"/>
                <a:gd name="connsiteX21" fmla="*/ 2908896 w 27542354"/>
                <a:gd name="connsiteY21" fmla="*/ 13106324 h 15035524"/>
                <a:gd name="connsiteX22" fmla="*/ 1263043 w 27542354"/>
                <a:gd name="connsiteY22" fmla="*/ 12394931 h 15035524"/>
                <a:gd name="connsiteX23" fmla="*/ 485320 w 27542354"/>
                <a:gd name="connsiteY23" fmla="*/ 11942774 h 15035524"/>
                <a:gd name="connsiteX24" fmla="*/ 0 w 27542354"/>
                <a:gd name="connsiteY24" fmla="*/ 11649662 h 15035524"/>
                <a:gd name="connsiteX25" fmla="*/ 1003686 w 27542354"/>
                <a:gd name="connsiteY25" fmla="*/ 10903697 h 15035524"/>
                <a:gd name="connsiteX26" fmla="*/ 2902551 w 27542354"/>
                <a:gd name="connsiteY26" fmla="*/ 9719298 h 15035524"/>
                <a:gd name="connsiteX27" fmla="*/ 2558940 w 27542354"/>
                <a:gd name="connsiteY27" fmla="*/ 9185867 h 15035524"/>
                <a:gd name="connsiteX28" fmla="*/ 2402508 w 27542354"/>
                <a:gd name="connsiteY28" fmla="*/ 8498784 h 15035524"/>
                <a:gd name="connsiteX29" fmla="*/ 2730740 w 27542354"/>
                <a:gd name="connsiteY29" fmla="*/ 8471613 h 15035524"/>
                <a:gd name="connsiteX30" fmla="*/ 2947754 w 27542354"/>
                <a:gd name="connsiteY30" fmla="*/ 8001468 h 15035524"/>
                <a:gd name="connsiteX31" fmla="*/ 3499325 w 27542354"/>
                <a:gd name="connsiteY31" fmla="*/ 7558451 h 15035524"/>
                <a:gd name="connsiteX32" fmla="*/ 3680166 w 27542354"/>
                <a:gd name="connsiteY32" fmla="*/ 6681453 h 15035524"/>
                <a:gd name="connsiteX33" fmla="*/ 4186528 w 27542354"/>
                <a:gd name="connsiteY33" fmla="*/ 6690489 h 15035524"/>
                <a:gd name="connsiteX34" fmla="*/ 4837569 w 27542354"/>
                <a:gd name="connsiteY34" fmla="*/ 7160639 h 15035524"/>
                <a:gd name="connsiteX35" fmla="*/ 5352976 w 27542354"/>
                <a:gd name="connsiteY35" fmla="*/ 7079272 h 15035524"/>
                <a:gd name="connsiteX36" fmla="*/ 5741786 w 27542354"/>
                <a:gd name="connsiteY36" fmla="*/ 6708577 h 15035524"/>
                <a:gd name="connsiteX37" fmla="*/ 6157723 w 27542354"/>
                <a:gd name="connsiteY37" fmla="*/ 6545836 h 15035524"/>
                <a:gd name="connsiteX38" fmla="*/ 6745471 w 27542354"/>
                <a:gd name="connsiteY38" fmla="*/ 5976243 h 15035524"/>
                <a:gd name="connsiteX39" fmla="*/ 6890140 w 27542354"/>
                <a:gd name="connsiteY39" fmla="*/ 5126367 h 15035524"/>
                <a:gd name="connsiteX40" fmla="*/ 7568305 w 27542354"/>
                <a:gd name="connsiteY40" fmla="*/ 4556773 h 15035524"/>
                <a:gd name="connsiteX41" fmla="*/ 8137967 w 27542354"/>
                <a:gd name="connsiteY41" fmla="*/ 4113752 h 15035524"/>
                <a:gd name="connsiteX42" fmla="*/ 8463480 w 27542354"/>
                <a:gd name="connsiteY42" fmla="*/ 3309085 h 15035524"/>
                <a:gd name="connsiteX43" fmla="*/ 9024093 w 27542354"/>
                <a:gd name="connsiteY43" fmla="*/ 2956478 h 15035524"/>
                <a:gd name="connsiteX44" fmla="*/ 9675138 w 27542354"/>
                <a:gd name="connsiteY44" fmla="*/ 2603876 h 15035524"/>
                <a:gd name="connsiteX45" fmla="*/ 9558580 w 27542354"/>
                <a:gd name="connsiteY45" fmla="*/ 2055592 h 15035524"/>
                <a:gd name="connsiteX46" fmla="*/ 10353296 w 27542354"/>
                <a:gd name="connsiteY46" fmla="*/ 1383308 h 15035524"/>
                <a:gd name="connsiteX47" fmla="*/ 10832530 w 27542354"/>
                <a:gd name="connsiteY47" fmla="*/ 1310974 h 15035524"/>
                <a:gd name="connsiteX48" fmla="*/ 11058585 w 27542354"/>
                <a:gd name="connsiteY48" fmla="*/ 1763043 h 15035524"/>
                <a:gd name="connsiteX49" fmla="*/ 11411229 w 27542354"/>
                <a:gd name="connsiteY49" fmla="*/ 2142774 h 15035524"/>
                <a:gd name="connsiteX50" fmla="*/ 11998974 w 27542354"/>
                <a:gd name="connsiteY50" fmla="*/ 2224144 h 15035524"/>
                <a:gd name="connsiteX51" fmla="*/ 12315449 w 27542354"/>
                <a:gd name="connsiteY51" fmla="*/ 2884156 h 15035524"/>
                <a:gd name="connsiteX52" fmla="*/ 12785642 w 27542354"/>
                <a:gd name="connsiteY52" fmla="*/ 2703327 h 15035524"/>
                <a:gd name="connsiteX53" fmla="*/ 13671776 w 27542354"/>
                <a:gd name="connsiteY53" fmla="*/ 3155388 h 15035524"/>
                <a:gd name="connsiteX54" fmla="*/ 14123886 w 27542354"/>
                <a:gd name="connsiteY54" fmla="*/ 2857035 h 15035524"/>
                <a:gd name="connsiteX55" fmla="*/ 14259509 w 27542354"/>
                <a:gd name="connsiteY55" fmla="*/ 2287434 h 15035524"/>
                <a:gd name="connsiteX56" fmla="*/ 14892468 w 27542354"/>
                <a:gd name="connsiteY56" fmla="*/ 1645503 h 15035524"/>
                <a:gd name="connsiteX57" fmla="*/ 15778605 w 27542354"/>
                <a:gd name="connsiteY57" fmla="*/ 1093983 h 15035524"/>
                <a:gd name="connsiteX58" fmla="*/ 16022739 w 27542354"/>
                <a:gd name="connsiteY58" fmla="*/ 1564133 h 15035524"/>
                <a:gd name="connsiteX59" fmla="*/ 16556232 w 27542354"/>
                <a:gd name="connsiteY59" fmla="*/ 2142785 h 15035524"/>
                <a:gd name="connsiteX60" fmla="*/ 17406193 w 27542354"/>
                <a:gd name="connsiteY60" fmla="*/ 1292897 h 15035524"/>
                <a:gd name="connsiteX61" fmla="*/ 18120524 w 27542354"/>
                <a:gd name="connsiteY61" fmla="*/ 714260 h 15035524"/>
                <a:gd name="connsiteX62" fmla="*/ 18744437 w 27542354"/>
                <a:gd name="connsiteY62" fmla="*/ -1 h 15035524"/>
                <a:gd name="connsiteX63" fmla="*/ 19982300 w 27542354"/>
                <a:gd name="connsiteY63" fmla="*/ 343465 h 15035524"/>
                <a:gd name="connsiteX64" fmla="*/ 19837609 w 27542354"/>
                <a:gd name="connsiteY64" fmla="*/ 1121173 h 15035524"/>
                <a:gd name="connsiteX65" fmla="*/ 21881359 w 27542354"/>
                <a:gd name="connsiteY65" fmla="*/ 1772279 h 15035524"/>
                <a:gd name="connsiteX66" fmla="*/ 21537712 w 27542354"/>
                <a:gd name="connsiteY66" fmla="*/ 2767023 h 15035524"/>
                <a:gd name="connsiteX67" fmla="*/ 22478203 w 27542354"/>
                <a:gd name="connsiteY67" fmla="*/ 2296774 h 15035524"/>
                <a:gd name="connsiteX68" fmla="*/ 23888932 w 27542354"/>
                <a:gd name="connsiteY68" fmla="*/ 1880797 h 15035524"/>
                <a:gd name="connsiteX69" fmla="*/ 25010275 w 27542354"/>
                <a:gd name="connsiteY69" fmla="*/ 578575 h 15035524"/>
                <a:gd name="connsiteX70" fmla="*/ 26402920 w 27542354"/>
                <a:gd name="connsiteY70" fmla="*/ 759442 h 15035524"/>
                <a:gd name="connsiteX71" fmla="*/ 26554742 w 27542354"/>
                <a:gd name="connsiteY71" fmla="*/ 1935039 h 15035524"/>
                <a:gd name="connsiteX72" fmla="*/ 25751806 w 27542354"/>
                <a:gd name="connsiteY72" fmla="*/ 3689425 h 15035524"/>
                <a:gd name="connsiteX0" fmla="*/ 25751806 w 27542354"/>
                <a:gd name="connsiteY0" fmla="*/ 3689425 h 15035524"/>
                <a:gd name="connsiteX1" fmla="*/ 25950755 w 27542354"/>
                <a:gd name="connsiteY1" fmla="*/ 4828850 h 15035524"/>
                <a:gd name="connsiteX2" fmla="*/ 26439085 w 27542354"/>
                <a:gd name="connsiteY2" fmla="*/ 5986362 h 15035524"/>
                <a:gd name="connsiteX3" fmla="*/ 25824148 w 27542354"/>
                <a:gd name="connsiteY3" fmla="*/ 6709813 h 15035524"/>
                <a:gd name="connsiteX4" fmla="*/ 26619948 w 27542354"/>
                <a:gd name="connsiteY4" fmla="*/ 7722645 h 15035524"/>
                <a:gd name="connsiteX5" fmla="*/ 26312478 w 27542354"/>
                <a:gd name="connsiteY5" fmla="*/ 9549362 h 15035524"/>
                <a:gd name="connsiteX6" fmla="*/ 26402912 w 27542354"/>
                <a:gd name="connsiteY6" fmla="*/ 10526022 h 15035524"/>
                <a:gd name="connsiteX7" fmla="*/ 27542355 w 27542354"/>
                <a:gd name="connsiteY7" fmla="*/ 11888520 h 15035524"/>
                <a:gd name="connsiteX8" fmla="*/ 13482332 w 27542354"/>
                <a:gd name="connsiteY8" fmla="*/ 8749261 h 15035524"/>
                <a:gd name="connsiteX9" fmla="*/ 15011380 w 27542354"/>
                <a:gd name="connsiteY9" fmla="*/ 11048592 h 15035524"/>
                <a:gd name="connsiteX10" fmla="*/ 14908430 w 27542354"/>
                <a:gd name="connsiteY10" fmla="*/ 11937487 h 15035524"/>
                <a:gd name="connsiteX11" fmla="*/ 14904684 w 27542354"/>
                <a:gd name="connsiteY11" fmla="*/ 12760926 h 15035524"/>
                <a:gd name="connsiteX12" fmla="*/ 14929927 w 27542354"/>
                <a:gd name="connsiteY12" fmla="*/ 14391846 h 15035524"/>
                <a:gd name="connsiteX13" fmla="*/ 12952786 w 27542354"/>
                <a:gd name="connsiteY13" fmla="*/ 14842599 h 15035524"/>
                <a:gd name="connsiteX14" fmla="*/ 11934663 w 27542354"/>
                <a:gd name="connsiteY14" fmla="*/ 14890849 h 15035524"/>
                <a:gd name="connsiteX15" fmla="*/ 8506848 w 27542354"/>
                <a:gd name="connsiteY15" fmla="*/ 15035524 h 15035524"/>
                <a:gd name="connsiteX16" fmla="*/ 7985095 w 27542354"/>
                <a:gd name="connsiteY16" fmla="*/ 14390442 h 15035524"/>
                <a:gd name="connsiteX17" fmla="*/ 7400308 w 27542354"/>
                <a:gd name="connsiteY17" fmla="*/ 14360297 h 15035524"/>
                <a:gd name="connsiteX18" fmla="*/ 6972273 w 27542354"/>
                <a:gd name="connsiteY18" fmla="*/ 14631594 h 15035524"/>
                <a:gd name="connsiteX19" fmla="*/ 5181729 w 27542354"/>
                <a:gd name="connsiteY19" fmla="*/ 14547195 h 15035524"/>
                <a:gd name="connsiteX20" fmla="*/ 4397998 w 27542354"/>
                <a:gd name="connsiteY20" fmla="*/ 13914178 h 15035524"/>
                <a:gd name="connsiteX21" fmla="*/ 2908896 w 27542354"/>
                <a:gd name="connsiteY21" fmla="*/ 13106324 h 15035524"/>
                <a:gd name="connsiteX22" fmla="*/ 1263043 w 27542354"/>
                <a:gd name="connsiteY22" fmla="*/ 12394931 h 15035524"/>
                <a:gd name="connsiteX23" fmla="*/ 485320 w 27542354"/>
                <a:gd name="connsiteY23" fmla="*/ 11942774 h 15035524"/>
                <a:gd name="connsiteX24" fmla="*/ 0 w 27542354"/>
                <a:gd name="connsiteY24" fmla="*/ 11649662 h 15035524"/>
                <a:gd name="connsiteX25" fmla="*/ 1003686 w 27542354"/>
                <a:gd name="connsiteY25" fmla="*/ 10903697 h 15035524"/>
                <a:gd name="connsiteX26" fmla="*/ 2902551 w 27542354"/>
                <a:gd name="connsiteY26" fmla="*/ 9719298 h 15035524"/>
                <a:gd name="connsiteX27" fmla="*/ 2558940 w 27542354"/>
                <a:gd name="connsiteY27" fmla="*/ 9185867 h 15035524"/>
                <a:gd name="connsiteX28" fmla="*/ 2402508 w 27542354"/>
                <a:gd name="connsiteY28" fmla="*/ 8498784 h 15035524"/>
                <a:gd name="connsiteX29" fmla="*/ 2730740 w 27542354"/>
                <a:gd name="connsiteY29" fmla="*/ 8471613 h 15035524"/>
                <a:gd name="connsiteX30" fmla="*/ 2947754 w 27542354"/>
                <a:gd name="connsiteY30" fmla="*/ 8001468 h 15035524"/>
                <a:gd name="connsiteX31" fmla="*/ 3499325 w 27542354"/>
                <a:gd name="connsiteY31" fmla="*/ 7558451 h 15035524"/>
                <a:gd name="connsiteX32" fmla="*/ 3680166 w 27542354"/>
                <a:gd name="connsiteY32" fmla="*/ 6681453 h 15035524"/>
                <a:gd name="connsiteX33" fmla="*/ 4186528 w 27542354"/>
                <a:gd name="connsiteY33" fmla="*/ 6690489 h 15035524"/>
                <a:gd name="connsiteX34" fmla="*/ 4837569 w 27542354"/>
                <a:gd name="connsiteY34" fmla="*/ 7160639 h 15035524"/>
                <a:gd name="connsiteX35" fmla="*/ 5352976 w 27542354"/>
                <a:gd name="connsiteY35" fmla="*/ 7079272 h 15035524"/>
                <a:gd name="connsiteX36" fmla="*/ 5741786 w 27542354"/>
                <a:gd name="connsiteY36" fmla="*/ 6708577 h 15035524"/>
                <a:gd name="connsiteX37" fmla="*/ 6157723 w 27542354"/>
                <a:gd name="connsiteY37" fmla="*/ 6545836 h 15035524"/>
                <a:gd name="connsiteX38" fmla="*/ 6745471 w 27542354"/>
                <a:gd name="connsiteY38" fmla="*/ 5976243 h 15035524"/>
                <a:gd name="connsiteX39" fmla="*/ 6890140 w 27542354"/>
                <a:gd name="connsiteY39" fmla="*/ 5126367 h 15035524"/>
                <a:gd name="connsiteX40" fmla="*/ 7568305 w 27542354"/>
                <a:gd name="connsiteY40" fmla="*/ 4556773 h 15035524"/>
                <a:gd name="connsiteX41" fmla="*/ 8137967 w 27542354"/>
                <a:gd name="connsiteY41" fmla="*/ 4113752 h 15035524"/>
                <a:gd name="connsiteX42" fmla="*/ 8463480 w 27542354"/>
                <a:gd name="connsiteY42" fmla="*/ 3309085 h 15035524"/>
                <a:gd name="connsiteX43" fmla="*/ 9024093 w 27542354"/>
                <a:gd name="connsiteY43" fmla="*/ 2956478 h 15035524"/>
                <a:gd name="connsiteX44" fmla="*/ 9675138 w 27542354"/>
                <a:gd name="connsiteY44" fmla="*/ 2603876 h 15035524"/>
                <a:gd name="connsiteX45" fmla="*/ 9558580 w 27542354"/>
                <a:gd name="connsiteY45" fmla="*/ 2055592 h 15035524"/>
                <a:gd name="connsiteX46" fmla="*/ 10353296 w 27542354"/>
                <a:gd name="connsiteY46" fmla="*/ 1383308 h 15035524"/>
                <a:gd name="connsiteX47" fmla="*/ 10832530 w 27542354"/>
                <a:gd name="connsiteY47" fmla="*/ 1310974 h 15035524"/>
                <a:gd name="connsiteX48" fmla="*/ 11058585 w 27542354"/>
                <a:gd name="connsiteY48" fmla="*/ 1763043 h 15035524"/>
                <a:gd name="connsiteX49" fmla="*/ 11411229 w 27542354"/>
                <a:gd name="connsiteY49" fmla="*/ 2142774 h 15035524"/>
                <a:gd name="connsiteX50" fmla="*/ 11998974 w 27542354"/>
                <a:gd name="connsiteY50" fmla="*/ 2224144 h 15035524"/>
                <a:gd name="connsiteX51" fmla="*/ 12315449 w 27542354"/>
                <a:gd name="connsiteY51" fmla="*/ 2884156 h 15035524"/>
                <a:gd name="connsiteX52" fmla="*/ 12785642 w 27542354"/>
                <a:gd name="connsiteY52" fmla="*/ 2703327 h 15035524"/>
                <a:gd name="connsiteX53" fmla="*/ 13671776 w 27542354"/>
                <a:gd name="connsiteY53" fmla="*/ 3155388 h 15035524"/>
                <a:gd name="connsiteX54" fmla="*/ 14123886 w 27542354"/>
                <a:gd name="connsiteY54" fmla="*/ 2857035 h 15035524"/>
                <a:gd name="connsiteX55" fmla="*/ 14259509 w 27542354"/>
                <a:gd name="connsiteY55" fmla="*/ 2287434 h 15035524"/>
                <a:gd name="connsiteX56" fmla="*/ 14892468 w 27542354"/>
                <a:gd name="connsiteY56" fmla="*/ 1645503 h 15035524"/>
                <a:gd name="connsiteX57" fmla="*/ 15778605 w 27542354"/>
                <a:gd name="connsiteY57" fmla="*/ 1093983 h 15035524"/>
                <a:gd name="connsiteX58" fmla="*/ 16022739 w 27542354"/>
                <a:gd name="connsiteY58" fmla="*/ 1564133 h 15035524"/>
                <a:gd name="connsiteX59" fmla="*/ 16556232 w 27542354"/>
                <a:gd name="connsiteY59" fmla="*/ 2142785 h 15035524"/>
                <a:gd name="connsiteX60" fmla="*/ 17406193 w 27542354"/>
                <a:gd name="connsiteY60" fmla="*/ 1292897 h 15035524"/>
                <a:gd name="connsiteX61" fmla="*/ 18120524 w 27542354"/>
                <a:gd name="connsiteY61" fmla="*/ 714260 h 15035524"/>
                <a:gd name="connsiteX62" fmla="*/ 18744437 w 27542354"/>
                <a:gd name="connsiteY62" fmla="*/ -1 h 15035524"/>
                <a:gd name="connsiteX63" fmla="*/ 19982300 w 27542354"/>
                <a:gd name="connsiteY63" fmla="*/ 343465 h 15035524"/>
                <a:gd name="connsiteX64" fmla="*/ 19837609 w 27542354"/>
                <a:gd name="connsiteY64" fmla="*/ 1121173 h 15035524"/>
                <a:gd name="connsiteX65" fmla="*/ 21881359 w 27542354"/>
                <a:gd name="connsiteY65" fmla="*/ 1772279 h 15035524"/>
                <a:gd name="connsiteX66" fmla="*/ 21537712 w 27542354"/>
                <a:gd name="connsiteY66" fmla="*/ 2767023 h 15035524"/>
                <a:gd name="connsiteX67" fmla="*/ 22478203 w 27542354"/>
                <a:gd name="connsiteY67" fmla="*/ 2296774 h 15035524"/>
                <a:gd name="connsiteX68" fmla="*/ 23888932 w 27542354"/>
                <a:gd name="connsiteY68" fmla="*/ 1880797 h 15035524"/>
                <a:gd name="connsiteX69" fmla="*/ 25010275 w 27542354"/>
                <a:gd name="connsiteY69" fmla="*/ 578575 h 15035524"/>
                <a:gd name="connsiteX70" fmla="*/ 26402920 w 27542354"/>
                <a:gd name="connsiteY70" fmla="*/ 759442 h 15035524"/>
                <a:gd name="connsiteX71" fmla="*/ 26554742 w 27542354"/>
                <a:gd name="connsiteY71" fmla="*/ 1935039 h 15035524"/>
                <a:gd name="connsiteX72" fmla="*/ 25751806 w 27542354"/>
                <a:gd name="connsiteY72" fmla="*/ 3689425 h 15035524"/>
                <a:gd name="connsiteX0" fmla="*/ 25751806 w 27542354"/>
                <a:gd name="connsiteY0" fmla="*/ 3689425 h 15035524"/>
                <a:gd name="connsiteX1" fmla="*/ 25950755 w 27542354"/>
                <a:gd name="connsiteY1" fmla="*/ 4828850 h 15035524"/>
                <a:gd name="connsiteX2" fmla="*/ 26439085 w 27542354"/>
                <a:gd name="connsiteY2" fmla="*/ 5986362 h 15035524"/>
                <a:gd name="connsiteX3" fmla="*/ 25824148 w 27542354"/>
                <a:gd name="connsiteY3" fmla="*/ 6709813 h 15035524"/>
                <a:gd name="connsiteX4" fmla="*/ 26619948 w 27542354"/>
                <a:gd name="connsiteY4" fmla="*/ 7722645 h 15035524"/>
                <a:gd name="connsiteX5" fmla="*/ 26312478 w 27542354"/>
                <a:gd name="connsiteY5" fmla="*/ 9549362 h 15035524"/>
                <a:gd name="connsiteX6" fmla="*/ 26402912 w 27542354"/>
                <a:gd name="connsiteY6" fmla="*/ 10526022 h 15035524"/>
                <a:gd name="connsiteX7" fmla="*/ 27542355 w 27542354"/>
                <a:gd name="connsiteY7" fmla="*/ 11888520 h 15035524"/>
                <a:gd name="connsiteX8" fmla="*/ 15195097 w 27542354"/>
                <a:gd name="connsiteY8" fmla="*/ 10093742 h 15035524"/>
                <a:gd name="connsiteX9" fmla="*/ 15011380 w 27542354"/>
                <a:gd name="connsiteY9" fmla="*/ 11048592 h 15035524"/>
                <a:gd name="connsiteX10" fmla="*/ 14908430 w 27542354"/>
                <a:gd name="connsiteY10" fmla="*/ 11937487 h 15035524"/>
                <a:gd name="connsiteX11" fmla="*/ 14904684 w 27542354"/>
                <a:gd name="connsiteY11" fmla="*/ 12760926 h 15035524"/>
                <a:gd name="connsiteX12" fmla="*/ 14929927 w 27542354"/>
                <a:gd name="connsiteY12" fmla="*/ 14391846 h 15035524"/>
                <a:gd name="connsiteX13" fmla="*/ 12952786 w 27542354"/>
                <a:gd name="connsiteY13" fmla="*/ 14842599 h 15035524"/>
                <a:gd name="connsiteX14" fmla="*/ 11934663 w 27542354"/>
                <a:gd name="connsiteY14" fmla="*/ 14890849 h 15035524"/>
                <a:gd name="connsiteX15" fmla="*/ 8506848 w 27542354"/>
                <a:gd name="connsiteY15" fmla="*/ 15035524 h 15035524"/>
                <a:gd name="connsiteX16" fmla="*/ 7985095 w 27542354"/>
                <a:gd name="connsiteY16" fmla="*/ 14390442 h 15035524"/>
                <a:gd name="connsiteX17" fmla="*/ 7400308 w 27542354"/>
                <a:gd name="connsiteY17" fmla="*/ 14360297 h 15035524"/>
                <a:gd name="connsiteX18" fmla="*/ 6972273 w 27542354"/>
                <a:gd name="connsiteY18" fmla="*/ 14631594 h 15035524"/>
                <a:gd name="connsiteX19" fmla="*/ 5181729 w 27542354"/>
                <a:gd name="connsiteY19" fmla="*/ 14547195 h 15035524"/>
                <a:gd name="connsiteX20" fmla="*/ 4397998 w 27542354"/>
                <a:gd name="connsiteY20" fmla="*/ 13914178 h 15035524"/>
                <a:gd name="connsiteX21" fmla="*/ 2908896 w 27542354"/>
                <a:gd name="connsiteY21" fmla="*/ 13106324 h 15035524"/>
                <a:gd name="connsiteX22" fmla="*/ 1263043 w 27542354"/>
                <a:gd name="connsiteY22" fmla="*/ 12394931 h 15035524"/>
                <a:gd name="connsiteX23" fmla="*/ 485320 w 27542354"/>
                <a:gd name="connsiteY23" fmla="*/ 11942774 h 15035524"/>
                <a:gd name="connsiteX24" fmla="*/ 0 w 27542354"/>
                <a:gd name="connsiteY24" fmla="*/ 11649662 h 15035524"/>
                <a:gd name="connsiteX25" fmla="*/ 1003686 w 27542354"/>
                <a:gd name="connsiteY25" fmla="*/ 10903697 h 15035524"/>
                <a:gd name="connsiteX26" fmla="*/ 2902551 w 27542354"/>
                <a:gd name="connsiteY26" fmla="*/ 9719298 h 15035524"/>
                <a:gd name="connsiteX27" fmla="*/ 2558940 w 27542354"/>
                <a:gd name="connsiteY27" fmla="*/ 9185867 h 15035524"/>
                <a:gd name="connsiteX28" fmla="*/ 2402508 w 27542354"/>
                <a:gd name="connsiteY28" fmla="*/ 8498784 h 15035524"/>
                <a:gd name="connsiteX29" fmla="*/ 2730740 w 27542354"/>
                <a:gd name="connsiteY29" fmla="*/ 8471613 h 15035524"/>
                <a:gd name="connsiteX30" fmla="*/ 2947754 w 27542354"/>
                <a:gd name="connsiteY30" fmla="*/ 8001468 h 15035524"/>
                <a:gd name="connsiteX31" fmla="*/ 3499325 w 27542354"/>
                <a:gd name="connsiteY31" fmla="*/ 7558451 h 15035524"/>
                <a:gd name="connsiteX32" fmla="*/ 3680166 w 27542354"/>
                <a:gd name="connsiteY32" fmla="*/ 6681453 h 15035524"/>
                <a:gd name="connsiteX33" fmla="*/ 4186528 w 27542354"/>
                <a:gd name="connsiteY33" fmla="*/ 6690489 h 15035524"/>
                <a:gd name="connsiteX34" fmla="*/ 4837569 w 27542354"/>
                <a:gd name="connsiteY34" fmla="*/ 7160639 h 15035524"/>
                <a:gd name="connsiteX35" fmla="*/ 5352976 w 27542354"/>
                <a:gd name="connsiteY35" fmla="*/ 7079272 h 15035524"/>
                <a:gd name="connsiteX36" fmla="*/ 5741786 w 27542354"/>
                <a:gd name="connsiteY36" fmla="*/ 6708577 h 15035524"/>
                <a:gd name="connsiteX37" fmla="*/ 6157723 w 27542354"/>
                <a:gd name="connsiteY37" fmla="*/ 6545836 h 15035524"/>
                <a:gd name="connsiteX38" fmla="*/ 6745471 w 27542354"/>
                <a:gd name="connsiteY38" fmla="*/ 5976243 h 15035524"/>
                <a:gd name="connsiteX39" fmla="*/ 6890140 w 27542354"/>
                <a:gd name="connsiteY39" fmla="*/ 5126367 h 15035524"/>
                <a:gd name="connsiteX40" fmla="*/ 7568305 w 27542354"/>
                <a:gd name="connsiteY40" fmla="*/ 4556773 h 15035524"/>
                <a:gd name="connsiteX41" fmla="*/ 8137967 w 27542354"/>
                <a:gd name="connsiteY41" fmla="*/ 4113752 h 15035524"/>
                <a:gd name="connsiteX42" fmla="*/ 8463480 w 27542354"/>
                <a:gd name="connsiteY42" fmla="*/ 3309085 h 15035524"/>
                <a:gd name="connsiteX43" fmla="*/ 9024093 w 27542354"/>
                <a:gd name="connsiteY43" fmla="*/ 2956478 h 15035524"/>
                <a:gd name="connsiteX44" fmla="*/ 9675138 w 27542354"/>
                <a:gd name="connsiteY44" fmla="*/ 2603876 h 15035524"/>
                <a:gd name="connsiteX45" fmla="*/ 9558580 w 27542354"/>
                <a:gd name="connsiteY45" fmla="*/ 2055592 h 15035524"/>
                <a:gd name="connsiteX46" fmla="*/ 10353296 w 27542354"/>
                <a:gd name="connsiteY46" fmla="*/ 1383308 h 15035524"/>
                <a:gd name="connsiteX47" fmla="*/ 10832530 w 27542354"/>
                <a:gd name="connsiteY47" fmla="*/ 1310974 h 15035524"/>
                <a:gd name="connsiteX48" fmla="*/ 11058585 w 27542354"/>
                <a:gd name="connsiteY48" fmla="*/ 1763043 h 15035524"/>
                <a:gd name="connsiteX49" fmla="*/ 11411229 w 27542354"/>
                <a:gd name="connsiteY49" fmla="*/ 2142774 h 15035524"/>
                <a:gd name="connsiteX50" fmla="*/ 11998974 w 27542354"/>
                <a:gd name="connsiteY50" fmla="*/ 2224144 h 15035524"/>
                <a:gd name="connsiteX51" fmla="*/ 12315449 w 27542354"/>
                <a:gd name="connsiteY51" fmla="*/ 2884156 h 15035524"/>
                <a:gd name="connsiteX52" fmla="*/ 12785642 w 27542354"/>
                <a:gd name="connsiteY52" fmla="*/ 2703327 h 15035524"/>
                <a:gd name="connsiteX53" fmla="*/ 13671776 w 27542354"/>
                <a:gd name="connsiteY53" fmla="*/ 3155388 h 15035524"/>
                <a:gd name="connsiteX54" fmla="*/ 14123886 w 27542354"/>
                <a:gd name="connsiteY54" fmla="*/ 2857035 h 15035524"/>
                <a:gd name="connsiteX55" fmla="*/ 14259509 w 27542354"/>
                <a:gd name="connsiteY55" fmla="*/ 2287434 h 15035524"/>
                <a:gd name="connsiteX56" fmla="*/ 14892468 w 27542354"/>
                <a:gd name="connsiteY56" fmla="*/ 1645503 h 15035524"/>
                <a:gd name="connsiteX57" fmla="*/ 15778605 w 27542354"/>
                <a:gd name="connsiteY57" fmla="*/ 1093983 h 15035524"/>
                <a:gd name="connsiteX58" fmla="*/ 16022739 w 27542354"/>
                <a:gd name="connsiteY58" fmla="*/ 1564133 h 15035524"/>
                <a:gd name="connsiteX59" fmla="*/ 16556232 w 27542354"/>
                <a:gd name="connsiteY59" fmla="*/ 2142785 h 15035524"/>
                <a:gd name="connsiteX60" fmla="*/ 17406193 w 27542354"/>
                <a:gd name="connsiteY60" fmla="*/ 1292897 h 15035524"/>
                <a:gd name="connsiteX61" fmla="*/ 18120524 w 27542354"/>
                <a:gd name="connsiteY61" fmla="*/ 714260 h 15035524"/>
                <a:gd name="connsiteX62" fmla="*/ 18744437 w 27542354"/>
                <a:gd name="connsiteY62" fmla="*/ -1 h 15035524"/>
                <a:gd name="connsiteX63" fmla="*/ 19982300 w 27542354"/>
                <a:gd name="connsiteY63" fmla="*/ 343465 h 15035524"/>
                <a:gd name="connsiteX64" fmla="*/ 19837609 w 27542354"/>
                <a:gd name="connsiteY64" fmla="*/ 1121173 h 15035524"/>
                <a:gd name="connsiteX65" fmla="*/ 21881359 w 27542354"/>
                <a:gd name="connsiteY65" fmla="*/ 1772279 h 15035524"/>
                <a:gd name="connsiteX66" fmla="*/ 21537712 w 27542354"/>
                <a:gd name="connsiteY66" fmla="*/ 2767023 h 15035524"/>
                <a:gd name="connsiteX67" fmla="*/ 22478203 w 27542354"/>
                <a:gd name="connsiteY67" fmla="*/ 2296774 h 15035524"/>
                <a:gd name="connsiteX68" fmla="*/ 23888932 w 27542354"/>
                <a:gd name="connsiteY68" fmla="*/ 1880797 h 15035524"/>
                <a:gd name="connsiteX69" fmla="*/ 25010275 w 27542354"/>
                <a:gd name="connsiteY69" fmla="*/ 578575 h 15035524"/>
                <a:gd name="connsiteX70" fmla="*/ 26402920 w 27542354"/>
                <a:gd name="connsiteY70" fmla="*/ 759442 h 15035524"/>
                <a:gd name="connsiteX71" fmla="*/ 26554742 w 27542354"/>
                <a:gd name="connsiteY71" fmla="*/ 1935039 h 15035524"/>
                <a:gd name="connsiteX72" fmla="*/ 25751806 w 27542354"/>
                <a:gd name="connsiteY72" fmla="*/ 3689425 h 15035524"/>
                <a:gd name="connsiteX0" fmla="*/ 25751806 w 26619949"/>
                <a:gd name="connsiteY0" fmla="*/ 3689425 h 15035524"/>
                <a:gd name="connsiteX1" fmla="*/ 25950755 w 26619949"/>
                <a:gd name="connsiteY1" fmla="*/ 4828850 h 15035524"/>
                <a:gd name="connsiteX2" fmla="*/ 26439085 w 26619949"/>
                <a:gd name="connsiteY2" fmla="*/ 5986362 h 15035524"/>
                <a:gd name="connsiteX3" fmla="*/ 25824148 w 26619949"/>
                <a:gd name="connsiteY3" fmla="*/ 6709813 h 15035524"/>
                <a:gd name="connsiteX4" fmla="*/ 26619948 w 26619949"/>
                <a:gd name="connsiteY4" fmla="*/ 7722645 h 15035524"/>
                <a:gd name="connsiteX5" fmla="*/ 26312478 w 26619949"/>
                <a:gd name="connsiteY5" fmla="*/ 9549362 h 15035524"/>
                <a:gd name="connsiteX6" fmla="*/ 26402912 w 26619949"/>
                <a:gd name="connsiteY6" fmla="*/ 10526022 h 15035524"/>
                <a:gd name="connsiteX7" fmla="*/ 15805690 w 26619949"/>
                <a:gd name="connsiteY7" fmla="*/ 10431999 h 15035524"/>
                <a:gd name="connsiteX8" fmla="*/ 15195097 w 26619949"/>
                <a:gd name="connsiteY8" fmla="*/ 10093742 h 15035524"/>
                <a:gd name="connsiteX9" fmla="*/ 15011380 w 26619949"/>
                <a:gd name="connsiteY9" fmla="*/ 11048592 h 15035524"/>
                <a:gd name="connsiteX10" fmla="*/ 14908430 w 26619949"/>
                <a:gd name="connsiteY10" fmla="*/ 11937487 h 15035524"/>
                <a:gd name="connsiteX11" fmla="*/ 14904684 w 26619949"/>
                <a:gd name="connsiteY11" fmla="*/ 12760926 h 15035524"/>
                <a:gd name="connsiteX12" fmla="*/ 14929927 w 26619949"/>
                <a:gd name="connsiteY12" fmla="*/ 14391846 h 15035524"/>
                <a:gd name="connsiteX13" fmla="*/ 12952786 w 26619949"/>
                <a:gd name="connsiteY13" fmla="*/ 14842599 h 15035524"/>
                <a:gd name="connsiteX14" fmla="*/ 11934663 w 26619949"/>
                <a:gd name="connsiteY14" fmla="*/ 14890849 h 15035524"/>
                <a:gd name="connsiteX15" fmla="*/ 8506848 w 26619949"/>
                <a:gd name="connsiteY15" fmla="*/ 15035524 h 15035524"/>
                <a:gd name="connsiteX16" fmla="*/ 7985095 w 26619949"/>
                <a:gd name="connsiteY16" fmla="*/ 14390442 h 15035524"/>
                <a:gd name="connsiteX17" fmla="*/ 7400308 w 26619949"/>
                <a:gd name="connsiteY17" fmla="*/ 14360297 h 15035524"/>
                <a:gd name="connsiteX18" fmla="*/ 6972273 w 26619949"/>
                <a:gd name="connsiteY18" fmla="*/ 14631594 h 15035524"/>
                <a:gd name="connsiteX19" fmla="*/ 5181729 w 26619949"/>
                <a:gd name="connsiteY19" fmla="*/ 14547195 h 15035524"/>
                <a:gd name="connsiteX20" fmla="*/ 4397998 w 26619949"/>
                <a:gd name="connsiteY20" fmla="*/ 13914178 h 15035524"/>
                <a:gd name="connsiteX21" fmla="*/ 2908896 w 26619949"/>
                <a:gd name="connsiteY21" fmla="*/ 13106324 h 15035524"/>
                <a:gd name="connsiteX22" fmla="*/ 1263043 w 26619949"/>
                <a:gd name="connsiteY22" fmla="*/ 12394931 h 15035524"/>
                <a:gd name="connsiteX23" fmla="*/ 485320 w 26619949"/>
                <a:gd name="connsiteY23" fmla="*/ 11942774 h 15035524"/>
                <a:gd name="connsiteX24" fmla="*/ 0 w 26619949"/>
                <a:gd name="connsiteY24" fmla="*/ 11649662 h 15035524"/>
                <a:gd name="connsiteX25" fmla="*/ 1003686 w 26619949"/>
                <a:gd name="connsiteY25" fmla="*/ 10903697 h 15035524"/>
                <a:gd name="connsiteX26" fmla="*/ 2902551 w 26619949"/>
                <a:gd name="connsiteY26" fmla="*/ 9719298 h 15035524"/>
                <a:gd name="connsiteX27" fmla="*/ 2558940 w 26619949"/>
                <a:gd name="connsiteY27" fmla="*/ 9185867 h 15035524"/>
                <a:gd name="connsiteX28" fmla="*/ 2402508 w 26619949"/>
                <a:gd name="connsiteY28" fmla="*/ 8498784 h 15035524"/>
                <a:gd name="connsiteX29" fmla="*/ 2730740 w 26619949"/>
                <a:gd name="connsiteY29" fmla="*/ 8471613 h 15035524"/>
                <a:gd name="connsiteX30" fmla="*/ 2947754 w 26619949"/>
                <a:gd name="connsiteY30" fmla="*/ 8001468 h 15035524"/>
                <a:gd name="connsiteX31" fmla="*/ 3499325 w 26619949"/>
                <a:gd name="connsiteY31" fmla="*/ 7558451 h 15035524"/>
                <a:gd name="connsiteX32" fmla="*/ 3680166 w 26619949"/>
                <a:gd name="connsiteY32" fmla="*/ 6681453 h 15035524"/>
                <a:gd name="connsiteX33" fmla="*/ 4186528 w 26619949"/>
                <a:gd name="connsiteY33" fmla="*/ 6690489 h 15035524"/>
                <a:gd name="connsiteX34" fmla="*/ 4837569 w 26619949"/>
                <a:gd name="connsiteY34" fmla="*/ 7160639 h 15035524"/>
                <a:gd name="connsiteX35" fmla="*/ 5352976 w 26619949"/>
                <a:gd name="connsiteY35" fmla="*/ 7079272 h 15035524"/>
                <a:gd name="connsiteX36" fmla="*/ 5741786 w 26619949"/>
                <a:gd name="connsiteY36" fmla="*/ 6708577 h 15035524"/>
                <a:gd name="connsiteX37" fmla="*/ 6157723 w 26619949"/>
                <a:gd name="connsiteY37" fmla="*/ 6545836 h 15035524"/>
                <a:gd name="connsiteX38" fmla="*/ 6745471 w 26619949"/>
                <a:gd name="connsiteY38" fmla="*/ 5976243 h 15035524"/>
                <a:gd name="connsiteX39" fmla="*/ 6890140 w 26619949"/>
                <a:gd name="connsiteY39" fmla="*/ 5126367 h 15035524"/>
                <a:gd name="connsiteX40" fmla="*/ 7568305 w 26619949"/>
                <a:gd name="connsiteY40" fmla="*/ 4556773 h 15035524"/>
                <a:gd name="connsiteX41" fmla="*/ 8137967 w 26619949"/>
                <a:gd name="connsiteY41" fmla="*/ 4113752 h 15035524"/>
                <a:gd name="connsiteX42" fmla="*/ 8463480 w 26619949"/>
                <a:gd name="connsiteY42" fmla="*/ 3309085 h 15035524"/>
                <a:gd name="connsiteX43" fmla="*/ 9024093 w 26619949"/>
                <a:gd name="connsiteY43" fmla="*/ 2956478 h 15035524"/>
                <a:gd name="connsiteX44" fmla="*/ 9675138 w 26619949"/>
                <a:gd name="connsiteY44" fmla="*/ 2603876 h 15035524"/>
                <a:gd name="connsiteX45" fmla="*/ 9558580 w 26619949"/>
                <a:gd name="connsiteY45" fmla="*/ 2055592 h 15035524"/>
                <a:gd name="connsiteX46" fmla="*/ 10353296 w 26619949"/>
                <a:gd name="connsiteY46" fmla="*/ 1383308 h 15035524"/>
                <a:gd name="connsiteX47" fmla="*/ 10832530 w 26619949"/>
                <a:gd name="connsiteY47" fmla="*/ 1310974 h 15035524"/>
                <a:gd name="connsiteX48" fmla="*/ 11058585 w 26619949"/>
                <a:gd name="connsiteY48" fmla="*/ 1763043 h 15035524"/>
                <a:gd name="connsiteX49" fmla="*/ 11411229 w 26619949"/>
                <a:gd name="connsiteY49" fmla="*/ 2142774 h 15035524"/>
                <a:gd name="connsiteX50" fmla="*/ 11998974 w 26619949"/>
                <a:gd name="connsiteY50" fmla="*/ 2224144 h 15035524"/>
                <a:gd name="connsiteX51" fmla="*/ 12315449 w 26619949"/>
                <a:gd name="connsiteY51" fmla="*/ 2884156 h 15035524"/>
                <a:gd name="connsiteX52" fmla="*/ 12785642 w 26619949"/>
                <a:gd name="connsiteY52" fmla="*/ 2703327 h 15035524"/>
                <a:gd name="connsiteX53" fmla="*/ 13671776 w 26619949"/>
                <a:gd name="connsiteY53" fmla="*/ 3155388 h 15035524"/>
                <a:gd name="connsiteX54" fmla="*/ 14123886 w 26619949"/>
                <a:gd name="connsiteY54" fmla="*/ 2857035 h 15035524"/>
                <a:gd name="connsiteX55" fmla="*/ 14259509 w 26619949"/>
                <a:gd name="connsiteY55" fmla="*/ 2287434 h 15035524"/>
                <a:gd name="connsiteX56" fmla="*/ 14892468 w 26619949"/>
                <a:gd name="connsiteY56" fmla="*/ 1645503 h 15035524"/>
                <a:gd name="connsiteX57" fmla="*/ 15778605 w 26619949"/>
                <a:gd name="connsiteY57" fmla="*/ 1093983 h 15035524"/>
                <a:gd name="connsiteX58" fmla="*/ 16022739 w 26619949"/>
                <a:gd name="connsiteY58" fmla="*/ 1564133 h 15035524"/>
                <a:gd name="connsiteX59" fmla="*/ 16556232 w 26619949"/>
                <a:gd name="connsiteY59" fmla="*/ 2142785 h 15035524"/>
                <a:gd name="connsiteX60" fmla="*/ 17406193 w 26619949"/>
                <a:gd name="connsiteY60" fmla="*/ 1292897 h 15035524"/>
                <a:gd name="connsiteX61" fmla="*/ 18120524 w 26619949"/>
                <a:gd name="connsiteY61" fmla="*/ 714260 h 15035524"/>
                <a:gd name="connsiteX62" fmla="*/ 18744437 w 26619949"/>
                <a:gd name="connsiteY62" fmla="*/ -1 h 15035524"/>
                <a:gd name="connsiteX63" fmla="*/ 19982300 w 26619949"/>
                <a:gd name="connsiteY63" fmla="*/ 343465 h 15035524"/>
                <a:gd name="connsiteX64" fmla="*/ 19837609 w 26619949"/>
                <a:gd name="connsiteY64" fmla="*/ 1121173 h 15035524"/>
                <a:gd name="connsiteX65" fmla="*/ 21881359 w 26619949"/>
                <a:gd name="connsiteY65" fmla="*/ 1772279 h 15035524"/>
                <a:gd name="connsiteX66" fmla="*/ 21537712 w 26619949"/>
                <a:gd name="connsiteY66" fmla="*/ 2767023 h 15035524"/>
                <a:gd name="connsiteX67" fmla="*/ 22478203 w 26619949"/>
                <a:gd name="connsiteY67" fmla="*/ 2296774 h 15035524"/>
                <a:gd name="connsiteX68" fmla="*/ 23888932 w 26619949"/>
                <a:gd name="connsiteY68" fmla="*/ 1880797 h 15035524"/>
                <a:gd name="connsiteX69" fmla="*/ 25010275 w 26619949"/>
                <a:gd name="connsiteY69" fmla="*/ 578575 h 15035524"/>
                <a:gd name="connsiteX70" fmla="*/ 26402920 w 26619949"/>
                <a:gd name="connsiteY70" fmla="*/ 759442 h 15035524"/>
                <a:gd name="connsiteX71" fmla="*/ 26554742 w 26619949"/>
                <a:gd name="connsiteY71" fmla="*/ 1935039 h 15035524"/>
                <a:gd name="connsiteX72" fmla="*/ 25751806 w 26619949"/>
                <a:gd name="connsiteY72" fmla="*/ 3689425 h 15035524"/>
                <a:gd name="connsiteX0" fmla="*/ 25751806 w 26619949"/>
                <a:gd name="connsiteY0" fmla="*/ 3689425 h 15035524"/>
                <a:gd name="connsiteX1" fmla="*/ 25950755 w 26619949"/>
                <a:gd name="connsiteY1" fmla="*/ 4828850 h 15035524"/>
                <a:gd name="connsiteX2" fmla="*/ 26439085 w 26619949"/>
                <a:gd name="connsiteY2" fmla="*/ 5986362 h 15035524"/>
                <a:gd name="connsiteX3" fmla="*/ 25824148 w 26619949"/>
                <a:gd name="connsiteY3" fmla="*/ 6709813 h 15035524"/>
                <a:gd name="connsiteX4" fmla="*/ 26619948 w 26619949"/>
                <a:gd name="connsiteY4" fmla="*/ 7722645 h 15035524"/>
                <a:gd name="connsiteX5" fmla="*/ 26312478 w 26619949"/>
                <a:gd name="connsiteY5" fmla="*/ 9549362 h 15035524"/>
                <a:gd name="connsiteX6" fmla="*/ 14862794 w 26619949"/>
                <a:gd name="connsiteY6" fmla="*/ 7108798 h 15035524"/>
                <a:gd name="connsiteX7" fmla="*/ 15805690 w 26619949"/>
                <a:gd name="connsiteY7" fmla="*/ 10431999 h 15035524"/>
                <a:gd name="connsiteX8" fmla="*/ 15195097 w 26619949"/>
                <a:gd name="connsiteY8" fmla="*/ 10093742 h 15035524"/>
                <a:gd name="connsiteX9" fmla="*/ 15011380 w 26619949"/>
                <a:gd name="connsiteY9" fmla="*/ 11048592 h 15035524"/>
                <a:gd name="connsiteX10" fmla="*/ 14908430 w 26619949"/>
                <a:gd name="connsiteY10" fmla="*/ 11937487 h 15035524"/>
                <a:gd name="connsiteX11" fmla="*/ 14904684 w 26619949"/>
                <a:gd name="connsiteY11" fmla="*/ 12760926 h 15035524"/>
                <a:gd name="connsiteX12" fmla="*/ 14929927 w 26619949"/>
                <a:gd name="connsiteY12" fmla="*/ 14391846 h 15035524"/>
                <a:gd name="connsiteX13" fmla="*/ 12952786 w 26619949"/>
                <a:gd name="connsiteY13" fmla="*/ 14842599 h 15035524"/>
                <a:gd name="connsiteX14" fmla="*/ 11934663 w 26619949"/>
                <a:gd name="connsiteY14" fmla="*/ 14890849 h 15035524"/>
                <a:gd name="connsiteX15" fmla="*/ 8506848 w 26619949"/>
                <a:gd name="connsiteY15" fmla="*/ 15035524 h 15035524"/>
                <a:gd name="connsiteX16" fmla="*/ 7985095 w 26619949"/>
                <a:gd name="connsiteY16" fmla="*/ 14390442 h 15035524"/>
                <a:gd name="connsiteX17" fmla="*/ 7400308 w 26619949"/>
                <a:gd name="connsiteY17" fmla="*/ 14360297 h 15035524"/>
                <a:gd name="connsiteX18" fmla="*/ 6972273 w 26619949"/>
                <a:gd name="connsiteY18" fmla="*/ 14631594 h 15035524"/>
                <a:gd name="connsiteX19" fmla="*/ 5181729 w 26619949"/>
                <a:gd name="connsiteY19" fmla="*/ 14547195 h 15035524"/>
                <a:gd name="connsiteX20" fmla="*/ 4397998 w 26619949"/>
                <a:gd name="connsiteY20" fmla="*/ 13914178 h 15035524"/>
                <a:gd name="connsiteX21" fmla="*/ 2908896 w 26619949"/>
                <a:gd name="connsiteY21" fmla="*/ 13106324 h 15035524"/>
                <a:gd name="connsiteX22" fmla="*/ 1263043 w 26619949"/>
                <a:gd name="connsiteY22" fmla="*/ 12394931 h 15035524"/>
                <a:gd name="connsiteX23" fmla="*/ 485320 w 26619949"/>
                <a:gd name="connsiteY23" fmla="*/ 11942774 h 15035524"/>
                <a:gd name="connsiteX24" fmla="*/ 0 w 26619949"/>
                <a:gd name="connsiteY24" fmla="*/ 11649662 h 15035524"/>
                <a:gd name="connsiteX25" fmla="*/ 1003686 w 26619949"/>
                <a:gd name="connsiteY25" fmla="*/ 10903697 h 15035524"/>
                <a:gd name="connsiteX26" fmla="*/ 2902551 w 26619949"/>
                <a:gd name="connsiteY26" fmla="*/ 9719298 h 15035524"/>
                <a:gd name="connsiteX27" fmla="*/ 2558940 w 26619949"/>
                <a:gd name="connsiteY27" fmla="*/ 9185867 h 15035524"/>
                <a:gd name="connsiteX28" fmla="*/ 2402508 w 26619949"/>
                <a:gd name="connsiteY28" fmla="*/ 8498784 h 15035524"/>
                <a:gd name="connsiteX29" fmla="*/ 2730740 w 26619949"/>
                <a:gd name="connsiteY29" fmla="*/ 8471613 h 15035524"/>
                <a:gd name="connsiteX30" fmla="*/ 2947754 w 26619949"/>
                <a:gd name="connsiteY30" fmla="*/ 8001468 h 15035524"/>
                <a:gd name="connsiteX31" fmla="*/ 3499325 w 26619949"/>
                <a:gd name="connsiteY31" fmla="*/ 7558451 h 15035524"/>
                <a:gd name="connsiteX32" fmla="*/ 3680166 w 26619949"/>
                <a:gd name="connsiteY32" fmla="*/ 6681453 h 15035524"/>
                <a:gd name="connsiteX33" fmla="*/ 4186528 w 26619949"/>
                <a:gd name="connsiteY33" fmla="*/ 6690489 h 15035524"/>
                <a:gd name="connsiteX34" fmla="*/ 4837569 w 26619949"/>
                <a:gd name="connsiteY34" fmla="*/ 7160639 h 15035524"/>
                <a:gd name="connsiteX35" fmla="*/ 5352976 w 26619949"/>
                <a:gd name="connsiteY35" fmla="*/ 7079272 h 15035524"/>
                <a:gd name="connsiteX36" fmla="*/ 5741786 w 26619949"/>
                <a:gd name="connsiteY36" fmla="*/ 6708577 h 15035524"/>
                <a:gd name="connsiteX37" fmla="*/ 6157723 w 26619949"/>
                <a:gd name="connsiteY37" fmla="*/ 6545836 h 15035524"/>
                <a:gd name="connsiteX38" fmla="*/ 6745471 w 26619949"/>
                <a:gd name="connsiteY38" fmla="*/ 5976243 h 15035524"/>
                <a:gd name="connsiteX39" fmla="*/ 6890140 w 26619949"/>
                <a:gd name="connsiteY39" fmla="*/ 5126367 h 15035524"/>
                <a:gd name="connsiteX40" fmla="*/ 7568305 w 26619949"/>
                <a:gd name="connsiteY40" fmla="*/ 4556773 h 15035524"/>
                <a:gd name="connsiteX41" fmla="*/ 8137967 w 26619949"/>
                <a:gd name="connsiteY41" fmla="*/ 4113752 h 15035524"/>
                <a:gd name="connsiteX42" fmla="*/ 8463480 w 26619949"/>
                <a:gd name="connsiteY42" fmla="*/ 3309085 h 15035524"/>
                <a:gd name="connsiteX43" fmla="*/ 9024093 w 26619949"/>
                <a:gd name="connsiteY43" fmla="*/ 2956478 h 15035524"/>
                <a:gd name="connsiteX44" fmla="*/ 9675138 w 26619949"/>
                <a:gd name="connsiteY44" fmla="*/ 2603876 h 15035524"/>
                <a:gd name="connsiteX45" fmla="*/ 9558580 w 26619949"/>
                <a:gd name="connsiteY45" fmla="*/ 2055592 h 15035524"/>
                <a:gd name="connsiteX46" fmla="*/ 10353296 w 26619949"/>
                <a:gd name="connsiteY46" fmla="*/ 1383308 h 15035524"/>
                <a:gd name="connsiteX47" fmla="*/ 10832530 w 26619949"/>
                <a:gd name="connsiteY47" fmla="*/ 1310974 h 15035524"/>
                <a:gd name="connsiteX48" fmla="*/ 11058585 w 26619949"/>
                <a:gd name="connsiteY48" fmla="*/ 1763043 h 15035524"/>
                <a:gd name="connsiteX49" fmla="*/ 11411229 w 26619949"/>
                <a:gd name="connsiteY49" fmla="*/ 2142774 h 15035524"/>
                <a:gd name="connsiteX50" fmla="*/ 11998974 w 26619949"/>
                <a:gd name="connsiteY50" fmla="*/ 2224144 h 15035524"/>
                <a:gd name="connsiteX51" fmla="*/ 12315449 w 26619949"/>
                <a:gd name="connsiteY51" fmla="*/ 2884156 h 15035524"/>
                <a:gd name="connsiteX52" fmla="*/ 12785642 w 26619949"/>
                <a:gd name="connsiteY52" fmla="*/ 2703327 h 15035524"/>
                <a:gd name="connsiteX53" fmla="*/ 13671776 w 26619949"/>
                <a:gd name="connsiteY53" fmla="*/ 3155388 h 15035524"/>
                <a:gd name="connsiteX54" fmla="*/ 14123886 w 26619949"/>
                <a:gd name="connsiteY54" fmla="*/ 2857035 h 15035524"/>
                <a:gd name="connsiteX55" fmla="*/ 14259509 w 26619949"/>
                <a:gd name="connsiteY55" fmla="*/ 2287434 h 15035524"/>
                <a:gd name="connsiteX56" fmla="*/ 14892468 w 26619949"/>
                <a:gd name="connsiteY56" fmla="*/ 1645503 h 15035524"/>
                <a:gd name="connsiteX57" fmla="*/ 15778605 w 26619949"/>
                <a:gd name="connsiteY57" fmla="*/ 1093983 h 15035524"/>
                <a:gd name="connsiteX58" fmla="*/ 16022739 w 26619949"/>
                <a:gd name="connsiteY58" fmla="*/ 1564133 h 15035524"/>
                <a:gd name="connsiteX59" fmla="*/ 16556232 w 26619949"/>
                <a:gd name="connsiteY59" fmla="*/ 2142785 h 15035524"/>
                <a:gd name="connsiteX60" fmla="*/ 17406193 w 26619949"/>
                <a:gd name="connsiteY60" fmla="*/ 1292897 h 15035524"/>
                <a:gd name="connsiteX61" fmla="*/ 18120524 w 26619949"/>
                <a:gd name="connsiteY61" fmla="*/ 714260 h 15035524"/>
                <a:gd name="connsiteX62" fmla="*/ 18744437 w 26619949"/>
                <a:gd name="connsiteY62" fmla="*/ -1 h 15035524"/>
                <a:gd name="connsiteX63" fmla="*/ 19982300 w 26619949"/>
                <a:gd name="connsiteY63" fmla="*/ 343465 h 15035524"/>
                <a:gd name="connsiteX64" fmla="*/ 19837609 w 26619949"/>
                <a:gd name="connsiteY64" fmla="*/ 1121173 h 15035524"/>
                <a:gd name="connsiteX65" fmla="*/ 21881359 w 26619949"/>
                <a:gd name="connsiteY65" fmla="*/ 1772279 h 15035524"/>
                <a:gd name="connsiteX66" fmla="*/ 21537712 w 26619949"/>
                <a:gd name="connsiteY66" fmla="*/ 2767023 h 15035524"/>
                <a:gd name="connsiteX67" fmla="*/ 22478203 w 26619949"/>
                <a:gd name="connsiteY67" fmla="*/ 2296774 h 15035524"/>
                <a:gd name="connsiteX68" fmla="*/ 23888932 w 26619949"/>
                <a:gd name="connsiteY68" fmla="*/ 1880797 h 15035524"/>
                <a:gd name="connsiteX69" fmla="*/ 25010275 w 26619949"/>
                <a:gd name="connsiteY69" fmla="*/ 578575 h 15035524"/>
                <a:gd name="connsiteX70" fmla="*/ 26402920 w 26619949"/>
                <a:gd name="connsiteY70" fmla="*/ 759442 h 15035524"/>
                <a:gd name="connsiteX71" fmla="*/ 26554742 w 26619949"/>
                <a:gd name="connsiteY71" fmla="*/ 1935039 h 15035524"/>
                <a:gd name="connsiteX72" fmla="*/ 25751806 w 26619949"/>
                <a:gd name="connsiteY72" fmla="*/ 3689425 h 15035524"/>
                <a:gd name="connsiteX0" fmla="*/ 25751806 w 26619949"/>
                <a:gd name="connsiteY0" fmla="*/ 3689425 h 15035524"/>
                <a:gd name="connsiteX1" fmla="*/ 25950755 w 26619949"/>
                <a:gd name="connsiteY1" fmla="*/ 4828850 h 15035524"/>
                <a:gd name="connsiteX2" fmla="*/ 26439085 w 26619949"/>
                <a:gd name="connsiteY2" fmla="*/ 5986362 h 15035524"/>
                <a:gd name="connsiteX3" fmla="*/ 25824148 w 26619949"/>
                <a:gd name="connsiteY3" fmla="*/ 6709813 h 15035524"/>
                <a:gd name="connsiteX4" fmla="*/ 26619948 w 26619949"/>
                <a:gd name="connsiteY4" fmla="*/ 7722645 h 15035524"/>
                <a:gd name="connsiteX5" fmla="*/ 26312478 w 26619949"/>
                <a:gd name="connsiteY5" fmla="*/ 9549362 h 15035524"/>
                <a:gd name="connsiteX6" fmla="*/ 16070155 w 26619949"/>
                <a:gd name="connsiteY6" fmla="*/ 9937808 h 15035524"/>
                <a:gd name="connsiteX7" fmla="*/ 15805690 w 26619949"/>
                <a:gd name="connsiteY7" fmla="*/ 10431999 h 15035524"/>
                <a:gd name="connsiteX8" fmla="*/ 15195097 w 26619949"/>
                <a:gd name="connsiteY8" fmla="*/ 10093742 h 15035524"/>
                <a:gd name="connsiteX9" fmla="*/ 15011380 w 26619949"/>
                <a:gd name="connsiteY9" fmla="*/ 11048592 h 15035524"/>
                <a:gd name="connsiteX10" fmla="*/ 14908430 w 26619949"/>
                <a:gd name="connsiteY10" fmla="*/ 11937487 h 15035524"/>
                <a:gd name="connsiteX11" fmla="*/ 14904684 w 26619949"/>
                <a:gd name="connsiteY11" fmla="*/ 12760926 h 15035524"/>
                <a:gd name="connsiteX12" fmla="*/ 14929927 w 26619949"/>
                <a:gd name="connsiteY12" fmla="*/ 14391846 h 15035524"/>
                <a:gd name="connsiteX13" fmla="*/ 12952786 w 26619949"/>
                <a:gd name="connsiteY13" fmla="*/ 14842599 h 15035524"/>
                <a:gd name="connsiteX14" fmla="*/ 11934663 w 26619949"/>
                <a:gd name="connsiteY14" fmla="*/ 14890849 h 15035524"/>
                <a:gd name="connsiteX15" fmla="*/ 8506848 w 26619949"/>
                <a:gd name="connsiteY15" fmla="*/ 15035524 h 15035524"/>
                <a:gd name="connsiteX16" fmla="*/ 7985095 w 26619949"/>
                <a:gd name="connsiteY16" fmla="*/ 14390442 h 15035524"/>
                <a:gd name="connsiteX17" fmla="*/ 7400308 w 26619949"/>
                <a:gd name="connsiteY17" fmla="*/ 14360297 h 15035524"/>
                <a:gd name="connsiteX18" fmla="*/ 6972273 w 26619949"/>
                <a:gd name="connsiteY18" fmla="*/ 14631594 h 15035524"/>
                <a:gd name="connsiteX19" fmla="*/ 5181729 w 26619949"/>
                <a:gd name="connsiteY19" fmla="*/ 14547195 h 15035524"/>
                <a:gd name="connsiteX20" fmla="*/ 4397998 w 26619949"/>
                <a:gd name="connsiteY20" fmla="*/ 13914178 h 15035524"/>
                <a:gd name="connsiteX21" fmla="*/ 2908896 w 26619949"/>
                <a:gd name="connsiteY21" fmla="*/ 13106324 h 15035524"/>
                <a:gd name="connsiteX22" fmla="*/ 1263043 w 26619949"/>
                <a:gd name="connsiteY22" fmla="*/ 12394931 h 15035524"/>
                <a:gd name="connsiteX23" fmla="*/ 485320 w 26619949"/>
                <a:gd name="connsiteY23" fmla="*/ 11942774 h 15035524"/>
                <a:gd name="connsiteX24" fmla="*/ 0 w 26619949"/>
                <a:gd name="connsiteY24" fmla="*/ 11649662 h 15035524"/>
                <a:gd name="connsiteX25" fmla="*/ 1003686 w 26619949"/>
                <a:gd name="connsiteY25" fmla="*/ 10903697 h 15035524"/>
                <a:gd name="connsiteX26" fmla="*/ 2902551 w 26619949"/>
                <a:gd name="connsiteY26" fmla="*/ 9719298 h 15035524"/>
                <a:gd name="connsiteX27" fmla="*/ 2558940 w 26619949"/>
                <a:gd name="connsiteY27" fmla="*/ 9185867 h 15035524"/>
                <a:gd name="connsiteX28" fmla="*/ 2402508 w 26619949"/>
                <a:gd name="connsiteY28" fmla="*/ 8498784 h 15035524"/>
                <a:gd name="connsiteX29" fmla="*/ 2730740 w 26619949"/>
                <a:gd name="connsiteY29" fmla="*/ 8471613 h 15035524"/>
                <a:gd name="connsiteX30" fmla="*/ 2947754 w 26619949"/>
                <a:gd name="connsiteY30" fmla="*/ 8001468 h 15035524"/>
                <a:gd name="connsiteX31" fmla="*/ 3499325 w 26619949"/>
                <a:gd name="connsiteY31" fmla="*/ 7558451 h 15035524"/>
                <a:gd name="connsiteX32" fmla="*/ 3680166 w 26619949"/>
                <a:gd name="connsiteY32" fmla="*/ 6681453 h 15035524"/>
                <a:gd name="connsiteX33" fmla="*/ 4186528 w 26619949"/>
                <a:gd name="connsiteY33" fmla="*/ 6690489 h 15035524"/>
                <a:gd name="connsiteX34" fmla="*/ 4837569 w 26619949"/>
                <a:gd name="connsiteY34" fmla="*/ 7160639 h 15035524"/>
                <a:gd name="connsiteX35" fmla="*/ 5352976 w 26619949"/>
                <a:gd name="connsiteY35" fmla="*/ 7079272 h 15035524"/>
                <a:gd name="connsiteX36" fmla="*/ 5741786 w 26619949"/>
                <a:gd name="connsiteY36" fmla="*/ 6708577 h 15035524"/>
                <a:gd name="connsiteX37" fmla="*/ 6157723 w 26619949"/>
                <a:gd name="connsiteY37" fmla="*/ 6545836 h 15035524"/>
                <a:gd name="connsiteX38" fmla="*/ 6745471 w 26619949"/>
                <a:gd name="connsiteY38" fmla="*/ 5976243 h 15035524"/>
                <a:gd name="connsiteX39" fmla="*/ 6890140 w 26619949"/>
                <a:gd name="connsiteY39" fmla="*/ 5126367 h 15035524"/>
                <a:gd name="connsiteX40" fmla="*/ 7568305 w 26619949"/>
                <a:gd name="connsiteY40" fmla="*/ 4556773 h 15035524"/>
                <a:gd name="connsiteX41" fmla="*/ 8137967 w 26619949"/>
                <a:gd name="connsiteY41" fmla="*/ 4113752 h 15035524"/>
                <a:gd name="connsiteX42" fmla="*/ 8463480 w 26619949"/>
                <a:gd name="connsiteY42" fmla="*/ 3309085 h 15035524"/>
                <a:gd name="connsiteX43" fmla="*/ 9024093 w 26619949"/>
                <a:gd name="connsiteY43" fmla="*/ 2956478 h 15035524"/>
                <a:gd name="connsiteX44" fmla="*/ 9675138 w 26619949"/>
                <a:gd name="connsiteY44" fmla="*/ 2603876 h 15035524"/>
                <a:gd name="connsiteX45" fmla="*/ 9558580 w 26619949"/>
                <a:gd name="connsiteY45" fmla="*/ 2055592 h 15035524"/>
                <a:gd name="connsiteX46" fmla="*/ 10353296 w 26619949"/>
                <a:gd name="connsiteY46" fmla="*/ 1383308 h 15035524"/>
                <a:gd name="connsiteX47" fmla="*/ 10832530 w 26619949"/>
                <a:gd name="connsiteY47" fmla="*/ 1310974 h 15035524"/>
                <a:gd name="connsiteX48" fmla="*/ 11058585 w 26619949"/>
                <a:gd name="connsiteY48" fmla="*/ 1763043 h 15035524"/>
                <a:gd name="connsiteX49" fmla="*/ 11411229 w 26619949"/>
                <a:gd name="connsiteY49" fmla="*/ 2142774 h 15035524"/>
                <a:gd name="connsiteX50" fmla="*/ 11998974 w 26619949"/>
                <a:gd name="connsiteY50" fmla="*/ 2224144 h 15035524"/>
                <a:gd name="connsiteX51" fmla="*/ 12315449 w 26619949"/>
                <a:gd name="connsiteY51" fmla="*/ 2884156 h 15035524"/>
                <a:gd name="connsiteX52" fmla="*/ 12785642 w 26619949"/>
                <a:gd name="connsiteY52" fmla="*/ 2703327 h 15035524"/>
                <a:gd name="connsiteX53" fmla="*/ 13671776 w 26619949"/>
                <a:gd name="connsiteY53" fmla="*/ 3155388 h 15035524"/>
                <a:gd name="connsiteX54" fmla="*/ 14123886 w 26619949"/>
                <a:gd name="connsiteY54" fmla="*/ 2857035 h 15035524"/>
                <a:gd name="connsiteX55" fmla="*/ 14259509 w 26619949"/>
                <a:gd name="connsiteY55" fmla="*/ 2287434 h 15035524"/>
                <a:gd name="connsiteX56" fmla="*/ 14892468 w 26619949"/>
                <a:gd name="connsiteY56" fmla="*/ 1645503 h 15035524"/>
                <a:gd name="connsiteX57" fmla="*/ 15778605 w 26619949"/>
                <a:gd name="connsiteY57" fmla="*/ 1093983 h 15035524"/>
                <a:gd name="connsiteX58" fmla="*/ 16022739 w 26619949"/>
                <a:gd name="connsiteY58" fmla="*/ 1564133 h 15035524"/>
                <a:gd name="connsiteX59" fmla="*/ 16556232 w 26619949"/>
                <a:gd name="connsiteY59" fmla="*/ 2142785 h 15035524"/>
                <a:gd name="connsiteX60" fmla="*/ 17406193 w 26619949"/>
                <a:gd name="connsiteY60" fmla="*/ 1292897 h 15035524"/>
                <a:gd name="connsiteX61" fmla="*/ 18120524 w 26619949"/>
                <a:gd name="connsiteY61" fmla="*/ 714260 h 15035524"/>
                <a:gd name="connsiteX62" fmla="*/ 18744437 w 26619949"/>
                <a:gd name="connsiteY62" fmla="*/ -1 h 15035524"/>
                <a:gd name="connsiteX63" fmla="*/ 19982300 w 26619949"/>
                <a:gd name="connsiteY63" fmla="*/ 343465 h 15035524"/>
                <a:gd name="connsiteX64" fmla="*/ 19837609 w 26619949"/>
                <a:gd name="connsiteY64" fmla="*/ 1121173 h 15035524"/>
                <a:gd name="connsiteX65" fmla="*/ 21881359 w 26619949"/>
                <a:gd name="connsiteY65" fmla="*/ 1772279 h 15035524"/>
                <a:gd name="connsiteX66" fmla="*/ 21537712 w 26619949"/>
                <a:gd name="connsiteY66" fmla="*/ 2767023 h 15035524"/>
                <a:gd name="connsiteX67" fmla="*/ 22478203 w 26619949"/>
                <a:gd name="connsiteY67" fmla="*/ 2296774 h 15035524"/>
                <a:gd name="connsiteX68" fmla="*/ 23888932 w 26619949"/>
                <a:gd name="connsiteY68" fmla="*/ 1880797 h 15035524"/>
                <a:gd name="connsiteX69" fmla="*/ 25010275 w 26619949"/>
                <a:gd name="connsiteY69" fmla="*/ 578575 h 15035524"/>
                <a:gd name="connsiteX70" fmla="*/ 26402920 w 26619949"/>
                <a:gd name="connsiteY70" fmla="*/ 759442 h 15035524"/>
                <a:gd name="connsiteX71" fmla="*/ 26554742 w 26619949"/>
                <a:gd name="connsiteY71" fmla="*/ 1935039 h 15035524"/>
                <a:gd name="connsiteX72" fmla="*/ 25751806 w 26619949"/>
                <a:gd name="connsiteY72" fmla="*/ 3689425 h 15035524"/>
                <a:gd name="connsiteX0" fmla="*/ 25751806 w 26619949"/>
                <a:gd name="connsiteY0" fmla="*/ 3689425 h 15035524"/>
                <a:gd name="connsiteX1" fmla="*/ 25950755 w 26619949"/>
                <a:gd name="connsiteY1" fmla="*/ 4828850 h 15035524"/>
                <a:gd name="connsiteX2" fmla="*/ 26439085 w 26619949"/>
                <a:gd name="connsiteY2" fmla="*/ 5986362 h 15035524"/>
                <a:gd name="connsiteX3" fmla="*/ 25824148 w 26619949"/>
                <a:gd name="connsiteY3" fmla="*/ 6709813 h 15035524"/>
                <a:gd name="connsiteX4" fmla="*/ 26619948 w 26619949"/>
                <a:gd name="connsiteY4" fmla="*/ 7722645 h 15035524"/>
                <a:gd name="connsiteX5" fmla="*/ 15193523 w 26619949"/>
                <a:gd name="connsiteY5" fmla="*/ 6720348 h 15035524"/>
                <a:gd name="connsiteX6" fmla="*/ 16070155 w 26619949"/>
                <a:gd name="connsiteY6" fmla="*/ 9937808 h 15035524"/>
                <a:gd name="connsiteX7" fmla="*/ 15805690 w 26619949"/>
                <a:gd name="connsiteY7" fmla="*/ 10431999 h 15035524"/>
                <a:gd name="connsiteX8" fmla="*/ 15195097 w 26619949"/>
                <a:gd name="connsiteY8" fmla="*/ 10093742 h 15035524"/>
                <a:gd name="connsiteX9" fmla="*/ 15011380 w 26619949"/>
                <a:gd name="connsiteY9" fmla="*/ 11048592 h 15035524"/>
                <a:gd name="connsiteX10" fmla="*/ 14908430 w 26619949"/>
                <a:gd name="connsiteY10" fmla="*/ 11937487 h 15035524"/>
                <a:gd name="connsiteX11" fmla="*/ 14904684 w 26619949"/>
                <a:gd name="connsiteY11" fmla="*/ 12760926 h 15035524"/>
                <a:gd name="connsiteX12" fmla="*/ 14929927 w 26619949"/>
                <a:gd name="connsiteY12" fmla="*/ 14391846 h 15035524"/>
                <a:gd name="connsiteX13" fmla="*/ 12952786 w 26619949"/>
                <a:gd name="connsiteY13" fmla="*/ 14842599 h 15035524"/>
                <a:gd name="connsiteX14" fmla="*/ 11934663 w 26619949"/>
                <a:gd name="connsiteY14" fmla="*/ 14890849 h 15035524"/>
                <a:gd name="connsiteX15" fmla="*/ 8506848 w 26619949"/>
                <a:gd name="connsiteY15" fmla="*/ 15035524 h 15035524"/>
                <a:gd name="connsiteX16" fmla="*/ 7985095 w 26619949"/>
                <a:gd name="connsiteY16" fmla="*/ 14390442 h 15035524"/>
                <a:gd name="connsiteX17" fmla="*/ 7400308 w 26619949"/>
                <a:gd name="connsiteY17" fmla="*/ 14360297 h 15035524"/>
                <a:gd name="connsiteX18" fmla="*/ 6972273 w 26619949"/>
                <a:gd name="connsiteY18" fmla="*/ 14631594 h 15035524"/>
                <a:gd name="connsiteX19" fmla="*/ 5181729 w 26619949"/>
                <a:gd name="connsiteY19" fmla="*/ 14547195 h 15035524"/>
                <a:gd name="connsiteX20" fmla="*/ 4397998 w 26619949"/>
                <a:gd name="connsiteY20" fmla="*/ 13914178 h 15035524"/>
                <a:gd name="connsiteX21" fmla="*/ 2908896 w 26619949"/>
                <a:gd name="connsiteY21" fmla="*/ 13106324 h 15035524"/>
                <a:gd name="connsiteX22" fmla="*/ 1263043 w 26619949"/>
                <a:gd name="connsiteY22" fmla="*/ 12394931 h 15035524"/>
                <a:gd name="connsiteX23" fmla="*/ 485320 w 26619949"/>
                <a:gd name="connsiteY23" fmla="*/ 11942774 h 15035524"/>
                <a:gd name="connsiteX24" fmla="*/ 0 w 26619949"/>
                <a:gd name="connsiteY24" fmla="*/ 11649662 h 15035524"/>
                <a:gd name="connsiteX25" fmla="*/ 1003686 w 26619949"/>
                <a:gd name="connsiteY25" fmla="*/ 10903697 h 15035524"/>
                <a:gd name="connsiteX26" fmla="*/ 2902551 w 26619949"/>
                <a:gd name="connsiteY26" fmla="*/ 9719298 h 15035524"/>
                <a:gd name="connsiteX27" fmla="*/ 2558940 w 26619949"/>
                <a:gd name="connsiteY27" fmla="*/ 9185867 h 15035524"/>
                <a:gd name="connsiteX28" fmla="*/ 2402508 w 26619949"/>
                <a:gd name="connsiteY28" fmla="*/ 8498784 h 15035524"/>
                <a:gd name="connsiteX29" fmla="*/ 2730740 w 26619949"/>
                <a:gd name="connsiteY29" fmla="*/ 8471613 h 15035524"/>
                <a:gd name="connsiteX30" fmla="*/ 2947754 w 26619949"/>
                <a:gd name="connsiteY30" fmla="*/ 8001468 h 15035524"/>
                <a:gd name="connsiteX31" fmla="*/ 3499325 w 26619949"/>
                <a:gd name="connsiteY31" fmla="*/ 7558451 h 15035524"/>
                <a:gd name="connsiteX32" fmla="*/ 3680166 w 26619949"/>
                <a:gd name="connsiteY32" fmla="*/ 6681453 h 15035524"/>
                <a:gd name="connsiteX33" fmla="*/ 4186528 w 26619949"/>
                <a:gd name="connsiteY33" fmla="*/ 6690489 h 15035524"/>
                <a:gd name="connsiteX34" fmla="*/ 4837569 w 26619949"/>
                <a:gd name="connsiteY34" fmla="*/ 7160639 h 15035524"/>
                <a:gd name="connsiteX35" fmla="*/ 5352976 w 26619949"/>
                <a:gd name="connsiteY35" fmla="*/ 7079272 h 15035524"/>
                <a:gd name="connsiteX36" fmla="*/ 5741786 w 26619949"/>
                <a:gd name="connsiteY36" fmla="*/ 6708577 h 15035524"/>
                <a:gd name="connsiteX37" fmla="*/ 6157723 w 26619949"/>
                <a:gd name="connsiteY37" fmla="*/ 6545836 h 15035524"/>
                <a:gd name="connsiteX38" fmla="*/ 6745471 w 26619949"/>
                <a:gd name="connsiteY38" fmla="*/ 5976243 h 15035524"/>
                <a:gd name="connsiteX39" fmla="*/ 6890140 w 26619949"/>
                <a:gd name="connsiteY39" fmla="*/ 5126367 h 15035524"/>
                <a:gd name="connsiteX40" fmla="*/ 7568305 w 26619949"/>
                <a:gd name="connsiteY40" fmla="*/ 4556773 h 15035524"/>
                <a:gd name="connsiteX41" fmla="*/ 8137967 w 26619949"/>
                <a:gd name="connsiteY41" fmla="*/ 4113752 h 15035524"/>
                <a:gd name="connsiteX42" fmla="*/ 8463480 w 26619949"/>
                <a:gd name="connsiteY42" fmla="*/ 3309085 h 15035524"/>
                <a:gd name="connsiteX43" fmla="*/ 9024093 w 26619949"/>
                <a:gd name="connsiteY43" fmla="*/ 2956478 h 15035524"/>
                <a:gd name="connsiteX44" fmla="*/ 9675138 w 26619949"/>
                <a:gd name="connsiteY44" fmla="*/ 2603876 h 15035524"/>
                <a:gd name="connsiteX45" fmla="*/ 9558580 w 26619949"/>
                <a:gd name="connsiteY45" fmla="*/ 2055592 h 15035524"/>
                <a:gd name="connsiteX46" fmla="*/ 10353296 w 26619949"/>
                <a:gd name="connsiteY46" fmla="*/ 1383308 h 15035524"/>
                <a:gd name="connsiteX47" fmla="*/ 10832530 w 26619949"/>
                <a:gd name="connsiteY47" fmla="*/ 1310974 h 15035524"/>
                <a:gd name="connsiteX48" fmla="*/ 11058585 w 26619949"/>
                <a:gd name="connsiteY48" fmla="*/ 1763043 h 15035524"/>
                <a:gd name="connsiteX49" fmla="*/ 11411229 w 26619949"/>
                <a:gd name="connsiteY49" fmla="*/ 2142774 h 15035524"/>
                <a:gd name="connsiteX50" fmla="*/ 11998974 w 26619949"/>
                <a:gd name="connsiteY50" fmla="*/ 2224144 h 15035524"/>
                <a:gd name="connsiteX51" fmla="*/ 12315449 w 26619949"/>
                <a:gd name="connsiteY51" fmla="*/ 2884156 h 15035524"/>
                <a:gd name="connsiteX52" fmla="*/ 12785642 w 26619949"/>
                <a:gd name="connsiteY52" fmla="*/ 2703327 h 15035524"/>
                <a:gd name="connsiteX53" fmla="*/ 13671776 w 26619949"/>
                <a:gd name="connsiteY53" fmla="*/ 3155388 h 15035524"/>
                <a:gd name="connsiteX54" fmla="*/ 14123886 w 26619949"/>
                <a:gd name="connsiteY54" fmla="*/ 2857035 h 15035524"/>
                <a:gd name="connsiteX55" fmla="*/ 14259509 w 26619949"/>
                <a:gd name="connsiteY55" fmla="*/ 2287434 h 15035524"/>
                <a:gd name="connsiteX56" fmla="*/ 14892468 w 26619949"/>
                <a:gd name="connsiteY56" fmla="*/ 1645503 h 15035524"/>
                <a:gd name="connsiteX57" fmla="*/ 15778605 w 26619949"/>
                <a:gd name="connsiteY57" fmla="*/ 1093983 h 15035524"/>
                <a:gd name="connsiteX58" fmla="*/ 16022739 w 26619949"/>
                <a:gd name="connsiteY58" fmla="*/ 1564133 h 15035524"/>
                <a:gd name="connsiteX59" fmla="*/ 16556232 w 26619949"/>
                <a:gd name="connsiteY59" fmla="*/ 2142785 h 15035524"/>
                <a:gd name="connsiteX60" fmla="*/ 17406193 w 26619949"/>
                <a:gd name="connsiteY60" fmla="*/ 1292897 h 15035524"/>
                <a:gd name="connsiteX61" fmla="*/ 18120524 w 26619949"/>
                <a:gd name="connsiteY61" fmla="*/ 714260 h 15035524"/>
                <a:gd name="connsiteX62" fmla="*/ 18744437 w 26619949"/>
                <a:gd name="connsiteY62" fmla="*/ -1 h 15035524"/>
                <a:gd name="connsiteX63" fmla="*/ 19982300 w 26619949"/>
                <a:gd name="connsiteY63" fmla="*/ 343465 h 15035524"/>
                <a:gd name="connsiteX64" fmla="*/ 19837609 w 26619949"/>
                <a:gd name="connsiteY64" fmla="*/ 1121173 h 15035524"/>
                <a:gd name="connsiteX65" fmla="*/ 21881359 w 26619949"/>
                <a:gd name="connsiteY65" fmla="*/ 1772279 h 15035524"/>
                <a:gd name="connsiteX66" fmla="*/ 21537712 w 26619949"/>
                <a:gd name="connsiteY66" fmla="*/ 2767023 h 15035524"/>
                <a:gd name="connsiteX67" fmla="*/ 22478203 w 26619949"/>
                <a:gd name="connsiteY67" fmla="*/ 2296774 h 15035524"/>
                <a:gd name="connsiteX68" fmla="*/ 23888932 w 26619949"/>
                <a:gd name="connsiteY68" fmla="*/ 1880797 h 15035524"/>
                <a:gd name="connsiteX69" fmla="*/ 25010275 w 26619949"/>
                <a:gd name="connsiteY69" fmla="*/ 578575 h 15035524"/>
                <a:gd name="connsiteX70" fmla="*/ 26402920 w 26619949"/>
                <a:gd name="connsiteY70" fmla="*/ 759442 h 15035524"/>
                <a:gd name="connsiteX71" fmla="*/ 26554742 w 26619949"/>
                <a:gd name="connsiteY71" fmla="*/ 1935039 h 15035524"/>
                <a:gd name="connsiteX72" fmla="*/ 25751806 w 26619949"/>
                <a:gd name="connsiteY72" fmla="*/ 3689425 h 15035524"/>
                <a:gd name="connsiteX0" fmla="*/ 25751806 w 26619949"/>
                <a:gd name="connsiteY0" fmla="*/ 3689425 h 15035524"/>
                <a:gd name="connsiteX1" fmla="*/ 25950755 w 26619949"/>
                <a:gd name="connsiteY1" fmla="*/ 4828850 h 15035524"/>
                <a:gd name="connsiteX2" fmla="*/ 26439085 w 26619949"/>
                <a:gd name="connsiteY2" fmla="*/ 5986362 h 15035524"/>
                <a:gd name="connsiteX3" fmla="*/ 25824148 w 26619949"/>
                <a:gd name="connsiteY3" fmla="*/ 6709813 h 15035524"/>
                <a:gd name="connsiteX4" fmla="*/ 26619948 w 26619949"/>
                <a:gd name="connsiteY4" fmla="*/ 7722645 h 15035524"/>
                <a:gd name="connsiteX5" fmla="*/ 16372801 w 26619949"/>
                <a:gd name="connsiteY5" fmla="*/ 9717422 h 15035524"/>
                <a:gd name="connsiteX6" fmla="*/ 16070155 w 26619949"/>
                <a:gd name="connsiteY6" fmla="*/ 9937808 h 15035524"/>
                <a:gd name="connsiteX7" fmla="*/ 15805690 w 26619949"/>
                <a:gd name="connsiteY7" fmla="*/ 10431999 h 15035524"/>
                <a:gd name="connsiteX8" fmla="*/ 15195097 w 26619949"/>
                <a:gd name="connsiteY8" fmla="*/ 10093742 h 15035524"/>
                <a:gd name="connsiteX9" fmla="*/ 15011380 w 26619949"/>
                <a:gd name="connsiteY9" fmla="*/ 11048592 h 15035524"/>
                <a:gd name="connsiteX10" fmla="*/ 14908430 w 26619949"/>
                <a:gd name="connsiteY10" fmla="*/ 11937487 h 15035524"/>
                <a:gd name="connsiteX11" fmla="*/ 14904684 w 26619949"/>
                <a:gd name="connsiteY11" fmla="*/ 12760926 h 15035524"/>
                <a:gd name="connsiteX12" fmla="*/ 14929927 w 26619949"/>
                <a:gd name="connsiteY12" fmla="*/ 14391846 h 15035524"/>
                <a:gd name="connsiteX13" fmla="*/ 12952786 w 26619949"/>
                <a:gd name="connsiteY13" fmla="*/ 14842599 h 15035524"/>
                <a:gd name="connsiteX14" fmla="*/ 11934663 w 26619949"/>
                <a:gd name="connsiteY14" fmla="*/ 14890849 h 15035524"/>
                <a:gd name="connsiteX15" fmla="*/ 8506848 w 26619949"/>
                <a:gd name="connsiteY15" fmla="*/ 15035524 h 15035524"/>
                <a:gd name="connsiteX16" fmla="*/ 7985095 w 26619949"/>
                <a:gd name="connsiteY16" fmla="*/ 14390442 h 15035524"/>
                <a:gd name="connsiteX17" fmla="*/ 7400308 w 26619949"/>
                <a:gd name="connsiteY17" fmla="*/ 14360297 h 15035524"/>
                <a:gd name="connsiteX18" fmla="*/ 6972273 w 26619949"/>
                <a:gd name="connsiteY18" fmla="*/ 14631594 h 15035524"/>
                <a:gd name="connsiteX19" fmla="*/ 5181729 w 26619949"/>
                <a:gd name="connsiteY19" fmla="*/ 14547195 h 15035524"/>
                <a:gd name="connsiteX20" fmla="*/ 4397998 w 26619949"/>
                <a:gd name="connsiteY20" fmla="*/ 13914178 h 15035524"/>
                <a:gd name="connsiteX21" fmla="*/ 2908896 w 26619949"/>
                <a:gd name="connsiteY21" fmla="*/ 13106324 h 15035524"/>
                <a:gd name="connsiteX22" fmla="*/ 1263043 w 26619949"/>
                <a:gd name="connsiteY22" fmla="*/ 12394931 h 15035524"/>
                <a:gd name="connsiteX23" fmla="*/ 485320 w 26619949"/>
                <a:gd name="connsiteY23" fmla="*/ 11942774 h 15035524"/>
                <a:gd name="connsiteX24" fmla="*/ 0 w 26619949"/>
                <a:gd name="connsiteY24" fmla="*/ 11649662 h 15035524"/>
                <a:gd name="connsiteX25" fmla="*/ 1003686 w 26619949"/>
                <a:gd name="connsiteY25" fmla="*/ 10903697 h 15035524"/>
                <a:gd name="connsiteX26" fmla="*/ 2902551 w 26619949"/>
                <a:gd name="connsiteY26" fmla="*/ 9719298 h 15035524"/>
                <a:gd name="connsiteX27" fmla="*/ 2558940 w 26619949"/>
                <a:gd name="connsiteY27" fmla="*/ 9185867 h 15035524"/>
                <a:gd name="connsiteX28" fmla="*/ 2402508 w 26619949"/>
                <a:gd name="connsiteY28" fmla="*/ 8498784 h 15035524"/>
                <a:gd name="connsiteX29" fmla="*/ 2730740 w 26619949"/>
                <a:gd name="connsiteY29" fmla="*/ 8471613 h 15035524"/>
                <a:gd name="connsiteX30" fmla="*/ 2947754 w 26619949"/>
                <a:gd name="connsiteY30" fmla="*/ 8001468 h 15035524"/>
                <a:gd name="connsiteX31" fmla="*/ 3499325 w 26619949"/>
                <a:gd name="connsiteY31" fmla="*/ 7558451 h 15035524"/>
                <a:gd name="connsiteX32" fmla="*/ 3680166 w 26619949"/>
                <a:gd name="connsiteY32" fmla="*/ 6681453 h 15035524"/>
                <a:gd name="connsiteX33" fmla="*/ 4186528 w 26619949"/>
                <a:gd name="connsiteY33" fmla="*/ 6690489 h 15035524"/>
                <a:gd name="connsiteX34" fmla="*/ 4837569 w 26619949"/>
                <a:gd name="connsiteY34" fmla="*/ 7160639 h 15035524"/>
                <a:gd name="connsiteX35" fmla="*/ 5352976 w 26619949"/>
                <a:gd name="connsiteY35" fmla="*/ 7079272 h 15035524"/>
                <a:gd name="connsiteX36" fmla="*/ 5741786 w 26619949"/>
                <a:gd name="connsiteY36" fmla="*/ 6708577 h 15035524"/>
                <a:gd name="connsiteX37" fmla="*/ 6157723 w 26619949"/>
                <a:gd name="connsiteY37" fmla="*/ 6545836 h 15035524"/>
                <a:gd name="connsiteX38" fmla="*/ 6745471 w 26619949"/>
                <a:gd name="connsiteY38" fmla="*/ 5976243 h 15035524"/>
                <a:gd name="connsiteX39" fmla="*/ 6890140 w 26619949"/>
                <a:gd name="connsiteY39" fmla="*/ 5126367 h 15035524"/>
                <a:gd name="connsiteX40" fmla="*/ 7568305 w 26619949"/>
                <a:gd name="connsiteY40" fmla="*/ 4556773 h 15035524"/>
                <a:gd name="connsiteX41" fmla="*/ 8137967 w 26619949"/>
                <a:gd name="connsiteY41" fmla="*/ 4113752 h 15035524"/>
                <a:gd name="connsiteX42" fmla="*/ 8463480 w 26619949"/>
                <a:gd name="connsiteY42" fmla="*/ 3309085 h 15035524"/>
                <a:gd name="connsiteX43" fmla="*/ 9024093 w 26619949"/>
                <a:gd name="connsiteY43" fmla="*/ 2956478 h 15035524"/>
                <a:gd name="connsiteX44" fmla="*/ 9675138 w 26619949"/>
                <a:gd name="connsiteY44" fmla="*/ 2603876 h 15035524"/>
                <a:gd name="connsiteX45" fmla="*/ 9558580 w 26619949"/>
                <a:gd name="connsiteY45" fmla="*/ 2055592 h 15035524"/>
                <a:gd name="connsiteX46" fmla="*/ 10353296 w 26619949"/>
                <a:gd name="connsiteY46" fmla="*/ 1383308 h 15035524"/>
                <a:gd name="connsiteX47" fmla="*/ 10832530 w 26619949"/>
                <a:gd name="connsiteY47" fmla="*/ 1310974 h 15035524"/>
                <a:gd name="connsiteX48" fmla="*/ 11058585 w 26619949"/>
                <a:gd name="connsiteY48" fmla="*/ 1763043 h 15035524"/>
                <a:gd name="connsiteX49" fmla="*/ 11411229 w 26619949"/>
                <a:gd name="connsiteY49" fmla="*/ 2142774 h 15035524"/>
                <a:gd name="connsiteX50" fmla="*/ 11998974 w 26619949"/>
                <a:gd name="connsiteY50" fmla="*/ 2224144 h 15035524"/>
                <a:gd name="connsiteX51" fmla="*/ 12315449 w 26619949"/>
                <a:gd name="connsiteY51" fmla="*/ 2884156 h 15035524"/>
                <a:gd name="connsiteX52" fmla="*/ 12785642 w 26619949"/>
                <a:gd name="connsiteY52" fmla="*/ 2703327 h 15035524"/>
                <a:gd name="connsiteX53" fmla="*/ 13671776 w 26619949"/>
                <a:gd name="connsiteY53" fmla="*/ 3155388 h 15035524"/>
                <a:gd name="connsiteX54" fmla="*/ 14123886 w 26619949"/>
                <a:gd name="connsiteY54" fmla="*/ 2857035 h 15035524"/>
                <a:gd name="connsiteX55" fmla="*/ 14259509 w 26619949"/>
                <a:gd name="connsiteY55" fmla="*/ 2287434 h 15035524"/>
                <a:gd name="connsiteX56" fmla="*/ 14892468 w 26619949"/>
                <a:gd name="connsiteY56" fmla="*/ 1645503 h 15035524"/>
                <a:gd name="connsiteX57" fmla="*/ 15778605 w 26619949"/>
                <a:gd name="connsiteY57" fmla="*/ 1093983 h 15035524"/>
                <a:gd name="connsiteX58" fmla="*/ 16022739 w 26619949"/>
                <a:gd name="connsiteY58" fmla="*/ 1564133 h 15035524"/>
                <a:gd name="connsiteX59" fmla="*/ 16556232 w 26619949"/>
                <a:gd name="connsiteY59" fmla="*/ 2142785 h 15035524"/>
                <a:gd name="connsiteX60" fmla="*/ 17406193 w 26619949"/>
                <a:gd name="connsiteY60" fmla="*/ 1292897 h 15035524"/>
                <a:gd name="connsiteX61" fmla="*/ 18120524 w 26619949"/>
                <a:gd name="connsiteY61" fmla="*/ 714260 h 15035524"/>
                <a:gd name="connsiteX62" fmla="*/ 18744437 w 26619949"/>
                <a:gd name="connsiteY62" fmla="*/ -1 h 15035524"/>
                <a:gd name="connsiteX63" fmla="*/ 19982300 w 26619949"/>
                <a:gd name="connsiteY63" fmla="*/ 343465 h 15035524"/>
                <a:gd name="connsiteX64" fmla="*/ 19837609 w 26619949"/>
                <a:gd name="connsiteY64" fmla="*/ 1121173 h 15035524"/>
                <a:gd name="connsiteX65" fmla="*/ 21881359 w 26619949"/>
                <a:gd name="connsiteY65" fmla="*/ 1772279 h 15035524"/>
                <a:gd name="connsiteX66" fmla="*/ 21537712 w 26619949"/>
                <a:gd name="connsiteY66" fmla="*/ 2767023 h 15035524"/>
                <a:gd name="connsiteX67" fmla="*/ 22478203 w 26619949"/>
                <a:gd name="connsiteY67" fmla="*/ 2296774 h 15035524"/>
                <a:gd name="connsiteX68" fmla="*/ 23888932 w 26619949"/>
                <a:gd name="connsiteY68" fmla="*/ 1880797 h 15035524"/>
                <a:gd name="connsiteX69" fmla="*/ 25010275 w 26619949"/>
                <a:gd name="connsiteY69" fmla="*/ 578575 h 15035524"/>
                <a:gd name="connsiteX70" fmla="*/ 26402920 w 26619949"/>
                <a:gd name="connsiteY70" fmla="*/ 759442 h 15035524"/>
                <a:gd name="connsiteX71" fmla="*/ 26554742 w 26619949"/>
                <a:gd name="connsiteY71" fmla="*/ 1935039 h 15035524"/>
                <a:gd name="connsiteX72" fmla="*/ 25751806 w 26619949"/>
                <a:gd name="connsiteY72" fmla="*/ 3689425 h 15035524"/>
                <a:gd name="connsiteX0" fmla="*/ 25751806 w 26554741"/>
                <a:gd name="connsiteY0" fmla="*/ 3689425 h 15035524"/>
                <a:gd name="connsiteX1" fmla="*/ 25950755 w 26554741"/>
                <a:gd name="connsiteY1" fmla="*/ 4828850 h 15035524"/>
                <a:gd name="connsiteX2" fmla="*/ 26439085 w 26554741"/>
                <a:gd name="connsiteY2" fmla="*/ 5986362 h 15035524"/>
                <a:gd name="connsiteX3" fmla="*/ 25824148 w 26554741"/>
                <a:gd name="connsiteY3" fmla="*/ 6709813 h 15035524"/>
                <a:gd name="connsiteX4" fmla="*/ 14321716 w 26554741"/>
                <a:gd name="connsiteY4" fmla="*/ 6574229 h 15035524"/>
                <a:gd name="connsiteX5" fmla="*/ 16372801 w 26554741"/>
                <a:gd name="connsiteY5" fmla="*/ 9717422 h 15035524"/>
                <a:gd name="connsiteX6" fmla="*/ 16070155 w 26554741"/>
                <a:gd name="connsiteY6" fmla="*/ 9937808 h 15035524"/>
                <a:gd name="connsiteX7" fmla="*/ 15805690 w 26554741"/>
                <a:gd name="connsiteY7" fmla="*/ 10431999 h 15035524"/>
                <a:gd name="connsiteX8" fmla="*/ 15195097 w 26554741"/>
                <a:gd name="connsiteY8" fmla="*/ 10093742 h 15035524"/>
                <a:gd name="connsiteX9" fmla="*/ 15011380 w 26554741"/>
                <a:gd name="connsiteY9" fmla="*/ 11048592 h 15035524"/>
                <a:gd name="connsiteX10" fmla="*/ 14908430 w 26554741"/>
                <a:gd name="connsiteY10" fmla="*/ 11937487 h 15035524"/>
                <a:gd name="connsiteX11" fmla="*/ 14904684 w 26554741"/>
                <a:gd name="connsiteY11" fmla="*/ 12760926 h 15035524"/>
                <a:gd name="connsiteX12" fmla="*/ 14929927 w 26554741"/>
                <a:gd name="connsiteY12" fmla="*/ 14391846 h 15035524"/>
                <a:gd name="connsiteX13" fmla="*/ 12952786 w 26554741"/>
                <a:gd name="connsiteY13" fmla="*/ 14842599 h 15035524"/>
                <a:gd name="connsiteX14" fmla="*/ 11934663 w 26554741"/>
                <a:gd name="connsiteY14" fmla="*/ 14890849 h 15035524"/>
                <a:gd name="connsiteX15" fmla="*/ 8506848 w 26554741"/>
                <a:gd name="connsiteY15" fmla="*/ 15035524 h 15035524"/>
                <a:gd name="connsiteX16" fmla="*/ 7985095 w 26554741"/>
                <a:gd name="connsiteY16" fmla="*/ 14390442 h 15035524"/>
                <a:gd name="connsiteX17" fmla="*/ 7400308 w 26554741"/>
                <a:gd name="connsiteY17" fmla="*/ 14360297 h 15035524"/>
                <a:gd name="connsiteX18" fmla="*/ 6972273 w 26554741"/>
                <a:gd name="connsiteY18" fmla="*/ 14631594 h 15035524"/>
                <a:gd name="connsiteX19" fmla="*/ 5181729 w 26554741"/>
                <a:gd name="connsiteY19" fmla="*/ 14547195 h 15035524"/>
                <a:gd name="connsiteX20" fmla="*/ 4397998 w 26554741"/>
                <a:gd name="connsiteY20" fmla="*/ 13914178 h 15035524"/>
                <a:gd name="connsiteX21" fmla="*/ 2908896 w 26554741"/>
                <a:gd name="connsiteY21" fmla="*/ 13106324 h 15035524"/>
                <a:gd name="connsiteX22" fmla="*/ 1263043 w 26554741"/>
                <a:gd name="connsiteY22" fmla="*/ 12394931 h 15035524"/>
                <a:gd name="connsiteX23" fmla="*/ 485320 w 26554741"/>
                <a:gd name="connsiteY23" fmla="*/ 11942774 h 15035524"/>
                <a:gd name="connsiteX24" fmla="*/ 0 w 26554741"/>
                <a:gd name="connsiteY24" fmla="*/ 11649662 h 15035524"/>
                <a:gd name="connsiteX25" fmla="*/ 1003686 w 26554741"/>
                <a:gd name="connsiteY25" fmla="*/ 10903697 h 15035524"/>
                <a:gd name="connsiteX26" fmla="*/ 2902551 w 26554741"/>
                <a:gd name="connsiteY26" fmla="*/ 9719298 h 15035524"/>
                <a:gd name="connsiteX27" fmla="*/ 2558940 w 26554741"/>
                <a:gd name="connsiteY27" fmla="*/ 9185867 h 15035524"/>
                <a:gd name="connsiteX28" fmla="*/ 2402508 w 26554741"/>
                <a:gd name="connsiteY28" fmla="*/ 8498784 h 15035524"/>
                <a:gd name="connsiteX29" fmla="*/ 2730740 w 26554741"/>
                <a:gd name="connsiteY29" fmla="*/ 8471613 h 15035524"/>
                <a:gd name="connsiteX30" fmla="*/ 2947754 w 26554741"/>
                <a:gd name="connsiteY30" fmla="*/ 8001468 h 15035524"/>
                <a:gd name="connsiteX31" fmla="*/ 3499325 w 26554741"/>
                <a:gd name="connsiteY31" fmla="*/ 7558451 h 15035524"/>
                <a:gd name="connsiteX32" fmla="*/ 3680166 w 26554741"/>
                <a:gd name="connsiteY32" fmla="*/ 6681453 h 15035524"/>
                <a:gd name="connsiteX33" fmla="*/ 4186528 w 26554741"/>
                <a:gd name="connsiteY33" fmla="*/ 6690489 h 15035524"/>
                <a:gd name="connsiteX34" fmla="*/ 4837569 w 26554741"/>
                <a:gd name="connsiteY34" fmla="*/ 7160639 h 15035524"/>
                <a:gd name="connsiteX35" fmla="*/ 5352976 w 26554741"/>
                <a:gd name="connsiteY35" fmla="*/ 7079272 h 15035524"/>
                <a:gd name="connsiteX36" fmla="*/ 5741786 w 26554741"/>
                <a:gd name="connsiteY36" fmla="*/ 6708577 h 15035524"/>
                <a:gd name="connsiteX37" fmla="*/ 6157723 w 26554741"/>
                <a:gd name="connsiteY37" fmla="*/ 6545836 h 15035524"/>
                <a:gd name="connsiteX38" fmla="*/ 6745471 w 26554741"/>
                <a:gd name="connsiteY38" fmla="*/ 5976243 h 15035524"/>
                <a:gd name="connsiteX39" fmla="*/ 6890140 w 26554741"/>
                <a:gd name="connsiteY39" fmla="*/ 5126367 h 15035524"/>
                <a:gd name="connsiteX40" fmla="*/ 7568305 w 26554741"/>
                <a:gd name="connsiteY40" fmla="*/ 4556773 h 15035524"/>
                <a:gd name="connsiteX41" fmla="*/ 8137967 w 26554741"/>
                <a:gd name="connsiteY41" fmla="*/ 4113752 h 15035524"/>
                <a:gd name="connsiteX42" fmla="*/ 8463480 w 26554741"/>
                <a:gd name="connsiteY42" fmla="*/ 3309085 h 15035524"/>
                <a:gd name="connsiteX43" fmla="*/ 9024093 w 26554741"/>
                <a:gd name="connsiteY43" fmla="*/ 2956478 h 15035524"/>
                <a:gd name="connsiteX44" fmla="*/ 9675138 w 26554741"/>
                <a:gd name="connsiteY44" fmla="*/ 2603876 h 15035524"/>
                <a:gd name="connsiteX45" fmla="*/ 9558580 w 26554741"/>
                <a:gd name="connsiteY45" fmla="*/ 2055592 h 15035524"/>
                <a:gd name="connsiteX46" fmla="*/ 10353296 w 26554741"/>
                <a:gd name="connsiteY46" fmla="*/ 1383308 h 15035524"/>
                <a:gd name="connsiteX47" fmla="*/ 10832530 w 26554741"/>
                <a:gd name="connsiteY47" fmla="*/ 1310974 h 15035524"/>
                <a:gd name="connsiteX48" fmla="*/ 11058585 w 26554741"/>
                <a:gd name="connsiteY48" fmla="*/ 1763043 h 15035524"/>
                <a:gd name="connsiteX49" fmla="*/ 11411229 w 26554741"/>
                <a:gd name="connsiteY49" fmla="*/ 2142774 h 15035524"/>
                <a:gd name="connsiteX50" fmla="*/ 11998974 w 26554741"/>
                <a:gd name="connsiteY50" fmla="*/ 2224144 h 15035524"/>
                <a:gd name="connsiteX51" fmla="*/ 12315449 w 26554741"/>
                <a:gd name="connsiteY51" fmla="*/ 2884156 h 15035524"/>
                <a:gd name="connsiteX52" fmla="*/ 12785642 w 26554741"/>
                <a:gd name="connsiteY52" fmla="*/ 2703327 h 15035524"/>
                <a:gd name="connsiteX53" fmla="*/ 13671776 w 26554741"/>
                <a:gd name="connsiteY53" fmla="*/ 3155388 h 15035524"/>
                <a:gd name="connsiteX54" fmla="*/ 14123886 w 26554741"/>
                <a:gd name="connsiteY54" fmla="*/ 2857035 h 15035524"/>
                <a:gd name="connsiteX55" fmla="*/ 14259509 w 26554741"/>
                <a:gd name="connsiteY55" fmla="*/ 2287434 h 15035524"/>
                <a:gd name="connsiteX56" fmla="*/ 14892468 w 26554741"/>
                <a:gd name="connsiteY56" fmla="*/ 1645503 h 15035524"/>
                <a:gd name="connsiteX57" fmla="*/ 15778605 w 26554741"/>
                <a:gd name="connsiteY57" fmla="*/ 1093983 h 15035524"/>
                <a:gd name="connsiteX58" fmla="*/ 16022739 w 26554741"/>
                <a:gd name="connsiteY58" fmla="*/ 1564133 h 15035524"/>
                <a:gd name="connsiteX59" fmla="*/ 16556232 w 26554741"/>
                <a:gd name="connsiteY59" fmla="*/ 2142785 h 15035524"/>
                <a:gd name="connsiteX60" fmla="*/ 17406193 w 26554741"/>
                <a:gd name="connsiteY60" fmla="*/ 1292897 h 15035524"/>
                <a:gd name="connsiteX61" fmla="*/ 18120524 w 26554741"/>
                <a:gd name="connsiteY61" fmla="*/ 714260 h 15035524"/>
                <a:gd name="connsiteX62" fmla="*/ 18744437 w 26554741"/>
                <a:gd name="connsiteY62" fmla="*/ -1 h 15035524"/>
                <a:gd name="connsiteX63" fmla="*/ 19982300 w 26554741"/>
                <a:gd name="connsiteY63" fmla="*/ 343465 h 15035524"/>
                <a:gd name="connsiteX64" fmla="*/ 19837609 w 26554741"/>
                <a:gd name="connsiteY64" fmla="*/ 1121173 h 15035524"/>
                <a:gd name="connsiteX65" fmla="*/ 21881359 w 26554741"/>
                <a:gd name="connsiteY65" fmla="*/ 1772279 h 15035524"/>
                <a:gd name="connsiteX66" fmla="*/ 21537712 w 26554741"/>
                <a:gd name="connsiteY66" fmla="*/ 2767023 h 15035524"/>
                <a:gd name="connsiteX67" fmla="*/ 22478203 w 26554741"/>
                <a:gd name="connsiteY67" fmla="*/ 2296774 h 15035524"/>
                <a:gd name="connsiteX68" fmla="*/ 23888932 w 26554741"/>
                <a:gd name="connsiteY68" fmla="*/ 1880797 h 15035524"/>
                <a:gd name="connsiteX69" fmla="*/ 25010275 w 26554741"/>
                <a:gd name="connsiteY69" fmla="*/ 578575 h 15035524"/>
                <a:gd name="connsiteX70" fmla="*/ 26402920 w 26554741"/>
                <a:gd name="connsiteY70" fmla="*/ 759442 h 15035524"/>
                <a:gd name="connsiteX71" fmla="*/ 26554742 w 26554741"/>
                <a:gd name="connsiteY71" fmla="*/ 1935039 h 15035524"/>
                <a:gd name="connsiteX72" fmla="*/ 25751806 w 26554741"/>
                <a:gd name="connsiteY72" fmla="*/ 3689425 h 15035524"/>
                <a:gd name="connsiteX0" fmla="*/ 25751806 w 26554741"/>
                <a:gd name="connsiteY0" fmla="*/ 3689425 h 15035524"/>
                <a:gd name="connsiteX1" fmla="*/ 25950755 w 26554741"/>
                <a:gd name="connsiteY1" fmla="*/ 4828850 h 15035524"/>
                <a:gd name="connsiteX2" fmla="*/ 26439085 w 26554741"/>
                <a:gd name="connsiteY2" fmla="*/ 5986362 h 15035524"/>
                <a:gd name="connsiteX3" fmla="*/ 25824148 w 26554741"/>
                <a:gd name="connsiteY3" fmla="*/ 6709813 h 15035524"/>
                <a:gd name="connsiteX4" fmla="*/ 16287189 w 26554741"/>
                <a:gd name="connsiteY4" fmla="*/ 9151157 h 15035524"/>
                <a:gd name="connsiteX5" fmla="*/ 16372801 w 26554741"/>
                <a:gd name="connsiteY5" fmla="*/ 9717422 h 15035524"/>
                <a:gd name="connsiteX6" fmla="*/ 16070155 w 26554741"/>
                <a:gd name="connsiteY6" fmla="*/ 9937808 h 15035524"/>
                <a:gd name="connsiteX7" fmla="*/ 15805690 w 26554741"/>
                <a:gd name="connsiteY7" fmla="*/ 10431999 h 15035524"/>
                <a:gd name="connsiteX8" fmla="*/ 15195097 w 26554741"/>
                <a:gd name="connsiteY8" fmla="*/ 10093742 h 15035524"/>
                <a:gd name="connsiteX9" fmla="*/ 15011380 w 26554741"/>
                <a:gd name="connsiteY9" fmla="*/ 11048592 h 15035524"/>
                <a:gd name="connsiteX10" fmla="*/ 14908430 w 26554741"/>
                <a:gd name="connsiteY10" fmla="*/ 11937487 h 15035524"/>
                <a:gd name="connsiteX11" fmla="*/ 14904684 w 26554741"/>
                <a:gd name="connsiteY11" fmla="*/ 12760926 h 15035524"/>
                <a:gd name="connsiteX12" fmla="*/ 14929927 w 26554741"/>
                <a:gd name="connsiteY12" fmla="*/ 14391846 h 15035524"/>
                <a:gd name="connsiteX13" fmla="*/ 12952786 w 26554741"/>
                <a:gd name="connsiteY13" fmla="*/ 14842599 h 15035524"/>
                <a:gd name="connsiteX14" fmla="*/ 11934663 w 26554741"/>
                <a:gd name="connsiteY14" fmla="*/ 14890849 h 15035524"/>
                <a:gd name="connsiteX15" fmla="*/ 8506848 w 26554741"/>
                <a:gd name="connsiteY15" fmla="*/ 15035524 h 15035524"/>
                <a:gd name="connsiteX16" fmla="*/ 7985095 w 26554741"/>
                <a:gd name="connsiteY16" fmla="*/ 14390442 h 15035524"/>
                <a:gd name="connsiteX17" fmla="*/ 7400308 w 26554741"/>
                <a:gd name="connsiteY17" fmla="*/ 14360297 h 15035524"/>
                <a:gd name="connsiteX18" fmla="*/ 6972273 w 26554741"/>
                <a:gd name="connsiteY18" fmla="*/ 14631594 h 15035524"/>
                <a:gd name="connsiteX19" fmla="*/ 5181729 w 26554741"/>
                <a:gd name="connsiteY19" fmla="*/ 14547195 h 15035524"/>
                <a:gd name="connsiteX20" fmla="*/ 4397998 w 26554741"/>
                <a:gd name="connsiteY20" fmla="*/ 13914178 h 15035524"/>
                <a:gd name="connsiteX21" fmla="*/ 2908896 w 26554741"/>
                <a:gd name="connsiteY21" fmla="*/ 13106324 h 15035524"/>
                <a:gd name="connsiteX22" fmla="*/ 1263043 w 26554741"/>
                <a:gd name="connsiteY22" fmla="*/ 12394931 h 15035524"/>
                <a:gd name="connsiteX23" fmla="*/ 485320 w 26554741"/>
                <a:gd name="connsiteY23" fmla="*/ 11942774 h 15035524"/>
                <a:gd name="connsiteX24" fmla="*/ 0 w 26554741"/>
                <a:gd name="connsiteY24" fmla="*/ 11649662 h 15035524"/>
                <a:gd name="connsiteX25" fmla="*/ 1003686 w 26554741"/>
                <a:gd name="connsiteY25" fmla="*/ 10903697 h 15035524"/>
                <a:gd name="connsiteX26" fmla="*/ 2902551 w 26554741"/>
                <a:gd name="connsiteY26" fmla="*/ 9719298 h 15035524"/>
                <a:gd name="connsiteX27" fmla="*/ 2558940 w 26554741"/>
                <a:gd name="connsiteY27" fmla="*/ 9185867 h 15035524"/>
                <a:gd name="connsiteX28" fmla="*/ 2402508 w 26554741"/>
                <a:gd name="connsiteY28" fmla="*/ 8498784 h 15035524"/>
                <a:gd name="connsiteX29" fmla="*/ 2730740 w 26554741"/>
                <a:gd name="connsiteY29" fmla="*/ 8471613 h 15035524"/>
                <a:gd name="connsiteX30" fmla="*/ 2947754 w 26554741"/>
                <a:gd name="connsiteY30" fmla="*/ 8001468 h 15035524"/>
                <a:gd name="connsiteX31" fmla="*/ 3499325 w 26554741"/>
                <a:gd name="connsiteY31" fmla="*/ 7558451 h 15035524"/>
                <a:gd name="connsiteX32" fmla="*/ 3680166 w 26554741"/>
                <a:gd name="connsiteY32" fmla="*/ 6681453 h 15035524"/>
                <a:gd name="connsiteX33" fmla="*/ 4186528 w 26554741"/>
                <a:gd name="connsiteY33" fmla="*/ 6690489 h 15035524"/>
                <a:gd name="connsiteX34" fmla="*/ 4837569 w 26554741"/>
                <a:gd name="connsiteY34" fmla="*/ 7160639 h 15035524"/>
                <a:gd name="connsiteX35" fmla="*/ 5352976 w 26554741"/>
                <a:gd name="connsiteY35" fmla="*/ 7079272 h 15035524"/>
                <a:gd name="connsiteX36" fmla="*/ 5741786 w 26554741"/>
                <a:gd name="connsiteY36" fmla="*/ 6708577 h 15035524"/>
                <a:gd name="connsiteX37" fmla="*/ 6157723 w 26554741"/>
                <a:gd name="connsiteY37" fmla="*/ 6545836 h 15035524"/>
                <a:gd name="connsiteX38" fmla="*/ 6745471 w 26554741"/>
                <a:gd name="connsiteY38" fmla="*/ 5976243 h 15035524"/>
                <a:gd name="connsiteX39" fmla="*/ 6890140 w 26554741"/>
                <a:gd name="connsiteY39" fmla="*/ 5126367 h 15035524"/>
                <a:gd name="connsiteX40" fmla="*/ 7568305 w 26554741"/>
                <a:gd name="connsiteY40" fmla="*/ 4556773 h 15035524"/>
                <a:gd name="connsiteX41" fmla="*/ 8137967 w 26554741"/>
                <a:gd name="connsiteY41" fmla="*/ 4113752 h 15035524"/>
                <a:gd name="connsiteX42" fmla="*/ 8463480 w 26554741"/>
                <a:gd name="connsiteY42" fmla="*/ 3309085 h 15035524"/>
                <a:gd name="connsiteX43" fmla="*/ 9024093 w 26554741"/>
                <a:gd name="connsiteY43" fmla="*/ 2956478 h 15035524"/>
                <a:gd name="connsiteX44" fmla="*/ 9675138 w 26554741"/>
                <a:gd name="connsiteY44" fmla="*/ 2603876 h 15035524"/>
                <a:gd name="connsiteX45" fmla="*/ 9558580 w 26554741"/>
                <a:gd name="connsiteY45" fmla="*/ 2055592 h 15035524"/>
                <a:gd name="connsiteX46" fmla="*/ 10353296 w 26554741"/>
                <a:gd name="connsiteY46" fmla="*/ 1383308 h 15035524"/>
                <a:gd name="connsiteX47" fmla="*/ 10832530 w 26554741"/>
                <a:gd name="connsiteY47" fmla="*/ 1310974 h 15035524"/>
                <a:gd name="connsiteX48" fmla="*/ 11058585 w 26554741"/>
                <a:gd name="connsiteY48" fmla="*/ 1763043 h 15035524"/>
                <a:gd name="connsiteX49" fmla="*/ 11411229 w 26554741"/>
                <a:gd name="connsiteY49" fmla="*/ 2142774 h 15035524"/>
                <a:gd name="connsiteX50" fmla="*/ 11998974 w 26554741"/>
                <a:gd name="connsiteY50" fmla="*/ 2224144 h 15035524"/>
                <a:gd name="connsiteX51" fmla="*/ 12315449 w 26554741"/>
                <a:gd name="connsiteY51" fmla="*/ 2884156 h 15035524"/>
                <a:gd name="connsiteX52" fmla="*/ 12785642 w 26554741"/>
                <a:gd name="connsiteY52" fmla="*/ 2703327 h 15035524"/>
                <a:gd name="connsiteX53" fmla="*/ 13671776 w 26554741"/>
                <a:gd name="connsiteY53" fmla="*/ 3155388 h 15035524"/>
                <a:gd name="connsiteX54" fmla="*/ 14123886 w 26554741"/>
                <a:gd name="connsiteY54" fmla="*/ 2857035 h 15035524"/>
                <a:gd name="connsiteX55" fmla="*/ 14259509 w 26554741"/>
                <a:gd name="connsiteY55" fmla="*/ 2287434 h 15035524"/>
                <a:gd name="connsiteX56" fmla="*/ 14892468 w 26554741"/>
                <a:gd name="connsiteY56" fmla="*/ 1645503 h 15035524"/>
                <a:gd name="connsiteX57" fmla="*/ 15778605 w 26554741"/>
                <a:gd name="connsiteY57" fmla="*/ 1093983 h 15035524"/>
                <a:gd name="connsiteX58" fmla="*/ 16022739 w 26554741"/>
                <a:gd name="connsiteY58" fmla="*/ 1564133 h 15035524"/>
                <a:gd name="connsiteX59" fmla="*/ 16556232 w 26554741"/>
                <a:gd name="connsiteY59" fmla="*/ 2142785 h 15035524"/>
                <a:gd name="connsiteX60" fmla="*/ 17406193 w 26554741"/>
                <a:gd name="connsiteY60" fmla="*/ 1292897 h 15035524"/>
                <a:gd name="connsiteX61" fmla="*/ 18120524 w 26554741"/>
                <a:gd name="connsiteY61" fmla="*/ 714260 h 15035524"/>
                <a:gd name="connsiteX62" fmla="*/ 18744437 w 26554741"/>
                <a:gd name="connsiteY62" fmla="*/ -1 h 15035524"/>
                <a:gd name="connsiteX63" fmla="*/ 19982300 w 26554741"/>
                <a:gd name="connsiteY63" fmla="*/ 343465 h 15035524"/>
                <a:gd name="connsiteX64" fmla="*/ 19837609 w 26554741"/>
                <a:gd name="connsiteY64" fmla="*/ 1121173 h 15035524"/>
                <a:gd name="connsiteX65" fmla="*/ 21881359 w 26554741"/>
                <a:gd name="connsiteY65" fmla="*/ 1772279 h 15035524"/>
                <a:gd name="connsiteX66" fmla="*/ 21537712 w 26554741"/>
                <a:gd name="connsiteY66" fmla="*/ 2767023 h 15035524"/>
                <a:gd name="connsiteX67" fmla="*/ 22478203 w 26554741"/>
                <a:gd name="connsiteY67" fmla="*/ 2296774 h 15035524"/>
                <a:gd name="connsiteX68" fmla="*/ 23888932 w 26554741"/>
                <a:gd name="connsiteY68" fmla="*/ 1880797 h 15035524"/>
                <a:gd name="connsiteX69" fmla="*/ 25010275 w 26554741"/>
                <a:gd name="connsiteY69" fmla="*/ 578575 h 15035524"/>
                <a:gd name="connsiteX70" fmla="*/ 26402920 w 26554741"/>
                <a:gd name="connsiteY70" fmla="*/ 759442 h 15035524"/>
                <a:gd name="connsiteX71" fmla="*/ 26554742 w 26554741"/>
                <a:gd name="connsiteY71" fmla="*/ 1935039 h 15035524"/>
                <a:gd name="connsiteX72" fmla="*/ 25751806 w 26554741"/>
                <a:gd name="connsiteY72" fmla="*/ 3689425 h 15035524"/>
                <a:gd name="connsiteX0" fmla="*/ 25751806 w 26554741"/>
                <a:gd name="connsiteY0" fmla="*/ 3689425 h 15035524"/>
                <a:gd name="connsiteX1" fmla="*/ 25950755 w 26554741"/>
                <a:gd name="connsiteY1" fmla="*/ 4828850 h 15035524"/>
                <a:gd name="connsiteX2" fmla="*/ 26439085 w 26554741"/>
                <a:gd name="connsiteY2" fmla="*/ 5986362 h 15035524"/>
                <a:gd name="connsiteX3" fmla="*/ 14340183 w 26554741"/>
                <a:gd name="connsiteY3" fmla="*/ 7354046 h 15035524"/>
                <a:gd name="connsiteX4" fmla="*/ 16287189 w 26554741"/>
                <a:gd name="connsiteY4" fmla="*/ 9151157 h 15035524"/>
                <a:gd name="connsiteX5" fmla="*/ 16372801 w 26554741"/>
                <a:gd name="connsiteY5" fmla="*/ 9717422 h 15035524"/>
                <a:gd name="connsiteX6" fmla="*/ 16070155 w 26554741"/>
                <a:gd name="connsiteY6" fmla="*/ 9937808 h 15035524"/>
                <a:gd name="connsiteX7" fmla="*/ 15805690 w 26554741"/>
                <a:gd name="connsiteY7" fmla="*/ 10431999 h 15035524"/>
                <a:gd name="connsiteX8" fmla="*/ 15195097 w 26554741"/>
                <a:gd name="connsiteY8" fmla="*/ 10093742 h 15035524"/>
                <a:gd name="connsiteX9" fmla="*/ 15011380 w 26554741"/>
                <a:gd name="connsiteY9" fmla="*/ 11048592 h 15035524"/>
                <a:gd name="connsiteX10" fmla="*/ 14908430 w 26554741"/>
                <a:gd name="connsiteY10" fmla="*/ 11937487 h 15035524"/>
                <a:gd name="connsiteX11" fmla="*/ 14904684 w 26554741"/>
                <a:gd name="connsiteY11" fmla="*/ 12760926 h 15035524"/>
                <a:gd name="connsiteX12" fmla="*/ 14929927 w 26554741"/>
                <a:gd name="connsiteY12" fmla="*/ 14391846 h 15035524"/>
                <a:gd name="connsiteX13" fmla="*/ 12952786 w 26554741"/>
                <a:gd name="connsiteY13" fmla="*/ 14842599 h 15035524"/>
                <a:gd name="connsiteX14" fmla="*/ 11934663 w 26554741"/>
                <a:gd name="connsiteY14" fmla="*/ 14890849 h 15035524"/>
                <a:gd name="connsiteX15" fmla="*/ 8506848 w 26554741"/>
                <a:gd name="connsiteY15" fmla="*/ 15035524 h 15035524"/>
                <a:gd name="connsiteX16" fmla="*/ 7985095 w 26554741"/>
                <a:gd name="connsiteY16" fmla="*/ 14390442 h 15035524"/>
                <a:gd name="connsiteX17" fmla="*/ 7400308 w 26554741"/>
                <a:gd name="connsiteY17" fmla="*/ 14360297 h 15035524"/>
                <a:gd name="connsiteX18" fmla="*/ 6972273 w 26554741"/>
                <a:gd name="connsiteY18" fmla="*/ 14631594 h 15035524"/>
                <a:gd name="connsiteX19" fmla="*/ 5181729 w 26554741"/>
                <a:gd name="connsiteY19" fmla="*/ 14547195 h 15035524"/>
                <a:gd name="connsiteX20" fmla="*/ 4397998 w 26554741"/>
                <a:gd name="connsiteY20" fmla="*/ 13914178 h 15035524"/>
                <a:gd name="connsiteX21" fmla="*/ 2908896 w 26554741"/>
                <a:gd name="connsiteY21" fmla="*/ 13106324 h 15035524"/>
                <a:gd name="connsiteX22" fmla="*/ 1263043 w 26554741"/>
                <a:gd name="connsiteY22" fmla="*/ 12394931 h 15035524"/>
                <a:gd name="connsiteX23" fmla="*/ 485320 w 26554741"/>
                <a:gd name="connsiteY23" fmla="*/ 11942774 h 15035524"/>
                <a:gd name="connsiteX24" fmla="*/ 0 w 26554741"/>
                <a:gd name="connsiteY24" fmla="*/ 11649662 h 15035524"/>
                <a:gd name="connsiteX25" fmla="*/ 1003686 w 26554741"/>
                <a:gd name="connsiteY25" fmla="*/ 10903697 h 15035524"/>
                <a:gd name="connsiteX26" fmla="*/ 2902551 w 26554741"/>
                <a:gd name="connsiteY26" fmla="*/ 9719298 h 15035524"/>
                <a:gd name="connsiteX27" fmla="*/ 2558940 w 26554741"/>
                <a:gd name="connsiteY27" fmla="*/ 9185867 h 15035524"/>
                <a:gd name="connsiteX28" fmla="*/ 2402508 w 26554741"/>
                <a:gd name="connsiteY28" fmla="*/ 8498784 h 15035524"/>
                <a:gd name="connsiteX29" fmla="*/ 2730740 w 26554741"/>
                <a:gd name="connsiteY29" fmla="*/ 8471613 h 15035524"/>
                <a:gd name="connsiteX30" fmla="*/ 2947754 w 26554741"/>
                <a:gd name="connsiteY30" fmla="*/ 8001468 h 15035524"/>
                <a:gd name="connsiteX31" fmla="*/ 3499325 w 26554741"/>
                <a:gd name="connsiteY31" fmla="*/ 7558451 h 15035524"/>
                <a:gd name="connsiteX32" fmla="*/ 3680166 w 26554741"/>
                <a:gd name="connsiteY32" fmla="*/ 6681453 h 15035524"/>
                <a:gd name="connsiteX33" fmla="*/ 4186528 w 26554741"/>
                <a:gd name="connsiteY33" fmla="*/ 6690489 h 15035524"/>
                <a:gd name="connsiteX34" fmla="*/ 4837569 w 26554741"/>
                <a:gd name="connsiteY34" fmla="*/ 7160639 h 15035524"/>
                <a:gd name="connsiteX35" fmla="*/ 5352976 w 26554741"/>
                <a:gd name="connsiteY35" fmla="*/ 7079272 h 15035524"/>
                <a:gd name="connsiteX36" fmla="*/ 5741786 w 26554741"/>
                <a:gd name="connsiteY36" fmla="*/ 6708577 h 15035524"/>
                <a:gd name="connsiteX37" fmla="*/ 6157723 w 26554741"/>
                <a:gd name="connsiteY37" fmla="*/ 6545836 h 15035524"/>
                <a:gd name="connsiteX38" fmla="*/ 6745471 w 26554741"/>
                <a:gd name="connsiteY38" fmla="*/ 5976243 h 15035524"/>
                <a:gd name="connsiteX39" fmla="*/ 6890140 w 26554741"/>
                <a:gd name="connsiteY39" fmla="*/ 5126367 h 15035524"/>
                <a:gd name="connsiteX40" fmla="*/ 7568305 w 26554741"/>
                <a:gd name="connsiteY40" fmla="*/ 4556773 h 15035524"/>
                <a:gd name="connsiteX41" fmla="*/ 8137967 w 26554741"/>
                <a:gd name="connsiteY41" fmla="*/ 4113752 h 15035524"/>
                <a:gd name="connsiteX42" fmla="*/ 8463480 w 26554741"/>
                <a:gd name="connsiteY42" fmla="*/ 3309085 h 15035524"/>
                <a:gd name="connsiteX43" fmla="*/ 9024093 w 26554741"/>
                <a:gd name="connsiteY43" fmla="*/ 2956478 h 15035524"/>
                <a:gd name="connsiteX44" fmla="*/ 9675138 w 26554741"/>
                <a:gd name="connsiteY44" fmla="*/ 2603876 h 15035524"/>
                <a:gd name="connsiteX45" fmla="*/ 9558580 w 26554741"/>
                <a:gd name="connsiteY45" fmla="*/ 2055592 h 15035524"/>
                <a:gd name="connsiteX46" fmla="*/ 10353296 w 26554741"/>
                <a:gd name="connsiteY46" fmla="*/ 1383308 h 15035524"/>
                <a:gd name="connsiteX47" fmla="*/ 10832530 w 26554741"/>
                <a:gd name="connsiteY47" fmla="*/ 1310974 h 15035524"/>
                <a:gd name="connsiteX48" fmla="*/ 11058585 w 26554741"/>
                <a:gd name="connsiteY48" fmla="*/ 1763043 h 15035524"/>
                <a:gd name="connsiteX49" fmla="*/ 11411229 w 26554741"/>
                <a:gd name="connsiteY49" fmla="*/ 2142774 h 15035524"/>
                <a:gd name="connsiteX50" fmla="*/ 11998974 w 26554741"/>
                <a:gd name="connsiteY50" fmla="*/ 2224144 h 15035524"/>
                <a:gd name="connsiteX51" fmla="*/ 12315449 w 26554741"/>
                <a:gd name="connsiteY51" fmla="*/ 2884156 h 15035524"/>
                <a:gd name="connsiteX52" fmla="*/ 12785642 w 26554741"/>
                <a:gd name="connsiteY52" fmla="*/ 2703327 h 15035524"/>
                <a:gd name="connsiteX53" fmla="*/ 13671776 w 26554741"/>
                <a:gd name="connsiteY53" fmla="*/ 3155388 h 15035524"/>
                <a:gd name="connsiteX54" fmla="*/ 14123886 w 26554741"/>
                <a:gd name="connsiteY54" fmla="*/ 2857035 h 15035524"/>
                <a:gd name="connsiteX55" fmla="*/ 14259509 w 26554741"/>
                <a:gd name="connsiteY55" fmla="*/ 2287434 h 15035524"/>
                <a:gd name="connsiteX56" fmla="*/ 14892468 w 26554741"/>
                <a:gd name="connsiteY56" fmla="*/ 1645503 h 15035524"/>
                <a:gd name="connsiteX57" fmla="*/ 15778605 w 26554741"/>
                <a:gd name="connsiteY57" fmla="*/ 1093983 h 15035524"/>
                <a:gd name="connsiteX58" fmla="*/ 16022739 w 26554741"/>
                <a:gd name="connsiteY58" fmla="*/ 1564133 h 15035524"/>
                <a:gd name="connsiteX59" fmla="*/ 16556232 w 26554741"/>
                <a:gd name="connsiteY59" fmla="*/ 2142785 h 15035524"/>
                <a:gd name="connsiteX60" fmla="*/ 17406193 w 26554741"/>
                <a:gd name="connsiteY60" fmla="*/ 1292897 h 15035524"/>
                <a:gd name="connsiteX61" fmla="*/ 18120524 w 26554741"/>
                <a:gd name="connsiteY61" fmla="*/ 714260 h 15035524"/>
                <a:gd name="connsiteX62" fmla="*/ 18744437 w 26554741"/>
                <a:gd name="connsiteY62" fmla="*/ -1 h 15035524"/>
                <a:gd name="connsiteX63" fmla="*/ 19982300 w 26554741"/>
                <a:gd name="connsiteY63" fmla="*/ 343465 h 15035524"/>
                <a:gd name="connsiteX64" fmla="*/ 19837609 w 26554741"/>
                <a:gd name="connsiteY64" fmla="*/ 1121173 h 15035524"/>
                <a:gd name="connsiteX65" fmla="*/ 21881359 w 26554741"/>
                <a:gd name="connsiteY65" fmla="*/ 1772279 h 15035524"/>
                <a:gd name="connsiteX66" fmla="*/ 21537712 w 26554741"/>
                <a:gd name="connsiteY66" fmla="*/ 2767023 h 15035524"/>
                <a:gd name="connsiteX67" fmla="*/ 22478203 w 26554741"/>
                <a:gd name="connsiteY67" fmla="*/ 2296774 h 15035524"/>
                <a:gd name="connsiteX68" fmla="*/ 23888932 w 26554741"/>
                <a:gd name="connsiteY68" fmla="*/ 1880797 h 15035524"/>
                <a:gd name="connsiteX69" fmla="*/ 25010275 w 26554741"/>
                <a:gd name="connsiteY69" fmla="*/ 578575 h 15035524"/>
                <a:gd name="connsiteX70" fmla="*/ 26402920 w 26554741"/>
                <a:gd name="connsiteY70" fmla="*/ 759442 h 15035524"/>
                <a:gd name="connsiteX71" fmla="*/ 26554742 w 26554741"/>
                <a:gd name="connsiteY71" fmla="*/ 1935039 h 15035524"/>
                <a:gd name="connsiteX72" fmla="*/ 25751806 w 26554741"/>
                <a:gd name="connsiteY72" fmla="*/ 3689425 h 15035524"/>
                <a:gd name="connsiteX0" fmla="*/ 25751806 w 26554741"/>
                <a:gd name="connsiteY0" fmla="*/ 3689425 h 15035524"/>
                <a:gd name="connsiteX1" fmla="*/ 25950755 w 26554741"/>
                <a:gd name="connsiteY1" fmla="*/ 4828850 h 15035524"/>
                <a:gd name="connsiteX2" fmla="*/ 26439085 w 26554741"/>
                <a:gd name="connsiteY2" fmla="*/ 5986362 h 15035524"/>
                <a:gd name="connsiteX3" fmla="*/ 16305649 w 26554741"/>
                <a:gd name="connsiteY3" fmla="*/ 8754550 h 15035524"/>
                <a:gd name="connsiteX4" fmla="*/ 16287189 w 26554741"/>
                <a:gd name="connsiteY4" fmla="*/ 9151157 h 15035524"/>
                <a:gd name="connsiteX5" fmla="*/ 16372801 w 26554741"/>
                <a:gd name="connsiteY5" fmla="*/ 9717422 h 15035524"/>
                <a:gd name="connsiteX6" fmla="*/ 16070155 w 26554741"/>
                <a:gd name="connsiteY6" fmla="*/ 9937808 h 15035524"/>
                <a:gd name="connsiteX7" fmla="*/ 15805690 w 26554741"/>
                <a:gd name="connsiteY7" fmla="*/ 10431999 h 15035524"/>
                <a:gd name="connsiteX8" fmla="*/ 15195097 w 26554741"/>
                <a:gd name="connsiteY8" fmla="*/ 10093742 h 15035524"/>
                <a:gd name="connsiteX9" fmla="*/ 15011380 w 26554741"/>
                <a:gd name="connsiteY9" fmla="*/ 11048592 h 15035524"/>
                <a:gd name="connsiteX10" fmla="*/ 14908430 w 26554741"/>
                <a:gd name="connsiteY10" fmla="*/ 11937487 h 15035524"/>
                <a:gd name="connsiteX11" fmla="*/ 14904684 w 26554741"/>
                <a:gd name="connsiteY11" fmla="*/ 12760926 h 15035524"/>
                <a:gd name="connsiteX12" fmla="*/ 14929927 w 26554741"/>
                <a:gd name="connsiteY12" fmla="*/ 14391846 h 15035524"/>
                <a:gd name="connsiteX13" fmla="*/ 12952786 w 26554741"/>
                <a:gd name="connsiteY13" fmla="*/ 14842599 h 15035524"/>
                <a:gd name="connsiteX14" fmla="*/ 11934663 w 26554741"/>
                <a:gd name="connsiteY14" fmla="*/ 14890849 h 15035524"/>
                <a:gd name="connsiteX15" fmla="*/ 8506848 w 26554741"/>
                <a:gd name="connsiteY15" fmla="*/ 15035524 h 15035524"/>
                <a:gd name="connsiteX16" fmla="*/ 7985095 w 26554741"/>
                <a:gd name="connsiteY16" fmla="*/ 14390442 h 15035524"/>
                <a:gd name="connsiteX17" fmla="*/ 7400308 w 26554741"/>
                <a:gd name="connsiteY17" fmla="*/ 14360297 h 15035524"/>
                <a:gd name="connsiteX18" fmla="*/ 6972273 w 26554741"/>
                <a:gd name="connsiteY18" fmla="*/ 14631594 h 15035524"/>
                <a:gd name="connsiteX19" fmla="*/ 5181729 w 26554741"/>
                <a:gd name="connsiteY19" fmla="*/ 14547195 h 15035524"/>
                <a:gd name="connsiteX20" fmla="*/ 4397998 w 26554741"/>
                <a:gd name="connsiteY20" fmla="*/ 13914178 h 15035524"/>
                <a:gd name="connsiteX21" fmla="*/ 2908896 w 26554741"/>
                <a:gd name="connsiteY21" fmla="*/ 13106324 h 15035524"/>
                <a:gd name="connsiteX22" fmla="*/ 1263043 w 26554741"/>
                <a:gd name="connsiteY22" fmla="*/ 12394931 h 15035524"/>
                <a:gd name="connsiteX23" fmla="*/ 485320 w 26554741"/>
                <a:gd name="connsiteY23" fmla="*/ 11942774 h 15035524"/>
                <a:gd name="connsiteX24" fmla="*/ 0 w 26554741"/>
                <a:gd name="connsiteY24" fmla="*/ 11649662 h 15035524"/>
                <a:gd name="connsiteX25" fmla="*/ 1003686 w 26554741"/>
                <a:gd name="connsiteY25" fmla="*/ 10903697 h 15035524"/>
                <a:gd name="connsiteX26" fmla="*/ 2902551 w 26554741"/>
                <a:gd name="connsiteY26" fmla="*/ 9719298 h 15035524"/>
                <a:gd name="connsiteX27" fmla="*/ 2558940 w 26554741"/>
                <a:gd name="connsiteY27" fmla="*/ 9185867 h 15035524"/>
                <a:gd name="connsiteX28" fmla="*/ 2402508 w 26554741"/>
                <a:gd name="connsiteY28" fmla="*/ 8498784 h 15035524"/>
                <a:gd name="connsiteX29" fmla="*/ 2730740 w 26554741"/>
                <a:gd name="connsiteY29" fmla="*/ 8471613 h 15035524"/>
                <a:gd name="connsiteX30" fmla="*/ 2947754 w 26554741"/>
                <a:gd name="connsiteY30" fmla="*/ 8001468 h 15035524"/>
                <a:gd name="connsiteX31" fmla="*/ 3499325 w 26554741"/>
                <a:gd name="connsiteY31" fmla="*/ 7558451 h 15035524"/>
                <a:gd name="connsiteX32" fmla="*/ 3680166 w 26554741"/>
                <a:gd name="connsiteY32" fmla="*/ 6681453 h 15035524"/>
                <a:gd name="connsiteX33" fmla="*/ 4186528 w 26554741"/>
                <a:gd name="connsiteY33" fmla="*/ 6690489 h 15035524"/>
                <a:gd name="connsiteX34" fmla="*/ 4837569 w 26554741"/>
                <a:gd name="connsiteY34" fmla="*/ 7160639 h 15035524"/>
                <a:gd name="connsiteX35" fmla="*/ 5352976 w 26554741"/>
                <a:gd name="connsiteY35" fmla="*/ 7079272 h 15035524"/>
                <a:gd name="connsiteX36" fmla="*/ 5741786 w 26554741"/>
                <a:gd name="connsiteY36" fmla="*/ 6708577 h 15035524"/>
                <a:gd name="connsiteX37" fmla="*/ 6157723 w 26554741"/>
                <a:gd name="connsiteY37" fmla="*/ 6545836 h 15035524"/>
                <a:gd name="connsiteX38" fmla="*/ 6745471 w 26554741"/>
                <a:gd name="connsiteY38" fmla="*/ 5976243 h 15035524"/>
                <a:gd name="connsiteX39" fmla="*/ 6890140 w 26554741"/>
                <a:gd name="connsiteY39" fmla="*/ 5126367 h 15035524"/>
                <a:gd name="connsiteX40" fmla="*/ 7568305 w 26554741"/>
                <a:gd name="connsiteY40" fmla="*/ 4556773 h 15035524"/>
                <a:gd name="connsiteX41" fmla="*/ 8137967 w 26554741"/>
                <a:gd name="connsiteY41" fmla="*/ 4113752 h 15035524"/>
                <a:gd name="connsiteX42" fmla="*/ 8463480 w 26554741"/>
                <a:gd name="connsiteY42" fmla="*/ 3309085 h 15035524"/>
                <a:gd name="connsiteX43" fmla="*/ 9024093 w 26554741"/>
                <a:gd name="connsiteY43" fmla="*/ 2956478 h 15035524"/>
                <a:gd name="connsiteX44" fmla="*/ 9675138 w 26554741"/>
                <a:gd name="connsiteY44" fmla="*/ 2603876 h 15035524"/>
                <a:gd name="connsiteX45" fmla="*/ 9558580 w 26554741"/>
                <a:gd name="connsiteY45" fmla="*/ 2055592 h 15035524"/>
                <a:gd name="connsiteX46" fmla="*/ 10353296 w 26554741"/>
                <a:gd name="connsiteY46" fmla="*/ 1383308 h 15035524"/>
                <a:gd name="connsiteX47" fmla="*/ 10832530 w 26554741"/>
                <a:gd name="connsiteY47" fmla="*/ 1310974 h 15035524"/>
                <a:gd name="connsiteX48" fmla="*/ 11058585 w 26554741"/>
                <a:gd name="connsiteY48" fmla="*/ 1763043 h 15035524"/>
                <a:gd name="connsiteX49" fmla="*/ 11411229 w 26554741"/>
                <a:gd name="connsiteY49" fmla="*/ 2142774 h 15035524"/>
                <a:gd name="connsiteX50" fmla="*/ 11998974 w 26554741"/>
                <a:gd name="connsiteY50" fmla="*/ 2224144 h 15035524"/>
                <a:gd name="connsiteX51" fmla="*/ 12315449 w 26554741"/>
                <a:gd name="connsiteY51" fmla="*/ 2884156 h 15035524"/>
                <a:gd name="connsiteX52" fmla="*/ 12785642 w 26554741"/>
                <a:gd name="connsiteY52" fmla="*/ 2703327 h 15035524"/>
                <a:gd name="connsiteX53" fmla="*/ 13671776 w 26554741"/>
                <a:gd name="connsiteY53" fmla="*/ 3155388 h 15035524"/>
                <a:gd name="connsiteX54" fmla="*/ 14123886 w 26554741"/>
                <a:gd name="connsiteY54" fmla="*/ 2857035 h 15035524"/>
                <a:gd name="connsiteX55" fmla="*/ 14259509 w 26554741"/>
                <a:gd name="connsiteY55" fmla="*/ 2287434 h 15035524"/>
                <a:gd name="connsiteX56" fmla="*/ 14892468 w 26554741"/>
                <a:gd name="connsiteY56" fmla="*/ 1645503 h 15035524"/>
                <a:gd name="connsiteX57" fmla="*/ 15778605 w 26554741"/>
                <a:gd name="connsiteY57" fmla="*/ 1093983 h 15035524"/>
                <a:gd name="connsiteX58" fmla="*/ 16022739 w 26554741"/>
                <a:gd name="connsiteY58" fmla="*/ 1564133 h 15035524"/>
                <a:gd name="connsiteX59" fmla="*/ 16556232 w 26554741"/>
                <a:gd name="connsiteY59" fmla="*/ 2142785 h 15035524"/>
                <a:gd name="connsiteX60" fmla="*/ 17406193 w 26554741"/>
                <a:gd name="connsiteY60" fmla="*/ 1292897 h 15035524"/>
                <a:gd name="connsiteX61" fmla="*/ 18120524 w 26554741"/>
                <a:gd name="connsiteY61" fmla="*/ 714260 h 15035524"/>
                <a:gd name="connsiteX62" fmla="*/ 18744437 w 26554741"/>
                <a:gd name="connsiteY62" fmla="*/ -1 h 15035524"/>
                <a:gd name="connsiteX63" fmla="*/ 19982300 w 26554741"/>
                <a:gd name="connsiteY63" fmla="*/ 343465 h 15035524"/>
                <a:gd name="connsiteX64" fmla="*/ 19837609 w 26554741"/>
                <a:gd name="connsiteY64" fmla="*/ 1121173 h 15035524"/>
                <a:gd name="connsiteX65" fmla="*/ 21881359 w 26554741"/>
                <a:gd name="connsiteY65" fmla="*/ 1772279 h 15035524"/>
                <a:gd name="connsiteX66" fmla="*/ 21537712 w 26554741"/>
                <a:gd name="connsiteY66" fmla="*/ 2767023 h 15035524"/>
                <a:gd name="connsiteX67" fmla="*/ 22478203 w 26554741"/>
                <a:gd name="connsiteY67" fmla="*/ 2296774 h 15035524"/>
                <a:gd name="connsiteX68" fmla="*/ 23888932 w 26554741"/>
                <a:gd name="connsiteY68" fmla="*/ 1880797 h 15035524"/>
                <a:gd name="connsiteX69" fmla="*/ 25010275 w 26554741"/>
                <a:gd name="connsiteY69" fmla="*/ 578575 h 15035524"/>
                <a:gd name="connsiteX70" fmla="*/ 26402920 w 26554741"/>
                <a:gd name="connsiteY70" fmla="*/ 759442 h 15035524"/>
                <a:gd name="connsiteX71" fmla="*/ 26554742 w 26554741"/>
                <a:gd name="connsiteY71" fmla="*/ 1935039 h 15035524"/>
                <a:gd name="connsiteX72" fmla="*/ 25751806 w 26554741"/>
                <a:gd name="connsiteY72" fmla="*/ 3689425 h 15035524"/>
                <a:gd name="connsiteX0" fmla="*/ 25751806 w 26554741"/>
                <a:gd name="connsiteY0" fmla="*/ 3689425 h 15035524"/>
                <a:gd name="connsiteX1" fmla="*/ 25950755 w 26554741"/>
                <a:gd name="connsiteY1" fmla="*/ 4828850 h 15035524"/>
                <a:gd name="connsiteX2" fmla="*/ 15179740 w 26554741"/>
                <a:gd name="connsiteY2" fmla="*/ 7863038 h 15035524"/>
                <a:gd name="connsiteX3" fmla="*/ 16305649 w 26554741"/>
                <a:gd name="connsiteY3" fmla="*/ 8754550 h 15035524"/>
                <a:gd name="connsiteX4" fmla="*/ 16287189 w 26554741"/>
                <a:gd name="connsiteY4" fmla="*/ 9151157 h 15035524"/>
                <a:gd name="connsiteX5" fmla="*/ 16372801 w 26554741"/>
                <a:gd name="connsiteY5" fmla="*/ 9717422 h 15035524"/>
                <a:gd name="connsiteX6" fmla="*/ 16070155 w 26554741"/>
                <a:gd name="connsiteY6" fmla="*/ 9937808 h 15035524"/>
                <a:gd name="connsiteX7" fmla="*/ 15805690 w 26554741"/>
                <a:gd name="connsiteY7" fmla="*/ 10431999 h 15035524"/>
                <a:gd name="connsiteX8" fmla="*/ 15195097 w 26554741"/>
                <a:gd name="connsiteY8" fmla="*/ 10093742 h 15035524"/>
                <a:gd name="connsiteX9" fmla="*/ 15011380 w 26554741"/>
                <a:gd name="connsiteY9" fmla="*/ 11048592 h 15035524"/>
                <a:gd name="connsiteX10" fmla="*/ 14908430 w 26554741"/>
                <a:gd name="connsiteY10" fmla="*/ 11937487 h 15035524"/>
                <a:gd name="connsiteX11" fmla="*/ 14904684 w 26554741"/>
                <a:gd name="connsiteY11" fmla="*/ 12760926 h 15035524"/>
                <a:gd name="connsiteX12" fmla="*/ 14929927 w 26554741"/>
                <a:gd name="connsiteY12" fmla="*/ 14391846 h 15035524"/>
                <a:gd name="connsiteX13" fmla="*/ 12952786 w 26554741"/>
                <a:gd name="connsiteY13" fmla="*/ 14842599 h 15035524"/>
                <a:gd name="connsiteX14" fmla="*/ 11934663 w 26554741"/>
                <a:gd name="connsiteY14" fmla="*/ 14890849 h 15035524"/>
                <a:gd name="connsiteX15" fmla="*/ 8506848 w 26554741"/>
                <a:gd name="connsiteY15" fmla="*/ 15035524 h 15035524"/>
                <a:gd name="connsiteX16" fmla="*/ 7985095 w 26554741"/>
                <a:gd name="connsiteY16" fmla="*/ 14390442 h 15035524"/>
                <a:gd name="connsiteX17" fmla="*/ 7400308 w 26554741"/>
                <a:gd name="connsiteY17" fmla="*/ 14360297 h 15035524"/>
                <a:gd name="connsiteX18" fmla="*/ 6972273 w 26554741"/>
                <a:gd name="connsiteY18" fmla="*/ 14631594 h 15035524"/>
                <a:gd name="connsiteX19" fmla="*/ 5181729 w 26554741"/>
                <a:gd name="connsiteY19" fmla="*/ 14547195 h 15035524"/>
                <a:gd name="connsiteX20" fmla="*/ 4397998 w 26554741"/>
                <a:gd name="connsiteY20" fmla="*/ 13914178 h 15035524"/>
                <a:gd name="connsiteX21" fmla="*/ 2908896 w 26554741"/>
                <a:gd name="connsiteY21" fmla="*/ 13106324 h 15035524"/>
                <a:gd name="connsiteX22" fmla="*/ 1263043 w 26554741"/>
                <a:gd name="connsiteY22" fmla="*/ 12394931 h 15035524"/>
                <a:gd name="connsiteX23" fmla="*/ 485320 w 26554741"/>
                <a:gd name="connsiteY23" fmla="*/ 11942774 h 15035524"/>
                <a:gd name="connsiteX24" fmla="*/ 0 w 26554741"/>
                <a:gd name="connsiteY24" fmla="*/ 11649662 h 15035524"/>
                <a:gd name="connsiteX25" fmla="*/ 1003686 w 26554741"/>
                <a:gd name="connsiteY25" fmla="*/ 10903697 h 15035524"/>
                <a:gd name="connsiteX26" fmla="*/ 2902551 w 26554741"/>
                <a:gd name="connsiteY26" fmla="*/ 9719298 h 15035524"/>
                <a:gd name="connsiteX27" fmla="*/ 2558940 w 26554741"/>
                <a:gd name="connsiteY27" fmla="*/ 9185867 h 15035524"/>
                <a:gd name="connsiteX28" fmla="*/ 2402508 w 26554741"/>
                <a:gd name="connsiteY28" fmla="*/ 8498784 h 15035524"/>
                <a:gd name="connsiteX29" fmla="*/ 2730740 w 26554741"/>
                <a:gd name="connsiteY29" fmla="*/ 8471613 h 15035524"/>
                <a:gd name="connsiteX30" fmla="*/ 2947754 w 26554741"/>
                <a:gd name="connsiteY30" fmla="*/ 8001468 h 15035524"/>
                <a:gd name="connsiteX31" fmla="*/ 3499325 w 26554741"/>
                <a:gd name="connsiteY31" fmla="*/ 7558451 h 15035524"/>
                <a:gd name="connsiteX32" fmla="*/ 3680166 w 26554741"/>
                <a:gd name="connsiteY32" fmla="*/ 6681453 h 15035524"/>
                <a:gd name="connsiteX33" fmla="*/ 4186528 w 26554741"/>
                <a:gd name="connsiteY33" fmla="*/ 6690489 h 15035524"/>
                <a:gd name="connsiteX34" fmla="*/ 4837569 w 26554741"/>
                <a:gd name="connsiteY34" fmla="*/ 7160639 h 15035524"/>
                <a:gd name="connsiteX35" fmla="*/ 5352976 w 26554741"/>
                <a:gd name="connsiteY35" fmla="*/ 7079272 h 15035524"/>
                <a:gd name="connsiteX36" fmla="*/ 5741786 w 26554741"/>
                <a:gd name="connsiteY36" fmla="*/ 6708577 h 15035524"/>
                <a:gd name="connsiteX37" fmla="*/ 6157723 w 26554741"/>
                <a:gd name="connsiteY37" fmla="*/ 6545836 h 15035524"/>
                <a:gd name="connsiteX38" fmla="*/ 6745471 w 26554741"/>
                <a:gd name="connsiteY38" fmla="*/ 5976243 h 15035524"/>
                <a:gd name="connsiteX39" fmla="*/ 6890140 w 26554741"/>
                <a:gd name="connsiteY39" fmla="*/ 5126367 h 15035524"/>
                <a:gd name="connsiteX40" fmla="*/ 7568305 w 26554741"/>
                <a:gd name="connsiteY40" fmla="*/ 4556773 h 15035524"/>
                <a:gd name="connsiteX41" fmla="*/ 8137967 w 26554741"/>
                <a:gd name="connsiteY41" fmla="*/ 4113752 h 15035524"/>
                <a:gd name="connsiteX42" fmla="*/ 8463480 w 26554741"/>
                <a:gd name="connsiteY42" fmla="*/ 3309085 h 15035524"/>
                <a:gd name="connsiteX43" fmla="*/ 9024093 w 26554741"/>
                <a:gd name="connsiteY43" fmla="*/ 2956478 h 15035524"/>
                <a:gd name="connsiteX44" fmla="*/ 9675138 w 26554741"/>
                <a:gd name="connsiteY44" fmla="*/ 2603876 h 15035524"/>
                <a:gd name="connsiteX45" fmla="*/ 9558580 w 26554741"/>
                <a:gd name="connsiteY45" fmla="*/ 2055592 h 15035524"/>
                <a:gd name="connsiteX46" fmla="*/ 10353296 w 26554741"/>
                <a:gd name="connsiteY46" fmla="*/ 1383308 h 15035524"/>
                <a:gd name="connsiteX47" fmla="*/ 10832530 w 26554741"/>
                <a:gd name="connsiteY47" fmla="*/ 1310974 h 15035524"/>
                <a:gd name="connsiteX48" fmla="*/ 11058585 w 26554741"/>
                <a:gd name="connsiteY48" fmla="*/ 1763043 h 15035524"/>
                <a:gd name="connsiteX49" fmla="*/ 11411229 w 26554741"/>
                <a:gd name="connsiteY49" fmla="*/ 2142774 h 15035524"/>
                <a:gd name="connsiteX50" fmla="*/ 11998974 w 26554741"/>
                <a:gd name="connsiteY50" fmla="*/ 2224144 h 15035524"/>
                <a:gd name="connsiteX51" fmla="*/ 12315449 w 26554741"/>
                <a:gd name="connsiteY51" fmla="*/ 2884156 h 15035524"/>
                <a:gd name="connsiteX52" fmla="*/ 12785642 w 26554741"/>
                <a:gd name="connsiteY52" fmla="*/ 2703327 h 15035524"/>
                <a:gd name="connsiteX53" fmla="*/ 13671776 w 26554741"/>
                <a:gd name="connsiteY53" fmla="*/ 3155388 h 15035524"/>
                <a:gd name="connsiteX54" fmla="*/ 14123886 w 26554741"/>
                <a:gd name="connsiteY54" fmla="*/ 2857035 h 15035524"/>
                <a:gd name="connsiteX55" fmla="*/ 14259509 w 26554741"/>
                <a:gd name="connsiteY55" fmla="*/ 2287434 h 15035524"/>
                <a:gd name="connsiteX56" fmla="*/ 14892468 w 26554741"/>
                <a:gd name="connsiteY56" fmla="*/ 1645503 h 15035524"/>
                <a:gd name="connsiteX57" fmla="*/ 15778605 w 26554741"/>
                <a:gd name="connsiteY57" fmla="*/ 1093983 h 15035524"/>
                <a:gd name="connsiteX58" fmla="*/ 16022739 w 26554741"/>
                <a:gd name="connsiteY58" fmla="*/ 1564133 h 15035524"/>
                <a:gd name="connsiteX59" fmla="*/ 16556232 w 26554741"/>
                <a:gd name="connsiteY59" fmla="*/ 2142785 h 15035524"/>
                <a:gd name="connsiteX60" fmla="*/ 17406193 w 26554741"/>
                <a:gd name="connsiteY60" fmla="*/ 1292897 h 15035524"/>
                <a:gd name="connsiteX61" fmla="*/ 18120524 w 26554741"/>
                <a:gd name="connsiteY61" fmla="*/ 714260 h 15035524"/>
                <a:gd name="connsiteX62" fmla="*/ 18744437 w 26554741"/>
                <a:gd name="connsiteY62" fmla="*/ -1 h 15035524"/>
                <a:gd name="connsiteX63" fmla="*/ 19982300 w 26554741"/>
                <a:gd name="connsiteY63" fmla="*/ 343465 h 15035524"/>
                <a:gd name="connsiteX64" fmla="*/ 19837609 w 26554741"/>
                <a:gd name="connsiteY64" fmla="*/ 1121173 h 15035524"/>
                <a:gd name="connsiteX65" fmla="*/ 21881359 w 26554741"/>
                <a:gd name="connsiteY65" fmla="*/ 1772279 h 15035524"/>
                <a:gd name="connsiteX66" fmla="*/ 21537712 w 26554741"/>
                <a:gd name="connsiteY66" fmla="*/ 2767023 h 15035524"/>
                <a:gd name="connsiteX67" fmla="*/ 22478203 w 26554741"/>
                <a:gd name="connsiteY67" fmla="*/ 2296774 h 15035524"/>
                <a:gd name="connsiteX68" fmla="*/ 23888932 w 26554741"/>
                <a:gd name="connsiteY68" fmla="*/ 1880797 h 15035524"/>
                <a:gd name="connsiteX69" fmla="*/ 25010275 w 26554741"/>
                <a:gd name="connsiteY69" fmla="*/ 578575 h 15035524"/>
                <a:gd name="connsiteX70" fmla="*/ 26402920 w 26554741"/>
                <a:gd name="connsiteY70" fmla="*/ 759442 h 15035524"/>
                <a:gd name="connsiteX71" fmla="*/ 26554742 w 26554741"/>
                <a:gd name="connsiteY71" fmla="*/ 1935039 h 15035524"/>
                <a:gd name="connsiteX72" fmla="*/ 25751806 w 26554741"/>
                <a:gd name="connsiteY72" fmla="*/ 3689425 h 15035524"/>
                <a:gd name="connsiteX0" fmla="*/ 25751806 w 26554741"/>
                <a:gd name="connsiteY0" fmla="*/ 3689425 h 15035524"/>
                <a:gd name="connsiteX1" fmla="*/ 25950755 w 26554741"/>
                <a:gd name="connsiteY1" fmla="*/ 4828850 h 15035524"/>
                <a:gd name="connsiteX2" fmla="*/ 16106317 w 26554741"/>
                <a:gd name="connsiteY2" fmla="*/ 8367221 h 15035524"/>
                <a:gd name="connsiteX3" fmla="*/ 16305649 w 26554741"/>
                <a:gd name="connsiteY3" fmla="*/ 8754550 h 15035524"/>
                <a:gd name="connsiteX4" fmla="*/ 16287189 w 26554741"/>
                <a:gd name="connsiteY4" fmla="*/ 9151157 h 15035524"/>
                <a:gd name="connsiteX5" fmla="*/ 16372801 w 26554741"/>
                <a:gd name="connsiteY5" fmla="*/ 9717422 h 15035524"/>
                <a:gd name="connsiteX6" fmla="*/ 16070155 w 26554741"/>
                <a:gd name="connsiteY6" fmla="*/ 9937808 h 15035524"/>
                <a:gd name="connsiteX7" fmla="*/ 15805690 w 26554741"/>
                <a:gd name="connsiteY7" fmla="*/ 10431999 h 15035524"/>
                <a:gd name="connsiteX8" fmla="*/ 15195097 w 26554741"/>
                <a:gd name="connsiteY8" fmla="*/ 10093742 h 15035524"/>
                <a:gd name="connsiteX9" fmla="*/ 15011380 w 26554741"/>
                <a:gd name="connsiteY9" fmla="*/ 11048592 h 15035524"/>
                <a:gd name="connsiteX10" fmla="*/ 14908430 w 26554741"/>
                <a:gd name="connsiteY10" fmla="*/ 11937487 h 15035524"/>
                <a:gd name="connsiteX11" fmla="*/ 14904684 w 26554741"/>
                <a:gd name="connsiteY11" fmla="*/ 12760926 h 15035524"/>
                <a:gd name="connsiteX12" fmla="*/ 14929927 w 26554741"/>
                <a:gd name="connsiteY12" fmla="*/ 14391846 h 15035524"/>
                <a:gd name="connsiteX13" fmla="*/ 12952786 w 26554741"/>
                <a:gd name="connsiteY13" fmla="*/ 14842599 h 15035524"/>
                <a:gd name="connsiteX14" fmla="*/ 11934663 w 26554741"/>
                <a:gd name="connsiteY14" fmla="*/ 14890849 h 15035524"/>
                <a:gd name="connsiteX15" fmla="*/ 8506848 w 26554741"/>
                <a:gd name="connsiteY15" fmla="*/ 15035524 h 15035524"/>
                <a:gd name="connsiteX16" fmla="*/ 7985095 w 26554741"/>
                <a:gd name="connsiteY16" fmla="*/ 14390442 h 15035524"/>
                <a:gd name="connsiteX17" fmla="*/ 7400308 w 26554741"/>
                <a:gd name="connsiteY17" fmla="*/ 14360297 h 15035524"/>
                <a:gd name="connsiteX18" fmla="*/ 6972273 w 26554741"/>
                <a:gd name="connsiteY18" fmla="*/ 14631594 h 15035524"/>
                <a:gd name="connsiteX19" fmla="*/ 5181729 w 26554741"/>
                <a:gd name="connsiteY19" fmla="*/ 14547195 h 15035524"/>
                <a:gd name="connsiteX20" fmla="*/ 4397998 w 26554741"/>
                <a:gd name="connsiteY20" fmla="*/ 13914178 h 15035524"/>
                <a:gd name="connsiteX21" fmla="*/ 2908896 w 26554741"/>
                <a:gd name="connsiteY21" fmla="*/ 13106324 h 15035524"/>
                <a:gd name="connsiteX22" fmla="*/ 1263043 w 26554741"/>
                <a:gd name="connsiteY22" fmla="*/ 12394931 h 15035524"/>
                <a:gd name="connsiteX23" fmla="*/ 485320 w 26554741"/>
                <a:gd name="connsiteY23" fmla="*/ 11942774 h 15035524"/>
                <a:gd name="connsiteX24" fmla="*/ 0 w 26554741"/>
                <a:gd name="connsiteY24" fmla="*/ 11649662 h 15035524"/>
                <a:gd name="connsiteX25" fmla="*/ 1003686 w 26554741"/>
                <a:gd name="connsiteY25" fmla="*/ 10903697 h 15035524"/>
                <a:gd name="connsiteX26" fmla="*/ 2902551 w 26554741"/>
                <a:gd name="connsiteY26" fmla="*/ 9719298 h 15035524"/>
                <a:gd name="connsiteX27" fmla="*/ 2558940 w 26554741"/>
                <a:gd name="connsiteY27" fmla="*/ 9185867 h 15035524"/>
                <a:gd name="connsiteX28" fmla="*/ 2402508 w 26554741"/>
                <a:gd name="connsiteY28" fmla="*/ 8498784 h 15035524"/>
                <a:gd name="connsiteX29" fmla="*/ 2730740 w 26554741"/>
                <a:gd name="connsiteY29" fmla="*/ 8471613 h 15035524"/>
                <a:gd name="connsiteX30" fmla="*/ 2947754 w 26554741"/>
                <a:gd name="connsiteY30" fmla="*/ 8001468 h 15035524"/>
                <a:gd name="connsiteX31" fmla="*/ 3499325 w 26554741"/>
                <a:gd name="connsiteY31" fmla="*/ 7558451 h 15035524"/>
                <a:gd name="connsiteX32" fmla="*/ 3680166 w 26554741"/>
                <a:gd name="connsiteY32" fmla="*/ 6681453 h 15035524"/>
                <a:gd name="connsiteX33" fmla="*/ 4186528 w 26554741"/>
                <a:gd name="connsiteY33" fmla="*/ 6690489 h 15035524"/>
                <a:gd name="connsiteX34" fmla="*/ 4837569 w 26554741"/>
                <a:gd name="connsiteY34" fmla="*/ 7160639 h 15035524"/>
                <a:gd name="connsiteX35" fmla="*/ 5352976 w 26554741"/>
                <a:gd name="connsiteY35" fmla="*/ 7079272 h 15035524"/>
                <a:gd name="connsiteX36" fmla="*/ 5741786 w 26554741"/>
                <a:gd name="connsiteY36" fmla="*/ 6708577 h 15035524"/>
                <a:gd name="connsiteX37" fmla="*/ 6157723 w 26554741"/>
                <a:gd name="connsiteY37" fmla="*/ 6545836 h 15035524"/>
                <a:gd name="connsiteX38" fmla="*/ 6745471 w 26554741"/>
                <a:gd name="connsiteY38" fmla="*/ 5976243 h 15035524"/>
                <a:gd name="connsiteX39" fmla="*/ 6890140 w 26554741"/>
                <a:gd name="connsiteY39" fmla="*/ 5126367 h 15035524"/>
                <a:gd name="connsiteX40" fmla="*/ 7568305 w 26554741"/>
                <a:gd name="connsiteY40" fmla="*/ 4556773 h 15035524"/>
                <a:gd name="connsiteX41" fmla="*/ 8137967 w 26554741"/>
                <a:gd name="connsiteY41" fmla="*/ 4113752 h 15035524"/>
                <a:gd name="connsiteX42" fmla="*/ 8463480 w 26554741"/>
                <a:gd name="connsiteY42" fmla="*/ 3309085 h 15035524"/>
                <a:gd name="connsiteX43" fmla="*/ 9024093 w 26554741"/>
                <a:gd name="connsiteY43" fmla="*/ 2956478 h 15035524"/>
                <a:gd name="connsiteX44" fmla="*/ 9675138 w 26554741"/>
                <a:gd name="connsiteY44" fmla="*/ 2603876 h 15035524"/>
                <a:gd name="connsiteX45" fmla="*/ 9558580 w 26554741"/>
                <a:gd name="connsiteY45" fmla="*/ 2055592 h 15035524"/>
                <a:gd name="connsiteX46" fmla="*/ 10353296 w 26554741"/>
                <a:gd name="connsiteY46" fmla="*/ 1383308 h 15035524"/>
                <a:gd name="connsiteX47" fmla="*/ 10832530 w 26554741"/>
                <a:gd name="connsiteY47" fmla="*/ 1310974 h 15035524"/>
                <a:gd name="connsiteX48" fmla="*/ 11058585 w 26554741"/>
                <a:gd name="connsiteY48" fmla="*/ 1763043 h 15035524"/>
                <a:gd name="connsiteX49" fmla="*/ 11411229 w 26554741"/>
                <a:gd name="connsiteY49" fmla="*/ 2142774 h 15035524"/>
                <a:gd name="connsiteX50" fmla="*/ 11998974 w 26554741"/>
                <a:gd name="connsiteY50" fmla="*/ 2224144 h 15035524"/>
                <a:gd name="connsiteX51" fmla="*/ 12315449 w 26554741"/>
                <a:gd name="connsiteY51" fmla="*/ 2884156 h 15035524"/>
                <a:gd name="connsiteX52" fmla="*/ 12785642 w 26554741"/>
                <a:gd name="connsiteY52" fmla="*/ 2703327 h 15035524"/>
                <a:gd name="connsiteX53" fmla="*/ 13671776 w 26554741"/>
                <a:gd name="connsiteY53" fmla="*/ 3155388 h 15035524"/>
                <a:gd name="connsiteX54" fmla="*/ 14123886 w 26554741"/>
                <a:gd name="connsiteY54" fmla="*/ 2857035 h 15035524"/>
                <a:gd name="connsiteX55" fmla="*/ 14259509 w 26554741"/>
                <a:gd name="connsiteY55" fmla="*/ 2287434 h 15035524"/>
                <a:gd name="connsiteX56" fmla="*/ 14892468 w 26554741"/>
                <a:gd name="connsiteY56" fmla="*/ 1645503 h 15035524"/>
                <a:gd name="connsiteX57" fmla="*/ 15778605 w 26554741"/>
                <a:gd name="connsiteY57" fmla="*/ 1093983 h 15035524"/>
                <a:gd name="connsiteX58" fmla="*/ 16022739 w 26554741"/>
                <a:gd name="connsiteY58" fmla="*/ 1564133 h 15035524"/>
                <a:gd name="connsiteX59" fmla="*/ 16556232 w 26554741"/>
                <a:gd name="connsiteY59" fmla="*/ 2142785 h 15035524"/>
                <a:gd name="connsiteX60" fmla="*/ 17406193 w 26554741"/>
                <a:gd name="connsiteY60" fmla="*/ 1292897 h 15035524"/>
                <a:gd name="connsiteX61" fmla="*/ 18120524 w 26554741"/>
                <a:gd name="connsiteY61" fmla="*/ 714260 h 15035524"/>
                <a:gd name="connsiteX62" fmla="*/ 18744437 w 26554741"/>
                <a:gd name="connsiteY62" fmla="*/ -1 h 15035524"/>
                <a:gd name="connsiteX63" fmla="*/ 19982300 w 26554741"/>
                <a:gd name="connsiteY63" fmla="*/ 343465 h 15035524"/>
                <a:gd name="connsiteX64" fmla="*/ 19837609 w 26554741"/>
                <a:gd name="connsiteY64" fmla="*/ 1121173 h 15035524"/>
                <a:gd name="connsiteX65" fmla="*/ 21881359 w 26554741"/>
                <a:gd name="connsiteY65" fmla="*/ 1772279 h 15035524"/>
                <a:gd name="connsiteX66" fmla="*/ 21537712 w 26554741"/>
                <a:gd name="connsiteY66" fmla="*/ 2767023 h 15035524"/>
                <a:gd name="connsiteX67" fmla="*/ 22478203 w 26554741"/>
                <a:gd name="connsiteY67" fmla="*/ 2296774 h 15035524"/>
                <a:gd name="connsiteX68" fmla="*/ 23888932 w 26554741"/>
                <a:gd name="connsiteY68" fmla="*/ 1880797 h 15035524"/>
                <a:gd name="connsiteX69" fmla="*/ 25010275 w 26554741"/>
                <a:gd name="connsiteY69" fmla="*/ 578575 h 15035524"/>
                <a:gd name="connsiteX70" fmla="*/ 26402920 w 26554741"/>
                <a:gd name="connsiteY70" fmla="*/ 759442 h 15035524"/>
                <a:gd name="connsiteX71" fmla="*/ 26554742 w 26554741"/>
                <a:gd name="connsiteY71" fmla="*/ 1935039 h 15035524"/>
                <a:gd name="connsiteX72" fmla="*/ 25751806 w 26554741"/>
                <a:gd name="connsiteY72" fmla="*/ 3689425 h 15035524"/>
                <a:gd name="connsiteX0" fmla="*/ 25751806 w 26554741"/>
                <a:gd name="connsiteY0" fmla="*/ 3689425 h 15035524"/>
                <a:gd name="connsiteX1" fmla="*/ 15505685 w 26554741"/>
                <a:gd name="connsiteY1" fmla="*/ 7181691 h 15035524"/>
                <a:gd name="connsiteX2" fmla="*/ 16106317 w 26554741"/>
                <a:gd name="connsiteY2" fmla="*/ 8367221 h 15035524"/>
                <a:gd name="connsiteX3" fmla="*/ 16305649 w 26554741"/>
                <a:gd name="connsiteY3" fmla="*/ 8754550 h 15035524"/>
                <a:gd name="connsiteX4" fmla="*/ 16287189 w 26554741"/>
                <a:gd name="connsiteY4" fmla="*/ 9151157 h 15035524"/>
                <a:gd name="connsiteX5" fmla="*/ 16372801 w 26554741"/>
                <a:gd name="connsiteY5" fmla="*/ 9717422 h 15035524"/>
                <a:gd name="connsiteX6" fmla="*/ 16070155 w 26554741"/>
                <a:gd name="connsiteY6" fmla="*/ 9937808 h 15035524"/>
                <a:gd name="connsiteX7" fmla="*/ 15805690 w 26554741"/>
                <a:gd name="connsiteY7" fmla="*/ 10431999 h 15035524"/>
                <a:gd name="connsiteX8" fmla="*/ 15195097 w 26554741"/>
                <a:gd name="connsiteY8" fmla="*/ 10093742 h 15035524"/>
                <a:gd name="connsiteX9" fmla="*/ 15011380 w 26554741"/>
                <a:gd name="connsiteY9" fmla="*/ 11048592 h 15035524"/>
                <a:gd name="connsiteX10" fmla="*/ 14908430 w 26554741"/>
                <a:gd name="connsiteY10" fmla="*/ 11937487 h 15035524"/>
                <a:gd name="connsiteX11" fmla="*/ 14904684 w 26554741"/>
                <a:gd name="connsiteY11" fmla="*/ 12760926 h 15035524"/>
                <a:gd name="connsiteX12" fmla="*/ 14929927 w 26554741"/>
                <a:gd name="connsiteY12" fmla="*/ 14391846 h 15035524"/>
                <a:gd name="connsiteX13" fmla="*/ 12952786 w 26554741"/>
                <a:gd name="connsiteY13" fmla="*/ 14842599 h 15035524"/>
                <a:gd name="connsiteX14" fmla="*/ 11934663 w 26554741"/>
                <a:gd name="connsiteY14" fmla="*/ 14890849 h 15035524"/>
                <a:gd name="connsiteX15" fmla="*/ 8506848 w 26554741"/>
                <a:gd name="connsiteY15" fmla="*/ 15035524 h 15035524"/>
                <a:gd name="connsiteX16" fmla="*/ 7985095 w 26554741"/>
                <a:gd name="connsiteY16" fmla="*/ 14390442 h 15035524"/>
                <a:gd name="connsiteX17" fmla="*/ 7400308 w 26554741"/>
                <a:gd name="connsiteY17" fmla="*/ 14360297 h 15035524"/>
                <a:gd name="connsiteX18" fmla="*/ 6972273 w 26554741"/>
                <a:gd name="connsiteY18" fmla="*/ 14631594 h 15035524"/>
                <a:gd name="connsiteX19" fmla="*/ 5181729 w 26554741"/>
                <a:gd name="connsiteY19" fmla="*/ 14547195 h 15035524"/>
                <a:gd name="connsiteX20" fmla="*/ 4397998 w 26554741"/>
                <a:gd name="connsiteY20" fmla="*/ 13914178 h 15035524"/>
                <a:gd name="connsiteX21" fmla="*/ 2908896 w 26554741"/>
                <a:gd name="connsiteY21" fmla="*/ 13106324 h 15035524"/>
                <a:gd name="connsiteX22" fmla="*/ 1263043 w 26554741"/>
                <a:gd name="connsiteY22" fmla="*/ 12394931 h 15035524"/>
                <a:gd name="connsiteX23" fmla="*/ 485320 w 26554741"/>
                <a:gd name="connsiteY23" fmla="*/ 11942774 h 15035524"/>
                <a:gd name="connsiteX24" fmla="*/ 0 w 26554741"/>
                <a:gd name="connsiteY24" fmla="*/ 11649662 h 15035524"/>
                <a:gd name="connsiteX25" fmla="*/ 1003686 w 26554741"/>
                <a:gd name="connsiteY25" fmla="*/ 10903697 h 15035524"/>
                <a:gd name="connsiteX26" fmla="*/ 2902551 w 26554741"/>
                <a:gd name="connsiteY26" fmla="*/ 9719298 h 15035524"/>
                <a:gd name="connsiteX27" fmla="*/ 2558940 w 26554741"/>
                <a:gd name="connsiteY27" fmla="*/ 9185867 h 15035524"/>
                <a:gd name="connsiteX28" fmla="*/ 2402508 w 26554741"/>
                <a:gd name="connsiteY28" fmla="*/ 8498784 h 15035524"/>
                <a:gd name="connsiteX29" fmla="*/ 2730740 w 26554741"/>
                <a:gd name="connsiteY29" fmla="*/ 8471613 h 15035524"/>
                <a:gd name="connsiteX30" fmla="*/ 2947754 w 26554741"/>
                <a:gd name="connsiteY30" fmla="*/ 8001468 h 15035524"/>
                <a:gd name="connsiteX31" fmla="*/ 3499325 w 26554741"/>
                <a:gd name="connsiteY31" fmla="*/ 7558451 h 15035524"/>
                <a:gd name="connsiteX32" fmla="*/ 3680166 w 26554741"/>
                <a:gd name="connsiteY32" fmla="*/ 6681453 h 15035524"/>
                <a:gd name="connsiteX33" fmla="*/ 4186528 w 26554741"/>
                <a:gd name="connsiteY33" fmla="*/ 6690489 h 15035524"/>
                <a:gd name="connsiteX34" fmla="*/ 4837569 w 26554741"/>
                <a:gd name="connsiteY34" fmla="*/ 7160639 h 15035524"/>
                <a:gd name="connsiteX35" fmla="*/ 5352976 w 26554741"/>
                <a:gd name="connsiteY35" fmla="*/ 7079272 h 15035524"/>
                <a:gd name="connsiteX36" fmla="*/ 5741786 w 26554741"/>
                <a:gd name="connsiteY36" fmla="*/ 6708577 h 15035524"/>
                <a:gd name="connsiteX37" fmla="*/ 6157723 w 26554741"/>
                <a:gd name="connsiteY37" fmla="*/ 6545836 h 15035524"/>
                <a:gd name="connsiteX38" fmla="*/ 6745471 w 26554741"/>
                <a:gd name="connsiteY38" fmla="*/ 5976243 h 15035524"/>
                <a:gd name="connsiteX39" fmla="*/ 6890140 w 26554741"/>
                <a:gd name="connsiteY39" fmla="*/ 5126367 h 15035524"/>
                <a:gd name="connsiteX40" fmla="*/ 7568305 w 26554741"/>
                <a:gd name="connsiteY40" fmla="*/ 4556773 h 15035524"/>
                <a:gd name="connsiteX41" fmla="*/ 8137967 w 26554741"/>
                <a:gd name="connsiteY41" fmla="*/ 4113752 h 15035524"/>
                <a:gd name="connsiteX42" fmla="*/ 8463480 w 26554741"/>
                <a:gd name="connsiteY42" fmla="*/ 3309085 h 15035524"/>
                <a:gd name="connsiteX43" fmla="*/ 9024093 w 26554741"/>
                <a:gd name="connsiteY43" fmla="*/ 2956478 h 15035524"/>
                <a:gd name="connsiteX44" fmla="*/ 9675138 w 26554741"/>
                <a:gd name="connsiteY44" fmla="*/ 2603876 h 15035524"/>
                <a:gd name="connsiteX45" fmla="*/ 9558580 w 26554741"/>
                <a:gd name="connsiteY45" fmla="*/ 2055592 h 15035524"/>
                <a:gd name="connsiteX46" fmla="*/ 10353296 w 26554741"/>
                <a:gd name="connsiteY46" fmla="*/ 1383308 h 15035524"/>
                <a:gd name="connsiteX47" fmla="*/ 10832530 w 26554741"/>
                <a:gd name="connsiteY47" fmla="*/ 1310974 h 15035524"/>
                <a:gd name="connsiteX48" fmla="*/ 11058585 w 26554741"/>
                <a:gd name="connsiteY48" fmla="*/ 1763043 h 15035524"/>
                <a:gd name="connsiteX49" fmla="*/ 11411229 w 26554741"/>
                <a:gd name="connsiteY49" fmla="*/ 2142774 h 15035524"/>
                <a:gd name="connsiteX50" fmla="*/ 11998974 w 26554741"/>
                <a:gd name="connsiteY50" fmla="*/ 2224144 h 15035524"/>
                <a:gd name="connsiteX51" fmla="*/ 12315449 w 26554741"/>
                <a:gd name="connsiteY51" fmla="*/ 2884156 h 15035524"/>
                <a:gd name="connsiteX52" fmla="*/ 12785642 w 26554741"/>
                <a:gd name="connsiteY52" fmla="*/ 2703327 h 15035524"/>
                <a:gd name="connsiteX53" fmla="*/ 13671776 w 26554741"/>
                <a:gd name="connsiteY53" fmla="*/ 3155388 h 15035524"/>
                <a:gd name="connsiteX54" fmla="*/ 14123886 w 26554741"/>
                <a:gd name="connsiteY54" fmla="*/ 2857035 h 15035524"/>
                <a:gd name="connsiteX55" fmla="*/ 14259509 w 26554741"/>
                <a:gd name="connsiteY55" fmla="*/ 2287434 h 15035524"/>
                <a:gd name="connsiteX56" fmla="*/ 14892468 w 26554741"/>
                <a:gd name="connsiteY56" fmla="*/ 1645503 h 15035524"/>
                <a:gd name="connsiteX57" fmla="*/ 15778605 w 26554741"/>
                <a:gd name="connsiteY57" fmla="*/ 1093983 h 15035524"/>
                <a:gd name="connsiteX58" fmla="*/ 16022739 w 26554741"/>
                <a:gd name="connsiteY58" fmla="*/ 1564133 h 15035524"/>
                <a:gd name="connsiteX59" fmla="*/ 16556232 w 26554741"/>
                <a:gd name="connsiteY59" fmla="*/ 2142785 h 15035524"/>
                <a:gd name="connsiteX60" fmla="*/ 17406193 w 26554741"/>
                <a:gd name="connsiteY60" fmla="*/ 1292897 h 15035524"/>
                <a:gd name="connsiteX61" fmla="*/ 18120524 w 26554741"/>
                <a:gd name="connsiteY61" fmla="*/ 714260 h 15035524"/>
                <a:gd name="connsiteX62" fmla="*/ 18744437 w 26554741"/>
                <a:gd name="connsiteY62" fmla="*/ -1 h 15035524"/>
                <a:gd name="connsiteX63" fmla="*/ 19982300 w 26554741"/>
                <a:gd name="connsiteY63" fmla="*/ 343465 h 15035524"/>
                <a:gd name="connsiteX64" fmla="*/ 19837609 w 26554741"/>
                <a:gd name="connsiteY64" fmla="*/ 1121173 h 15035524"/>
                <a:gd name="connsiteX65" fmla="*/ 21881359 w 26554741"/>
                <a:gd name="connsiteY65" fmla="*/ 1772279 h 15035524"/>
                <a:gd name="connsiteX66" fmla="*/ 21537712 w 26554741"/>
                <a:gd name="connsiteY66" fmla="*/ 2767023 h 15035524"/>
                <a:gd name="connsiteX67" fmla="*/ 22478203 w 26554741"/>
                <a:gd name="connsiteY67" fmla="*/ 2296774 h 15035524"/>
                <a:gd name="connsiteX68" fmla="*/ 23888932 w 26554741"/>
                <a:gd name="connsiteY68" fmla="*/ 1880797 h 15035524"/>
                <a:gd name="connsiteX69" fmla="*/ 25010275 w 26554741"/>
                <a:gd name="connsiteY69" fmla="*/ 578575 h 15035524"/>
                <a:gd name="connsiteX70" fmla="*/ 26402920 w 26554741"/>
                <a:gd name="connsiteY70" fmla="*/ 759442 h 15035524"/>
                <a:gd name="connsiteX71" fmla="*/ 26554742 w 26554741"/>
                <a:gd name="connsiteY71" fmla="*/ 1935039 h 15035524"/>
                <a:gd name="connsiteX72" fmla="*/ 25751806 w 26554741"/>
                <a:gd name="connsiteY72" fmla="*/ 3689425 h 15035524"/>
                <a:gd name="connsiteX0" fmla="*/ 25751806 w 26554741"/>
                <a:gd name="connsiteY0" fmla="*/ 3689425 h 15035524"/>
                <a:gd name="connsiteX1" fmla="*/ 16432262 w 26554741"/>
                <a:gd name="connsiteY1" fmla="*/ 7825917 h 15035524"/>
                <a:gd name="connsiteX2" fmla="*/ 16106317 w 26554741"/>
                <a:gd name="connsiteY2" fmla="*/ 8367221 h 15035524"/>
                <a:gd name="connsiteX3" fmla="*/ 16305649 w 26554741"/>
                <a:gd name="connsiteY3" fmla="*/ 8754550 h 15035524"/>
                <a:gd name="connsiteX4" fmla="*/ 16287189 w 26554741"/>
                <a:gd name="connsiteY4" fmla="*/ 9151157 h 15035524"/>
                <a:gd name="connsiteX5" fmla="*/ 16372801 w 26554741"/>
                <a:gd name="connsiteY5" fmla="*/ 9717422 h 15035524"/>
                <a:gd name="connsiteX6" fmla="*/ 16070155 w 26554741"/>
                <a:gd name="connsiteY6" fmla="*/ 9937808 h 15035524"/>
                <a:gd name="connsiteX7" fmla="*/ 15805690 w 26554741"/>
                <a:gd name="connsiteY7" fmla="*/ 10431999 h 15035524"/>
                <a:gd name="connsiteX8" fmla="*/ 15195097 w 26554741"/>
                <a:gd name="connsiteY8" fmla="*/ 10093742 h 15035524"/>
                <a:gd name="connsiteX9" fmla="*/ 15011380 w 26554741"/>
                <a:gd name="connsiteY9" fmla="*/ 11048592 h 15035524"/>
                <a:gd name="connsiteX10" fmla="*/ 14908430 w 26554741"/>
                <a:gd name="connsiteY10" fmla="*/ 11937487 h 15035524"/>
                <a:gd name="connsiteX11" fmla="*/ 14904684 w 26554741"/>
                <a:gd name="connsiteY11" fmla="*/ 12760926 h 15035524"/>
                <a:gd name="connsiteX12" fmla="*/ 14929927 w 26554741"/>
                <a:gd name="connsiteY12" fmla="*/ 14391846 h 15035524"/>
                <a:gd name="connsiteX13" fmla="*/ 12952786 w 26554741"/>
                <a:gd name="connsiteY13" fmla="*/ 14842599 h 15035524"/>
                <a:gd name="connsiteX14" fmla="*/ 11934663 w 26554741"/>
                <a:gd name="connsiteY14" fmla="*/ 14890849 h 15035524"/>
                <a:gd name="connsiteX15" fmla="*/ 8506848 w 26554741"/>
                <a:gd name="connsiteY15" fmla="*/ 15035524 h 15035524"/>
                <a:gd name="connsiteX16" fmla="*/ 7985095 w 26554741"/>
                <a:gd name="connsiteY16" fmla="*/ 14390442 h 15035524"/>
                <a:gd name="connsiteX17" fmla="*/ 7400308 w 26554741"/>
                <a:gd name="connsiteY17" fmla="*/ 14360297 h 15035524"/>
                <a:gd name="connsiteX18" fmla="*/ 6972273 w 26554741"/>
                <a:gd name="connsiteY18" fmla="*/ 14631594 h 15035524"/>
                <a:gd name="connsiteX19" fmla="*/ 5181729 w 26554741"/>
                <a:gd name="connsiteY19" fmla="*/ 14547195 h 15035524"/>
                <a:gd name="connsiteX20" fmla="*/ 4397998 w 26554741"/>
                <a:gd name="connsiteY20" fmla="*/ 13914178 h 15035524"/>
                <a:gd name="connsiteX21" fmla="*/ 2908896 w 26554741"/>
                <a:gd name="connsiteY21" fmla="*/ 13106324 h 15035524"/>
                <a:gd name="connsiteX22" fmla="*/ 1263043 w 26554741"/>
                <a:gd name="connsiteY22" fmla="*/ 12394931 h 15035524"/>
                <a:gd name="connsiteX23" fmla="*/ 485320 w 26554741"/>
                <a:gd name="connsiteY23" fmla="*/ 11942774 h 15035524"/>
                <a:gd name="connsiteX24" fmla="*/ 0 w 26554741"/>
                <a:gd name="connsiteY24" fmla="*/ 11649662 h 15035524"/>
                <a:gd name="connsiteX25" fmla="*/ 1003686 w 26554741"/>
                <a:gd name="connsiteY25" fmla="*/ 10903697 h 15035524"/>
                <a:gd name="connsiteX26" fmla="*/ 2902551 w 26554741"/>
                <a:gd name="connsiteY26" fmla="*/ 9719298 h 15035524"/>
                <a:gd name="connsiteX27" fmla="*/ 2558940 w 26554741"/>
                <a:gd name="connsiteY27" fmla="*/ 9185867 h 15035524"/>
                <a:gd name="connsiteX28" fmla="*/ 2402508 w 26554741"/>
                <a:gd name="connsiteY28" fmla="*/ 8498784 h 15035524"/>
                <a:gd name="connsiteX29" fmla="*/ 2730740 w 26554741"/>
                <a:gd name="connsiteY29" fmla="*/ 8471613 h 15035524"/>
                <a:gd name="connsiteX30" fmla="*/ 2947754 w 26554741"/>
                <a:gd name="connsiteY30" fmla="*/ 8001468 h 15035524"/>
                <a:gd name="connsiteX31" fmla="*/ 3499325 w 26554741"/>
                <a:gd name="connsiteY31" fmla="*/ 7558451 h 15035524"/>
                <a:gd name="connsiteX32" fmla="*/ 3680166 w 26554741"/>
                <a:gd name="connsiteY32" fmla="*/ 6681453 h 15035524"/>
                <a:gd name="connsiteX33" fmla="*/ 4186528 w 26554741"/>
                <a:gd name="connsiteY33" fmla="*/ 6690489 h 15035524"/>
                <a:gd name="connsiteX34" fmla="*/ 4837569 w 26554741"/>
                <a:gd name="connsiteY34" fmla="*/ 7160639 h 15035524"/>
                <a:gd name="connsiteX35" fmla="*/ 5352976 w 26554741"/>
                <a:gd name="connsiteY35" fmla="*/ 7079272 h 15035524"/>
                <a:gd name="connsiteX36" fmla="*/ 5741786 w 26554741"/>
                <a:gd name="connsiteY36" fmla="*/ 6708577 h 15035524"/>
                <a:gd name="connsiteX37" fmla="*/ 6157723 w 26554741"/>
                <a:gd name="connsiteY37" fmla="*/ 6545836 h 15035524"/>
                <a:gd name="connsiteX38" fmla="*/ 6745471 w 26554741"/>
                <a:gd name="connsiteY38" fmla="*/ 5976243 h 15035524"/>
                <a:gd name="connsiteX39" fmla="*/ 6890140 w 26554741"/>
                <a:gd name="connsiteY39" fmla="*/ 5126367 h 15035524"/>
                <a:gd name="connsiteX40" fmla="*/ 7568305 w 26554741"/>
                <a:gd name="connsiteY40" fmla="*/ 4556773 h 15035524"/>
                <a:gd name="connsiteX41" fmla="*/ 8137967 w 26554741"/>
                <a:gd name="connsiteY41" fmla="*/ 4113752 h 15035524"/>
                <a:gd name="connsiteX42" fmla="*/ 8463480 w 26554741"/>
                <a:gd name="connsiteY42" fmla="*/ 3309085 h 15035524"/>
                <a:gd name="connsiteX43" fmla="*/ 9024093 w 26554741"/>
                <a:gd name="connsiteY43" fmla="*/ 2956478 h 15035524"/>
                <a:gd name="connsiteX44" fmla="*/ 9675138 w 26554741"/>
                <a:gd name="connsiteY44" fmla="*/ 2603876 h 15035524"/>
                <a:gd name="connsiteX45" fmla="*/ 9558580 w 26554741"/>
                <a:gd name="connsiteY45" fmla="*/ 2055592 h 15035524"/>
                <a:gd name="connsiteX46" fmla="*/ 10353296 w 26554741"/>
                <a:gd name="connsiteY46" fmla="*/ 1383308 h 15035524"/>
                <a:gd name="connsiteX47" fmla="*/ 10832530 w 26554741"/>
                <a:gd name="connsiteY47" fmla="*/ 1310974 h 15035524"/>
                <a:gd name="connsiteX48" fmla="*/ 11058585 w 26554741"/>
                <a:gd name="connsiteY48" fmla="*/ 1763043 h 15035524"/>
                <a:gd name="connsiteX49" fmla="*/ 11411229 w 26554741"/>
                <a:gd name="connsiteY49" fmla="*/ 2142774 h 15035524"/>
                <a:gd name="connsiteX50" fmla="*/ 11998974 w 26554741"/>
                <a:gd name="connsiteY50" fmla="*/ 2224144 h 15035524"/>
                <a:gd name="connsiteX51" fmla="*/ 12315449 w 26554741"/>
                <a:gd name="connsiteY51" fmla="*/ 2884156 h 15035524"/>
                <a:gd name="connsiteX52" fmla="*/ 12785642 w 26554741"/>
                <a:gd name="connsiteY52" fmla="*/ 2703327 h 15035524"/>
                <a:gd name="connsiteX53" fmla="*/ 13671776 w 26554741"/>
                <a:gd name="connsiteY53" fmla="*/ 3155388 h 15035524"/>
                <a:gd name="connsiteX54" fmla="*/ 14123886 w 26554741"/>
                <a:gd name="connsiteY54" fmla="*/ 2857035 h 15035524"/>
                <a:gd name="connsiteX55" fmla="*/ 14259509 w 26554741"/>
                <a:gd name="connsiteY55" fmla="*/ 2287434 h 15035524"/>
                <a:gd name="connsiteX56" fmla="*/ 14892468 w 26554741"/>
                <a:gd name="connsiteY56" fmla="*/ 1645503 h 15035524"/>
                <a:gd name="connsiteX57" fmla="*/ 15778605 w 26554741"/>
                <a:gd name="connsiteY57" fmla="*/ 1093983 h 15035524"/>
                <a:gd name="connsiteX58" fmla="*/ 16022739 w 26554741"/>
                <a:gd name="connsiteY58" fmla="*/ 1564133 h 15035524"/>
                <a:gd name="connsiteX59" fmla="*/ 16556232 w 26554741"/>
                <a:gd name="connsiteY59" fmla="*/ 2142785 h 15035524"/>
                <a:gd name="connsiteX60" fmla="*/ 17406193 w 26554741"/>
                <a:gd name="connsiteY60" fmla="*/ 1292897 h 15035524"/>
                <a:gd name="connsiteX61" fmla="*/ 18120524 w 26554741"/>
                <a:gd name="connsiteY61" fmla="*/ 714260 h 15035524"/>
                <a:gd name="connsiteX62" fmla="*/ 18744437 w 26554741"/>
                <a:gd name="connsiteY62" fmla="*/ -1 h 15035524"/>
                <a:gd name="connsiteX63" fmla="*/ 19982300 w 26554741"/>
                <a:gd name="connsiteY63" fmla="*/ 343465 h 15035524"/>
                <a:gd name="connsiteX64" fmla="*/ 19837609 w 26554741"/>
                <a:gd name="connsiteY64" fmla="*/ 1121173 h 15035524"/>
                <a:gd name="connsiteX65" fmla="*/ 21881359 w 26554741"/>
                <a:gd name="connsiteY65" fmla="*/ 1772279 h 15035524"/>
                <a:gd name="connsiteX66" fmla="*/ 21537712 w 26554741"/>
                <a:gd name="connsiteY66" fmla="*/ 2767023 h 15035524"/>
                <a:gd name="connsiteX67" fmla="*/ 22478203 w 26554741"/>
                <a:gd name="connsiteY67" fmla="*/ 2296774 h 15035524"/>
                <a:gd name="connsiteX68" fmla="*/ 23888932 w 26554741"/>
                <a:gd name="connsiteY68" fmla="*/ 1880797 h 15035524"/>
                <a:gd name="connsiteX69" fmla="*/ 25010275 w 26554741"/>
                <a:gd name="connsiteY69" fmla="*/ 578575 h 15035524"/>
                <a:gd name="connsiteX70" fmla="*/ 26402920 w 26554741"/>
                <a:gd name="connsiteY70" fmla="*/ 759442 h 15035524"/>
                <a:gd name="connsiteX71" fmla="*/ 26554742 w 26554741"/>
                <a:gd name="connsiteY71" fmla="*/ 1935039 h 15035524"/>
                <a:gd name="connsiteX72" fmla="*/ 25751806 w 26554741"/>
                <a:gd name="connsiteY72" fmla="*/ 3689425 h 15035524"/>
                <a:gd name="connsiteX0" fmla="*/ 15138264 w 26554741"/>
                <a:gd name="connsiteY0" fmla="*/ 6406394 h 15035524"/>
                <a:gd name="connsiteX1" fmla="*/ 16432262 w 26554741"/>
                <a:gd name="connsiteY1" fmla="*/ 7825917 h 15035524"/>
                <a:gd name="connsiteX2" fmla="*/ 16106317 w 26554741"/>
                <a:gd name="connsiteY2" fmla="*/ 8367221 h 15035524"/>
                <a:gd name="connsiteX3" fmla="*/ 16305649 w 26554741"/>
                <a:gd name="connsiteY3" fmla="*/ 8754550 h 15035524"/>
                <a:gd name="connsiteX4" fmla="*/ 16287189 w 26554741"/>
                <a:gd name="connsiteY4" fmla="*/ 9151157 h 15035524"/>
                <a:gd name="connsiteX5" fmla="*/ 16372801 w 26554741"/>
                <a:gd name="connsiteY5" fmla="*/ 9717422 h 15035524"/>
                <a:gd name="connsiteX6" fmla="*/ 16070155 w 26554741"/>
                <a:gd name="connsiteY6" fmla="*/ 9937808 h 15035524"/>
                <a:gd name="connsiteX7" fmla="*/ 15805690 w 26554741"/>
                <a:gd name="connsiteY7" fmla="*/ 10431999 h 15035524"/>
                <a:gd name="connsiteX8" fmla="*/ 15195097 w 26554741"/>
                <a:gd name="connsiteY8" fmla="*/ 10093742 h 15035524"/>
                <a:gd name="connsiteX9" fmla="*/ 15011380 w 26554741"/>
                <a:gd name="connsiteY9" fmla="*/ 11048592 h 15035524"/>
                <a:gd name="connsiteX10" fmla="*/ 14908430 w 26554741"/>
                <a:gd name="connsiteY10" fmla="*/ 11937487 h 15035524"/>
                <a:gd name="connsiteX11" fmla="*/ 14904684 w 26554741"/>
                <a:gd name="connsiteY11" fmla="*/ 12760926 h 15035524"/>
                <a:gd name="connsiteX12" fmla="*/ 14929927 w 26554741"/>
                <a:gd name="connsiteY12" fmla="*/ 14391846 h 15035524"/>
                <a:gd name="connsiteX13" fmla="*/ 12952786 w 26554741"/>
                <a:gd name="connsiteY13" fmla="*/ 14842599 h 15035524"/>
                <a:gd name="connsiteX14" fmla="*/ 11934663 w 26554741"/>
                <a:gd name="connsiteY14" fmla="*/ 14890849 h 15035524"/>
                <a:gd name="connsiteX15" fmla="*/ 8506848 w 26554741"/>
                <a:gd name="connsiteY15" fmla="*/ 15035524 h 15035524"/>
                <a:gd name="connsiteX16" fmla="*/ 7985095 w 26554741"/>
                <a:gd name="connsiteY16" fmla="*/ 14390442 h 15035524"/>
                <a:gd name="connsiteX17" fmla="*/ 7400308 w 26554741"/>
                <a:gd name="connsiteY17" fmla="*/ 14360297 h 15035524"/>
                <a:gd name="connsiteX18" fmla="*/ 6972273 w 26554741"/>
                <a:gd name="connsiteY18" fmla="*/ 14631594 h 15035524"/>
                <a:gd name="connsiteX19" fmla="*/ 5181729 w 26554741"/>
                <a:gd name="connsiteY19" fmla="*/ 14547195 h 15035524"/>
                <a:gd name="connsiteX20" fmla="*/ 4397998 w 26554741"/>
                <a:gd name="connsiteY20" fmla="*/ 13914178 h 15035524"/>
                <a:gd name="connsiteX21" fmla="*/ 2908896 w 26554741"/>
                <a:gd name="connsiteY21" fmla="*/ 13106324 h 15035524"/>
                <a:gd name="connsiteX22" fmla="*/ 1263043 w 26554741"/>
                <a:gd name="connsiteY22" fmla="*/ 12394931 h 15035524"/>
                <a:gd name="connsiteX23" fmla="*/ 485320 w 26554741"/>
                <a:gd name="connsiteY23" fmla="*/ 11942774 h 15035524"/>
                <a:gd name="connsiteX24" fmla="*/ 0 w 26554741"/>
                <a:gd name="connsiteY24" fmla="*/ 11649662 h 15035524"/>
                <a:gd name="connsiteX25" fmla="*/ 1003686 w 26554741"/>
                <a:gd name="connsiteY25" fmla="*/ 10903697 h 15035524"/>
                <a:gd name="connsiteX26" fmla="*/ 2902551 w 26554741"/>
                <a:gd name="connsiteY26" fmla="*/ 9719298 h 15035524"/>
                <a:gd name="connsiteX27" fmla="*/ 2558940 w 26554741"/>
                <a:gd name="connsiteY27" fmla="*/ 9185867 h 15035524"/>
                <a:gd name="connsiteX28" fmla="*/ 2402508 w 26554741"/>
                <a:gd name="connsiteY28" fmla="*/ 8498784 h 15035524"/>
                <a:gd name="connsiteX29" fmla="*/ 2730740 w 26554741"/>
                <a:gd name="connsiteY29" fmla="*/ 8471613 h 15035524"/>
                <a:gd name="connsiteX30" fmla="*/ 2947754 w 26554741"/>
                <a:gd name="connsiteY30" fmla="*/ 8001468 h 15035524"/>
                <a:gd name="connsiteX31" fmla="*/ 3499325 w 26554741"/>
                <a:gd name="connsiteY31" fmla="*/ 7558451 h 15035524"/>
                <a:gd name="connsiteX32" fmla="*/ 3680166 w 26554741"/>
                <a:gd name="connsiteY32" fmla="*/ 6681453 h 15035524"/>
                <a:gd name="connsiteX33" fmla="*/ 4186528 w 26554741"/>
                <a:gd name="connsiteY33" fmla="*/ 6690489 h 15035524"/>
                <a:gd name="connsiteX34" fmla="*/ 4837569 w 26554741"/>
                <a:gd name="connsiteY34" fmla="*/ 7160639 h 15035524"/>
                <a:gd name="connsiteX35" fmla="*/ 5352976 w 26554741"/>
                <a:gd name="connsiteY35" fmla="*/ 7079272 h 15035524"/>
                <a:gd name="connsiteX36" fmla="*/ 5741786 w 26554741"/>
                <a:gd name="connsiteY36" fmla="*/ 6708577 h 15035524"/>
                <a:gd name="connsiteX37" fmla="*/ 6157723 w 26554741"/>
                <a:gd name="connsiteY37" fmla="*/ 6545836 h 15035524"/>
                <a:gd name="connsiteX38" fmla="*/ 6745471 w 26554741"/>
                <a:gd name="connsiteY38" fmla="*/ 5976243 h 15035524"/>
                <a:gd name="connsiteX39" fmla="*/ 6890140 w 26554741"/>
                <a:gd name="connsiteY39" fmla="*/ 5126367 h 15035524"/>
                <a:gd name="connsiteX40" fmla="*/ 7568305 w 26554741"/>
                <a:gd name="connsiteY40" fmla="*/ 4556773 h 15035524"/>
                <a:gd name="connsiteX41" fmla="*/ 8137967 w 26554741"/>
                <a:gd name="connsiteY41" fmla="*/ 4113752 h 15035524"/>
                <a:gd name="connsiteX42" fmla="*/ 8463480 w 26554741"/>
                <a:gd name="connsiteY42" fmla="*/ 3309085 h 15035524"/>
                <a:gd name="connsiteX43" fmla="*/ 9024093 w 26554741"/>
                <a:gd name="connsiteY43" fmla="*/ 2956478 h 15035524"/>
                <a:gd name="connsiteX44" fmla="*/ 9675138 w 26554741"/>
                <a:gd name="connsiteY44" fmla="*/ 2603876 h 15035524"/>
                <a:gd name="connsiteX45" fmla="*/ 9558580 w 26554741"/>
                <a:gd name="connsiteY45" fmla="*/ 2055592 h 15035524"/>
                <a:gd name="connsiteX46" fmla="*/ 10353296 w 26554741"/>
                <a:gd name="connsiteY46" fmla="*/ 1383308 h 15035524"/>
                <a:gd name="connsiteX47" fmla="*/ 10832530 w 26554741"/>
                <a:gd name="connsiteY47" fmla="*/ 1310974 h 15035524"/>
                <a:gd name="connsiteX48" fmla="*/ 11058585 w 26554741"/>
                <a:gd name="connsiteY48" fmla="*/ 1763043 h 15035524"/>
                <a:gd name="connsiteX49" fmla="*/ 11411229 w 26554741"/>
                <a:gd name="connsiteY49" fmla="*/ 2142774 h 15035524"/>
                <a:gd name="connsiteX50" fmla="*/ 11998974 w 26554741"/>
                <a:gd name="connsiteY50" fmla="*/ 2224144 h 15035524"/>
                <a:gd name="connsiteX51" fmla="*/ 12315449 w 26554741"/>
                <a:gd name="connsiteY51" fmla="*/ 2884156 h 15035524"/>
                <a:gd name="connsiteX52" fmla="*/ 12785642 w 26554741"/>
                <a:gd name="connsiteY52" fmla="*/ 2703327 h 15035524"/>
                <a:gd name="connsiteX53" fmla="*/ 13671776 w 26554741"/>
                <a:gd name="connsiteY53" fmla="*/ 3155388 h 15035524"/>
                <a:gd name="connsiteX54" fmla="*/ 14123886 w 26554741"/>
                <a:gd name="connsiteY54" fmla="*/ 2857035 h 15035524"/>
                <a:gd name="connsiteX55" fmla="*/ 14259509 w 26554741"/>
                <a:gd name="connsiteY55" fmla="*/ 2287434 h 15035524"/>
                <a:gd name="connsiteX56" fmla="*/ 14892468 w 26554741"/>
                <a:gd name="connsiteY56" fmla="*/ 1645503 h 15035524"/>
                <a:gd name="connsiteX57" fmla="*/ 15778605 w 26554741"/>
                <a:gd name="connsiteY57" fmla="*/ 1093983 h 15035524"/>
                <a:gd name="connsiteX58" fmla="*/ 16022739 w 26554741"/>
                <a:gd name="connsiteY58" fmla="*/ 1564133 h 15035524"/>
                <a:gd name="connsiteX59" fmla="*/ 16556232 w 26554741"/>
                <a:gd name="connsiteY59" fmla="*/ 2142785 h 15035524"/>
                <a:gd name="connsiteX60" fmla="*/ 17406193 w 26554741"/>
                <a:gd name="connsiteY60" fmla="*/ 1292897 h 15035524"/>
                <a:gd name="connsiteX61" fmla="*/ 18120524 w 26554741"/>
                <a:gd name="connsiteY61" fmla="*/ 714260 h 15035524"/>
                <a:gd name="connsiteX62" fmla="*/ 18744437 w 26554741"/>
                <a:gd name="connsiteY62" fmla="*/ -1 h 15035524"/>
                <a:gd name="connsiteX63" fmla="*/ 19982300 w 26554741"/>
                <a:gd name="connsiteY63" fmla="*/ 343465 h 15035524"/>
                <a:gd name="connsiteX64" fmla="*/ 19837609 w 26554741"/>
                <a:gd name="connsiteY64" fmla="*/ 1121173 h 15035524"/>
                <a:gd name="connsiteX65" fmla="*/ 21881359 w 26554741"/>
                <a:gd name="connsiteY65" fmla="*/ 1772279 h 15035524"/>
                <a:gd name="connsiteX66" fmla="*/ 21537712 w 26554741"/>
                <a:gd name="connsiteY66" fmla="*/ 2767023 h 15035524"/>
                <a:gd name="connsiteX67" fmla="*/ 22478203 w 26554741"/>
                <a:gd name="connsiteY67" fmla="*/ 2296774 h 15035524"/>
                <a:gd name="connsiteX68" fmla="*/ 23888932 w 26554741"/>
                <a:gd name="connsiteY68" fmla="*/ 1880797 h 15035524"/>
                <a:gd name="connsiteX69" fmla="*/ 25010275 w 26554741"/>
                <a:gd name="connsiteY69" fmla="*/ 578575 h 15035524"/>
                <a:gd name="connsiteX70" fmla="*/ 26402920 w 26554741"/>
                <a:gd name="connsiteY70" fmla="*/ 759442 h 15035524"/>
                <a:gd name="connsiteX71" fmla="*/ 26554742 w 26554741"/>
                <a:gd name="connsiteY71" fmla="*/ 1935039 h 15035524"/>
                <a:gd name="connsiteX72" fmla="*/ 15138264 w 26554741"/>
                <a:gd name="connsiteY72" fmla="*/ 6406394 h 15035524"/>
                <a:gd name="connsiteX0" fmla="*/ 16682563 w 26554741"/>
                <a:gd name="connsiteY0" fmla="*/ 6798531 h 15035524"/>
                <a:gd name="connsiteX1" fmla="*/ 16432262 w 26554741"/>
                <a:gd name="connsiteY1" fmla="*/ 7825917 h 15035524"/>
                <a:gd name="connsiteX2" fmla="*/ 16106317 w 26554741"/>
                <a:gd name="connsiteY2" fmla="*/ 8367221 h 15035524"/>
                <a:gd name="connsiteX3" fmla="*/ 16305649 w 26554741"/>
                <a:gd name="connsiteY3" fmla="*/ 8754550 h 15035524"/>
                <a:gd name="connsiteX4" fmla="*/ 16287189 w 26554741"/>
                <a:gd name="connsiteY4" fmla="*/ 9151157 h 15035524"/>
                <a:gd name="connsiteX5" fmla="*/ 16372801 w 26554741"/>
                <a:gd name="connsiteY5" fmla="*/ 9717422 h 15035524"/>
                <a:gd name="connsiteX6" fmla="*/ 16070155 w 26554741"/>
                <a:gd name="connsiteY6" fmla="*/ 9937808 h 15035524"/>
                <a:gd name="connsiteX7" fmla="*/ 15805690 w 26554741"/>
                <a:gd name="connsiteY7" fmla="*/ 10431999 h 15035524"/>
                <a:gd name="connsiteX8" fmla="*/ 15195097 w 26554741"/>
                <a:gd name="connsiteY8" fmla="*/ 10093742 h 15035524"/>
                <a:gd name="connsiteX9" fmla="*/ 15011380 w 26554741"/>
                <a:gd name="connsiteY9" fmla="*/ 11048592 h 15035524"/>
                <a:gd name="connsiteX10" fmla="*/ 14908430 w 26554741"/>
                <a:gd name="connsiteY10" fmla="*/ 11937487 h 15035524"/>
                <a:gd name="connsiteX11" fmla="*/ 14904684 w 26554741"/>
                <a:gd name="connsiteY11" fmla="*/ 12760926 h 15035524"/>
                <a:gd name="connsiteX12" fmla="*/ 14929927 w 26554741"/>
                <a:gd name="connsiteY12" fmla="*/ 14391846 h 15035524"/>
                <a:gd name="connsiteX13" fmla="*/ 12952786 w 26554741"/>
                <a:gd name="connsiteY13" fmla="*/ 14842599 h 15035524"/>
                <a:gd name="connsiteX14" fmla="*/ 11934663 w 26554741"/>
                <a:gd name="connsiteY14" fmla="*/ 14890849 h 15035524"/>
                <a:gd name="connsiteX15" fmla="*/ 8506848 w 26554741"/>
                <a:gd name="connsiteY15" fmla="*/ 15035524 h 15035524"/>
                <a:gd name="connsiteX16" fmla="*/ 7985095 w 26554741"/>
                <a:gd name="connsiteY16" fmla="*/ 14390442 h 15035524"/>
                <a:gd name="connsiteX17" fmla="*/ 7400308 w 26554741"/>
                <a:gd name="connsiteY17" fmla="*/ 14360297 h 15035524"/>
                <a:gd name="connsiteX18" fmla="*/ 6972273 w 26554741"/>
                <a:gd name="connsiteY18" fmla="*/ 14631594 h 15035524"/>
                <a:gd name="connsiteX19" fmla="*/ 5181729 w 26554741"/>
                <a:gd name="connsiteY19" fmla="*/ 14547195 h 15035524"/>
                <a:gd name="connsiteX20" fmla="*/ 4397998 w 26554741"/>
                <a:gd name="connsiteY20" fmla="*/ 13914178 h 15035524"/>
                <a:gd name="connsiteX21" fmla="*/ 2908896 w 26554741"/>
                <a:gd name="connsiteY21" fmla="*/ 13106324 h 15035524"/>
                <a:gd name="connsiteX22" fmla="*/ 1263043 w 26554741"/>
                <a:gd name="connsiteY22" fmla="*/ 12394931 h 15035524"/>
                <a:gd name="connsiteX23" fmla="*/ 485320 w 26554741"/>
                <a:gd name="connsiteY23" fmla="*/ 11942774 h 15035524"/>
                <a:gd name="connsiteX24" fmla="*/ 0 w 26554741"/>
                <a:gd name="connsiteY24" fmla="*/ 11649662 h 15035524"/>
                <a:gd name="connsiteX25" fmla="*/ 1003686 w 26554741"/>
                <a:gd name="connsiteY25" fmla="*/ 10903697 h 15035524"/>
                <a:gd name="connsiteX26" fmla="*/ 2902551 w 26554741"/>
                <a:gd name="connsiteY26" fmla="*/ 9719298 h 15035524"/>
                <a:gd name="connsiteX27" fmla="*/ 2558940 w 26554741"/>
                <a:gd name="connsiteY27" fmla="*/ 9185867 h 15035524"/>
                <a:gd name="connsiteX28" fmla="*/ 2402508 w 26554741"/>
                <a:gd name="connsiteY28" fmla="*/ 8498784 h 15035524"/>
                <a:gd name="connsiteX29" fmla="*/ 2730740 w 26554741"/>
                <a:gd name="connsiteY29" fmla="*/ 8471613 h 15035524"/>
                <a:gd name="connsiteX30" fmla="*/ 2947754 w 26554741"/>
                <a:gd name="connsiteY30" fmla="*/ 8001468 h 15035524"/>
                <a:gd name="connsiteX31" fmla="*/ 3499325 w 26554741"/>
                <a:gd name="connsiteY31" fmla="*/ 7558451 h 15035524"/>
                <a:gd name="connsiteX32" fmla="*/ 3680166 w 26554741"/>
                <a:gd name="connsiteY32" fmla="*/ 6681453 h 15035524"/>
                <a:gd name="connsiteX33" fmla="*/ 4186528 w 26554741"/>
                <a:gd name="connsiteY33" fmla="*/ 6690489 h 15035524"/>
                <a:gd name="connsiteX34" fmla="*/ 4837569 w 26554741"/>
                <a:gd name="connsiteY34" fmla="*/ 7160639 h 15035524"/>
                <a:gd name="connsiteX35" fmla="*/ 5352976 w 26554741"/>
                <a:gd name="connsiteY35" fmla="*/ 7079272 h 15035524"/>
                <a:gd name="connsiteX36" fmla="*/ 5741786 w 26554741"/>
                <a:gd name="connsiteY36" fmla="*/ 6708577 h 15035524"/>
                <a:gd name="connsiteX37" fmla="*/ 6157723 w 26554741"/>
                <a:gd name="connsiteY37" fmla="*/ 6545836 h 15035524"/>
                <a:gd name="connsiteX38" fmla="*/ 6745471 w 26554741"/>
                <a:gd name="connsiteY38" fmla="*/ 5976243 h 15035524"/>
                <a:gd name="connsiteX39" fmla="*/ 6890140 w 26554741"/>
                <a:gd name="connsiteY39" fmla="*/ 5126367 h 15035524"/>
                <a:gd name="connsiteX40" fmla="*/ 7568305 w 26554741"/>
                <a:gd name="connsiteY40" fmla="*/ 4556773 h 15035524"/>
                <a:gd name="connsiteX41" fmla="*/ 8137967 w 26554741"/>
                <a:gd name="connsiteY41" fmla="*/ 4113752 h 15035524"/>
                <a:gd name="connsiteX42" fmla="*/ 8463480 w 26554741"/>
                <a:gd name="connsiteY42" fmla="*/ 3309085 h 15035524"/>
                <a:gd name="connsiteX43" fmla="*/ 9024093 w 26554741"/>
                <a:gd name="connsiteY43" fmla="*/ 2956478 h 15035524"/>
                <a:gd name="connsiteX44" fmla="*/ 9675138 w 26554741"/>
                <a:gd name="connsiteY44" fmla="*/ 2603876 h 15035524"/>
                <a:gd name="connsiteX45" fmla="*/ 9558580 w 26554741"/>
                <a:gd name="connsiteY45" fmla="*/ 2055592 h 15035524"/>
                <a:gd name="connsiteX46" fmla="*/ 10353296 w 26554741"/>
                <a:gd name="connsiteY46" fmla="*/ 1383308 h 15035524"/>
                <a:gd name="connsiteX47" fmla="*/ 10832530 w 26554741"/>
                <a:gd name="connsiteY47" fmla="*/ 1310974 h 15035524"/>
                <a:gd name="connsiteX48" fmla="*/ 11058585 w 26554741"/>
                <a:gd name="connsiteY48" fmla="*/ 1763043 h 15035524"/>
                <a:gd name="connsiteX49" fmla="*/ 11411229 w 26554741"/>
                <a:gd name="connsiteY49" fmla="*/ 2142774 h 15035524"/>
                <a:gd name="connsiteX50" fmla="*/ 11998974 w 26554741"/>
                <a:gd name="connsiteY50" fmla="*/ 2224144 h 15035524"/>
                <a:gd name="connsiteX51" fmla="*/ 12315449 w 26554741"/>
                <a:gd name="connsiteY51" fmla="*/ 2884156 h 15035524"/>
                <a:gd name="connsiteX52" fmla="*/ 12785642 w 26554741"/>
                <a:gd name="connsiteY52" fmla="*/ 2703327 h 15035524"/>
                <a:gd name="connsiteX53" fmla="*/ 13671776 w 26554741"/>
                <a:gd name="connsiteY53" fmla="*/ 3155388 h 15035524"/>
                <a:gd name="connsiteX54" fmla="*/ 14123886 w 26554741"/>
                <a:gd name="connsiteY54" fmla="*/ 2857035 h 15035524"/>
                <a:gd name="connsiteX55" fmla="*/ 14259509 w 26554741"/>
                <a:gd name="connsiteY55" fmla="*/ 2287434 h 15035524"/>
                <a:gd name="connsiteX56" fmla="*/ 14892468 w 26554741"/>
                <a:gd name="connsiteY56" fmla="*/ 1645503 h 15035524"/>
                <a:gd name="connsiteX57" fmla="*/ 15778605 w 26554741"/>
                <a:gd name="connsiteY57" fmla="*/ 1093983 h 15035524"/>
                <a:gd name="connsiteX58" fmla="*/ 16022739 w 26554741"/>
                <a:gd name="connsiteY58" fmla="*/ 1564133 h 15035524"/>
                <a:gd name="connsiteX59" fmla="*/ 16556232 w 26554741"/>
                <a:gd name="connsiteY59" fmla="*/ 2142785 h 15035524"/>
                <a:gd name="connsiteX60" fmla="*/ 17406193 w 26554741"/>
                <a:gd name="connsiteY60" fmla="*/ 1292897 h 15035524"/>
                <a:gd name="connsiteX61" fmla="*/ 18120524 w 26554741"/>
                <a:gd name="connsiteY61" fmla="*/ 714260 h 15035524"/>
                <a:gd name="connsiteX62" fmla="*/ 18744437 w 26554741"/>
                <a:gd name="connsiteY62" fmla="*/ -1 h 15035524"/>
                <a:gd name="connsiteX63" fmla="*/ 19982300 w 26554741"/>
                <a:gd name="connsiteY63" fmla="*/ 343465 h 15035524"/>
                <a:gd name="connsiteX64" fmla="*/ 19837609 w 26554741"/>
                <a:gd name="connsiteY64" fmla="*/ 1121173 h 15035524"/>
                <a:gd name="connsiteX65" fmla="*/ 21881359 w 26554741"/>
                <a:gd name="connsiteY65" fmla="*/ 1772279 h 15035524"/>
                <a:gd name="connsiteX66" fmla="*/ 21537712 w 26554741"/>
                <a:gd name="connsiteY66" fmla="*/ 2767023 h 15035524"/>
                <a:gd name="connsiteX67" fmla="*/ 22478203 w 26554741"/>
                <a:gd name="connsiteY67" fmla="*/ 2296774 h 15035524"/>
                <a:gd name="connsiteX68" fmla="*/ 23888932 w 26554741"/>
                <a:gd name="connsiteY68" fmla="*/ 1880797 h 15035524"/>
                <a:gd name="connsiteX69" fmla="*/ 25010275 w 26554741"/>
                <a:gd name="connsiteY69" fmla="*/ 578575 h 15035524"/>
                <a:gd name="connsiteX70" fmla="*/ 26402920 w 26554741"/>
                <a:gd name="connsiteY70" fmla="*/ 759442 h 15035524"/>
                <a:gd name="connsiteX71" fmla="*/ 26554742 w 26554741"/>
                <a:gd name="connsiteY71" fmla="*/ 1935039 h 15035524"/>
                <a:gd name="connsiteX72" fmla="*/ 16682563 w 26554741"/>
                <a:gd name="connsiteY72" fmla="*/ 6798531 h 15035524"/>
                <a:gd name="connsiteX0" fmla="*/ 16682563 w 26402921"/>
                <a:gd name="connsiteY0" fmla="*/ 6798531 h 15035524"/>
                <a:gd name="connsiteX1" fmla="*/ 16432262 w 26402921"/>
                <a:gd name="connsiteY1" fmla="*/ 7825917 h 15035524"/>
                <a:gd name="connsiteX2" fmla="*/ 16106317 w 26402921"/>
                <a:gd name="connsiteY2" fmla="*/ 8367221 h 15035524"/>
                <a:gd name="connsiteX3" fmla="*/ 16305649 w 26402921"/>
                <a:gd name="connsiteY3" fmla="*/ 8754550 h 15035524"/>
                <a:gd name="connsiteX4" fmla="*/ 16287189 w 26402921"/>
                <a:gd name="connsiteY4" fmla="*/ 9151157 h 15035524"/>
                <a:gd name="connsiteX5" fmla="*/ 16372801 w 26402921"/>
                <a:gd name="connsiteY5" fmla="*/ 9717422 h 15035524"/>
                <a:gd name="connsiteX6" fmla="*/ 16070155 w 26402921"/>
                <a:gd name="connsiteY6" fmla="*/ 9937808 h 15035524"/>
                <a:gd name="connsiteX7" fmla="*/ 15805690 w 26402921"/>
                <a:gd name="connsiteY7" fmla="*/ 10431999 h 15035524"/>
                <a:gd name="connsiteX8" fmla="*/ 15195097 w 26402921"/>
                <a:gd name="connsiteY8" fmla="*/ 10093742 h 15035524"/>
                <a:gd name="connsiteX9" fmla="*/ 15011380 w 26402921"/>
                <a:gd name="connsiteY9" fmla="*/ 11048592 h 15035524"/>
                <a:gd name="connsiteX10" fmla="*/ 14908430 w 26402921"/>
                <a:gd name="connsiteY10" fmla="*/ 11937487 h 15035524"/>
                <a:gd name="connsiteX11" fmla="*/ 14904684 w 26402921"/>
                <a:gd name="connsiteY11" fmla="*/ 12760926 h 15035524"/>
                <a:gd name="connsiteX12" fmla="*/ 14929927 w 26402921"/>
                <a:gd name="connsiteY12" fmla="*/ 14391846 h 15035524"/>
                <a:gd name="connsiteX13" fmla="*/ 12952786 w 26402921"/>
                <a:gd name="connsiteY13" fmla="*/ 14842599 h 15035524"/>
                <a:gd name="connsiteX14" fmla="*/ 11934663 w 26402921"/>
                <a:gd name="connsiteY14" fmla="*/ 14890849 h 15035524"/>
                <a:gd name="connsiteX15" fmla="*/ 8506848 w 26402921"/>
                <a:gd name="connsiteY15" fmla="*/ 15035524 h 15035524"/>
                <a:gd name="connsiteX16" fmla="*/ 7985095 w 26402921"/>
                <a:gd name="connsiteY16" fmla="*/ 14390442 h 15035524"/>
                <a:gd name="connsiteX17" fmla="*/ 7400308 w 26402921"/>
                <a:gd name="connsiteY17" fmla="*/ 14360297 h 15035524"/>
                <a:gd name="connsiteX18" fmla="*/ 6972273 w 26402921"/>
                <a:gd name="connsiteY18" fmla="*/ 14631594 h 15035524"/>
                <a:gd name="connsiteX19" fmla="*/ 5181729 w 26402921"/>
                <a:gd name="connsiteY19" fmla="*/ 14547195 h 15035524"/>
                <a:gd name="connsiteX20" fmla="*/ 4397998 w 26402921"/>
                <a:gd name="connsiteY20" fmla="*/ 13914178 h 15035524"/>
                <a:gd name="connsiteX21" fmla="*/ 2908896 w 26402921"/>
                <a:gd name="connsiteY21" fmla="*/ 13106324 h 15035524"/>
                <a:gd name="connsiteX22" fmla="*/ 1263043 w 26402921"/>
                <a:gd name="connsiteY22" fmla="*/ 12394931 h 15035524"/>
                <a:gd name="connsiteX23" fmla="*/ 485320 w 26402921"/>
                <a:gd name="connsiteY23" fmla="*/ 11942774 h 15035524"/>
                <a:gd name="connsiteX24" fmla="*/ 0 w 26402921"/>
                <a:gd name="connsiteY24" fmla="*/ 11649662 h 15035524"/>
                <a:gd name="connsiteX25" fmla="*/ 1003686 w 26402921"/>
                <a:gd name="connsiteY25" fmla="*/ 10903697 h 15035524"/>
                <a:gd name="connsiteX26" fmla="*/ 2902551 w 26402921"/>
                <a:gd name="connsiteY26" fmla="*/ 9719298 h 15035524"/>
                <a:gd name="connsiteX27" fmla="*/ 2558940 w 26402921"/>
                <a:gd name="connsiteY27" fmla="*/ 9185867 h 15035524"/>
                <a:gd name="connsiteX28" fmla="*/ 2402508 w 26402921"/>
                <a:gd name="connsiteY28" fmla="*/ 8498784 h 15035524"/>
                <a:gd name="connsiteX29" fmla="*/ 2730740 w 26402921"/>
                <a:gd name="connsiteY29" fmla="*/ 8471613 h 15035524"/>
                <a:gd name="connsiteX30" fmla="*/ 2947754 w 26402921"/>
                <a:gd name="connsiteY30" fmla="*/ 8001468 h 15035524"/>
                <a:gd name="connsiteX31" fmla="*/ 3499325 w 26402921"/>
                <a:gd name="connsiteY31" fmla="*/ 7558451 h 15035524"/>
                <a:gd name="connsiteX32" fmla="*/ 3680166 w 26402921"/>
                <a:gd name="connsiteY32" fmla="*/ 6681453 h 15035524"/>
                <a:gd name="connsiteX33" fmla="*/ 4186528 w 26402921"/>
                <a:gd name="connsiteY33" fmla="*/ 6690489 h 15035524"/>
                <a:gd name="connsiteX34" fmla="*/ 4837569 w 26402921"/>
                <a:gd name="connsiteY34" fmla="*/ 7160639 h 15035524"/>
                <a:gd name="connsiteX35" fmla="*/ 5352976 w 26402921"/>
                <a:gd name="connsiteY35" fmla="*/ 7079272 h 15035524"/>
                <a:gd name="connsiteX36" fmla="*/ 5741786 w 26402921"/>
                <a:gd name="connsiteY36" fmla="*/ 6708577 h 15035524"/>
                <a:gd name="connsiteX37" fmla="*/ 6157723 w 26402921"/>
                <a:gd name="connsiteY37" fmla="*/ 6545836 h 15035524"/>
                <a:gd name="connsiteX38" fmla="*/ 6745471 w 26402921"/>
                <a:gd name="connsiteY38" fmla="*/ 5976243 h 15035524"/>
                <a:gd name="connsiteX39" fmla="*/ 6890140 w 26402921"/>
                <a:gd name="connsiteY39" fmla="*/ 5126367 h 15035524"/>
                <a:gd name="connsiteX40" fmla="*/ 7568305 w 26402921"/>
                <a:gd name="connsiteY40" fmla="*/ 4556773 h 15035524"/>
                <a:gd name="connsiteX41" fmla="*/ 8137967 w 26402921"/>
                <a:gd name="connsiteY41" fmla="*/ 4113752 h 15035524"/>
                <a:gd name="connsiteX42" fmla="*/ 8463480 w 26402921"/>
                <a:gd name="connsiteY42" fmla="*/ 3309085 h 15035524"/>
                <a:gd name="connsiteX43" fmla="*/ 9024093 w 26402921"/>
                <a:gd name="connsiteY43" fmla="*/ 2956478 h 15035524"/>
                <a:gd name="connsiteX44" fmla="*/ 9675138 w 26402921"/>
                <a:gd name="connsiteY44" fmla="*/ 2603876 h 15035524"/>
                <a:gd name="connsiteX45" fmla="*/ 9558580 w 26402921"/>
                <a:gd name="connsiteY45" fmla="*/ 2055592 h 15035524"/>
                <a:gd name="connsiteX46" fmla="*/ 10353296 w 26402921"/>
                <a:gd name="connsiteY46" fmla="*/ 1383308 h 15035524"/>
                <a:gd name="connsiteX47" fmla="*/ 10832530 w 26402921"/>
                <a:gd name="connsiteY47" fmla="*/ 1310974 h 15035524"/>
                <a:gd name="connsiteX48" fmla="*/ 11058585 w 26402921"/>
                <a:gd name="connsiteY48" fmla="*/ 1763043 h 15035524"/>
                <a:gd name="connsiteX49" fmla="*/ 11411229 w 26402921"/>
                <a:gd name="connsiteY49" fmla="*/ 2142774 h 15035524"/>
                <a:gd name="connsiteX50" fmla="*/ 11998974 w 26402921"/>
                <a:gd name="connsiteY50" fmla="*/ 2224144 h 15035524"/>
                <a:gd name="connsiteX51" fmla="*/ 12315449 w 26402921"/>
                <a:gd name="connsiteY51" fmla="*/ 2884156 h 15035524"/>
                <a:gd name="connsiteX52" fmla="*/ 12785642 w 26402921"/>
                <a:gd name="connsiteY52" fmla="*/ 2703327 h 15035524"/>
                <a:gd name="connsiteX53" fmla="*/ 13671776 w 26402921"/>
                <a:gd name="connsiteY53" fmla="*/ 3155388 h 15035524"/>
                <a:gd name="connsiteX54" fmla="*/ 14123886 w 26402921"/>
                <a:gd name="connsiteY54" fmla="*/ 2857035 h 15035524"/>
                <a:gd name="connsiteX55" fmla="*/ 14259509 w 26402921"/>
                <a:gd name="connsiteY55" fmla="*/ 2287434 h 15035524"/>
                <a:gd name="connsiteX56" fmla="*/ 14892468 w 26402921"/>
                <a:gd name="connsiteY56" fmla="*/ 1645503 h 15035524"/>
                <a:gd name="connsiteX57" fmla="*/ 15778605 w 26402921"/>
                <a:gd name="connsiteY57" fmla="*/ 1093983 h 15035524"/>
                <a:gd name="connsiteX58" fmla="*/ 16022739 w 26402921"/>
                <a:gd name="connsiteY58" fmla="*/ 1564133 h 15035524"/>
                <a:gd name="connsiteX59" fmla="*/ 16556232 w 26402921"/>
                <a:gd name="connsiteY59" fmla="*/ 2142785 h 15035524"/>
                <a:gd name="connsiteX60" fmla="*/ 17406193 w 26402921"/>
                <a:gd name="connsiteY60" fmla="*/ 1292897 h 15035524"/>
                <a:gd name="connsiteX61" fmla="*/ 18120524 w 26402921"/>
                <a:gd name="connsiteY61" fmla="*/ 714260 h 15035524"/>
                <a:gd name="connsiteX62" fmla="*/ 18744437 w 26402921"/>
                <a:gd name="connsiteY62" fmla="*/ -1 h 15035524"/>
                <a:gd name="connsiteX63" fmla="*/ 19982300 w 26402921"/>
                <a:gd name="connsiteY63" fmla="*/ 343465 h 15035524"/>
                <a:gd name="connsiteX64" fmla="*/ 19837609 w 26402921"/>
                <a:gd name="connsiteY64" fmla="*/ 1121173 h 15035524"/>
                <a:gd name="connsiteX65" fmla="*/ 21881359 w 26402921"/>
                <a:gd name="connsiteY65" fmla="*/ 1772279 h 15035524"/>
                <a:gd name="connsiteX66" fmla="*/ 21537712 w 26402921"/>
                <a:gd name="connsiteY66" fmla="*/ 2767023 h 15035524"/>
                <a:gd name="connsiteX67" fmla="*/ 22478203 w 26402921"/>
                <a:gd name="connsiteY67" fmla="*/ 2296774 h 15035524"/>
                <a:gd name="connsiteX68" fmla="*/ 23888932 w 26402921"/>
                <a:gd name="connsiteY68" fmla="*/ 1880797 h 15035524"/>
                <a:gd name="connsiteX69" fmla="*/ 25010275 w 26402921"/>
                <a:gd name="connsiteY69" fmla="*/ 578575 h 15035524"/>
                <a:gd name="connsiteX70" fmla="*/ 26402920 w 26402921"/>
                <a:gd name="connsiteY70" fmla="*/ 759442 h 15035524"/>
                <a:gd name="connsiteX71" fmla="*/ 14902301 w 26402921"/>
                <a:gd name="connsiteY71" fmla="*/ 5604356 h 15035524"/>
                <a:gd name="connsiteX72" fmla="*/ 16682563 w 26402921"/>
                <a:gd name="connsiteY72" fmla="*/ 6798531 h 15035524"/>
                <a:gd name="connsiteX0" fmla="*/ 16682563 w 26402921"/>
                <a:gd name="connsiteY0" fmla="*/ 6798531 h 15035524"/>
                <a:gd name="connsiteX1" fmla="*/ 16432262 w 26402921"/>
                <a:gd name="connsiteY1" fmla="*/ 7825917 h 15035524"/>
                <a:gd name="connsiteX2" fmla="*/ 16106317 w 26402921"/>
                <a:gd name="connsiteY2" fmla="*/ 8367221 h 15035524"/>
                <a:gd name="connsiteX3" fmla="*/ 16305649 w 26402921"/>
                <a:gd name="connsiteY3" fmla="*/ 8754550 h 15035524"/>
                <a:gd name="connsiteX4" fmla="*/ 16287189 w 26402921"/>
                <a:gd name="connsiteY4" fmla="*/ 9151157 h 15035524"/>
                <a:gd name="connsiteX5" fmla="*/ 16372801 w 26402921"/>
                <a:gd name="connsiteY5" fmla="*/ 9717422 h 15035524"/>
                <a:gd name="connsiteX6" fmla="*/ 16070155 w 26402921"/>
                <a:gd name="connsiteY6" fmla="*/ 9937808 h 15035524"/>
                <a:gd name="connsiteX7" fmla="*/ 15805690 w 26402921"/>
                <a:gd name="connsiteY7" fmla="*/ 10431999 h 15035524"/>
                <a:gd name="connsiteX8" fmla="*/ 15195097 w 26402921"/>
                <a:gd name="connsiteY8" fmla="*/ 10093742 h 15035524"/>
                <a:gd name="connsiteX9" fmla="*/ 15011380 w 26402921"/>
                <a:gd name="connsiteY9" fmla="*/ 11048592 h 15035524"/>
                <a:gd name="connsiteX10" fmla="*/ 14908430 w 26402921"/>
                <a:gd name="connsiteY10" fmla="*/ 11937487 h 15035524"/>
                <a:gd name="connsiteX11" fmla="*/ 14904684 w 26402921"/>
                <a:gd name="connsiteY11" fmla="*/ 12760926 h 15035524"/>
                <a:gd name="connsiteX12" fmla="*/ 14929927 w 26402921"/>
                <a:gd name="connsiteY12" fmla="*/ 14391846 h 15035524"/>
                <a:gd name="connsiteX13" fmla="*/ 12952786 w 26402921"/>
                <a:gd name="connsiteY13" fmla="*/ 14842599 h 15035524"/>
                <a:gd name="connsiteX14" fmla="*/ 11934663 w 26402921"/>
                <a:gd name="connsiteY14" fmla="*/ 14890849 h 15035524"/>
                <a:gd name="connsiteX15" fmla="*/ 8506848 w 26402921"/>
                <a:gd name="connsiteY15" fmla="*/ 15035524 h 15035524"/>
                <a:gd name="connsiteX16" fmla="*/ 7985095 w 26402921"/>
                <a:gd name="connsiteY16" fmla="*/ 14390442 h 15035524"/>
                <a:gd name="connsiteX17" fmla="*/ 7400308 w 26402921"/>
                <a:gd name="connsiteY17" fmla="*/ 14360297 h 15035524"/>
                <a:gd name="connsiteX18" fmla="*/ 6972273 w 26402921"/>
                <a:gd name="connsiteY18" fmla="*/ 14631594 h 15035524"/>
                <a:gd name="connsiteX19" fmla="*/ 5181729 w 26402921"/>
                <a:gd name="connsiteY19" fmla="*/ 14547195 h 15035524"/>
                <a:gd name="connsiteX20" fmla="*/ 4397998 w 26402921"/>
                <a:gd name="connsiteY20" fmla="*/ 13914178 h 15035524"/>
                <a:gd name="connsiteX21" fmla="*/ 2908896 w 26402921"/>
                <a:gd name="connsiteY21" fmla="*/ 13106324 h 15035524"/>
                <a:gd name="connsiteX22" fmla="*/ 1263043 w 26402921"/>
                <a:gd name="connsiteY22" fmla="*/ 12394931 h 15035524"/>
                <a:gd name="connsiteX23" fmla="*/ 485320 w 26402921"/>
                <a:gd name="connsiteY23" fmla="*/ 11942774 h 15035524"/>
                <a:gd name="connsiteX24" fmla="*/ 0 w 26402921"/>
                <a:gd name="connsiteY24" fmla="*/ 11649662 h 15035524"/>
                <a:gd name="connsiteX25" fmla="*/ 1003686 w 26402921"/>
                <a:gd name="connsiteY25" fmla="*/ 10903697 h 15035524"/>
                <a:gd name="connsiteX26" fmla="*/ 2902551 w 26402921"/>
                <a:gd name="connsiteY26" fmla="*/ 9719298 h 15035524"/>
                <a:gd name="connsiteX27" fmla="*/ 2558940 w 26402921"/>
                <a:gd name="connsiteY27" fmla="*/ 9185867 h 15035524"/>
                <a:gd name="connsiteX28" fmla="*/ 2402508 w 26402921"/>
                <a:gd name="connsiteY28" fmla="*/ 8498784 h 15035524"/>
                <a:gd name="connsiteX29" fmla="*/ 2730740 w 26402921"/>
                <a:gd name="connsiteY29" fmla="*/ 8471613 h 15035524"/>
                <a:gd name="connsiteX30" fmla="*/ 2947754 w 26402921"/>
                <a:gd name="connsiteY30" fmla="*/ 8001468 h 15035524"/>
                <a:gd name="connsiteX31" fmla="*/ 3499325 w 26402921"/>
                <a:gd name="connsiteY31" fmla="*/ 7558451 h 15035524"/>
                <a:gd name="connsiteX32" fmla="*/ 3680166 w 26402921"/>
                <a:gd name="connsiteY32" fmla="*/ 6681453 h 15035524"/>
                <a:gd name="connsiteX33" fmla="*/ 4186528 w 26402921"/>
                <a:gd name="connsiteY33" fmla="*/ 6690489 h 15035524"/>
                <a:gd name="connsiteX34" fmla="*/ 4837569 w 26402921"/>
                <a:gd name="connsiteY34" fmla="*/ 7160639 h 15035524"/>
                <a:gd name="connsiteX35" fmla="*/ 5352976 w 26402921"/>
                <a:gd name="connsiteY35" fmla="*/ 7079272 h 15035524"/>
                <a:gd name="connsiteX36" fmla="*/ 5741786 w 26402921"/>
                <a:gd name="connsiteY36" fmla="*/ 6708577 h 15035524"/>
                <a:gd name="connsiteX37" fmla="*/ 6157723 w 26402921"/>
                <a:gd name="connsiteY37" fmla="*/ 6545836 h 15035524"/>
                <a:gd name="connsiteX38" fmla="*/ 6745471 w 26402921"/>
                <a:gd name="connsiteY38" fmla="*/ 5976243 h 15035524"/>
                <a:gd name="connsiteX39" fmla="*/ 6890140 w 26402921"/>
                <a:gd name="connsiteY39" fmla="*/ 5126367 h 15035524"/>
                <a:gd name="connsiteX40" fmla="*/ 7568305 w 26402921"/>
                <a:gd name="connsiteY40" fmla="*/ 4556773 h 15035524"/>
                <a:gd name="connsiteX41" fmla="*/ 8137967 w 26402921"/>
                <a:gd name="connsiteY41" fmla="*/ 4113752 h 15035524"/>
                <a:gd name="connsiteX42" fmla="*/ 8463480 w 26402921"/>
                <a:gd name="connsiteY42" fmla="*/ 3309085 h 15035524"/>
                <a:gd name="connsiteX43" fmla="*/ 9024093 w 26402921"/>
                <a:gd name="connsiteY43" fmla="*/ 2956478 h 15035524"/>
                <a:gd name="connsiteX44" fmla="*/ 9675138 w 26402921"/>
                <a:gd name="connsiteY44" fmla="*/ 2603876 h 15035524"/>
                <a:gd name="connsiteX45" fmla="*/ 9558580 w 26402921"/>
                <a:gd name="connsiteY45" fmla="*/ 2055592 h 15035524"/>
                <a:gd name="connsiteX46" fmla="*/ 10353296 w 26402921"/>
                <a:gd name="connsiteY46" fmla="*/ 1383308 h 15035524"/>
                <a:gd name="connsiteX47" fmla="*/ 10832530 w 26402921"/>
                <a:gd name="connsiteY47" fmla="*/ 1310974 h 15035524"/>
                <a:gd name="connsiteX48" fmla="*/ 11058585 w 26402921"/>
                <a:gd name="connsiteY48" fmla="*/ 1763043 h 15035524"/>
                <a:gd name="connsiteX49" fmla="*/ 11411229 w 26402921"/>
                <a:gd name="connsiteY49" fmla="*/ 2142774 h 15035524"/>
                <a:gd name="connsiteX50" fmla="*/ 11998974 w 26402921"/>
                <a:gd name="connsiteY50" fmla="*/ 2224144 h 15035524"/>
                <a:gd name="connsiteX51" fmla="*/ 12315449 w 26402921"/>
                <a:gd name="connsiteY51" fmla="*/ 2884156 h 15035524"/>
                <a:gd name="connsiteX52" fmla="*/ 12785642 w 26402921"/>
                <a:gd name="connsiteY52" fmla="*/ 2703327 h 15035524"/>
                <a:gd name="connsiteX53" fmla="*/ 13671776 w 26402921"/>
                <a:gd name="connsiteY53" fmla="*/ 3155388 h 15035524"/>
                <a:gd name="connsiteX54" fmla="*/ 14123886 w 26402921"/>
                <a:gd name="connsiteY54" fmla="*/ 2857035 h 15035524"/>
                <a:gd name="connsiteX55" fmla="*/ 14259509 w 26402921"/>
                <a:gd name="connsiteY55" fmla="*/ 2287434 h 15035524"/>
                <a:gd name="connsiteX56" fmla="*/ 14892468 w 26402921"/>
                <a:gd name="connsiteY56" fmla="*/ 1645503 h 15035524"/>
                <a:gd name="connsiteX57" fmla="*/ 15778605 w 26402921"/>
                <a:gd name="connsiteY57" fmla="*/ 1093983 h 15035524"/>
                <a:gd name="connsiteX58" fmla="*/ 16022739 w 26402921"/>
                <a:gd name="connsiteY58" fmla="*/ 1564133 h 15035524"/>
                <a:gd name="connsiteX59" fmla="*/ 16556232 w 26402921"/>
                <a:gd name="connsiteY59" fmla="*/ 2142785 h 15035524"/>
                <a:gd name="connsiteX60" fmla="*/ 17406193 w 26402921"/>
                <a:gd name="connsiteY60" fmla="*/ 1292897 h 15035524"/>
                <a:gd name="connsiteX61" fmla="*/ 18120524 w 26402921"/>
                <a:gd name="connsiteY61" fmla="*/ 714260 h 15035524"/>
                <a:gd name="connsiteX62" fmla="*/ 18744437 w 26402921"/>
                <a:gd name="connsiteY62" fmla="*/ -1 h 15035524"/>
                <a:gd name="connsiteX63" fmla="*/ 19982300 w 26402921"/>
                <a:gd name="connsiteY63" fmla="*/ 343465 h 15035524"/>
                <a:gd name="connsiteX64" fmla="*/ 19837609 w 26402921"/>
                <a:gd name="connsiteY64" fmla="*/ 1121173 h 15035524"/>
                <a:gd name="connsiteX65" fmla="*/ 21881359 w 26402921"/>
                <a:gd name="connsiteY65" fmla="*/ 1772279 h 15035524"/>
                <a:gd name="connsiteX66" fmla="*/ 21537712 w 26402921"/>
                <a:gd name="connsiteY66" fmla="*/ 2767023 h 15035524"/>
                <a:gd name="connsiteX67" fmla="*/ 22478203 w 26402921"/>
                <a:gd name="connsiteY67" fmla="*/ 2296774 h 15035524"/>
                <a:gd name="connsiteX68" fmla="*/ 23888932 w 26402921"/>
                <a:gd name="connsiteY68" fmla="*/ 1880797 h 15035524"/>
                <a:gd name="connsiteX69" fmla="*/ 25010275 w 26402921"/>
                <a:gd name="connsiteY69" fmla="*/ 578575 h 15035524"/>
                <a:gd name="connsiteX70" fmla="*/ 26402920 w 26402921"/>
                <a:gd name="connsiteY70" fmla="*/ 759442 h 15035524"/>
                <a:gd name="connsiteX71" fmla="*/ 16362364 w 26402921"/>
                <a:gd name="connsiteY71" fmla="*/ 6360628 h 15035524"/>
                <a:gd name="connsiteX72" fmla="*/ 16682563 w 26402921"/>
                <a:gd name="connsiteY72" fmla="*/ 6798531 h 15035524"/>
                <a:gd name="connsiteX0" fmla="*/ 16682563 w 25010275"/>
                <a:gd name="connsiteY0" fmla="*/ 6798531 h 15035524"/>
                <a:gd name="connsiteX1" fmla="*/ 16432262 w 25010275"/>
                <a:gd name="connsiteY1" fmla="*/ 7825917 h 15035524"/>
                <a:gd name="connsiteX2" fmla="*/ 16106317 w 25010275"/>
                <a:gd name="connsiteY2" fmla="*/ 8367221 h 15035524"/>
                <a:gd name="connsiteX3" fmla="*/ 16305649 w 25010275"/>
                <a:gd name="connsiteY3" fmla="*/ 8754550 h 15035524"/>
                <a:gd name="connsiteX4" fmla="*/ 16287189 w 25010275"/>
                <a:gd name="connsiteY4" fmla="*/ 9151157 h 15035524"/>
                <a:gd name="connsiteX5" fmla="*/ 16372801 w 25010275"/>
                <a:gd name="connsiteY5" fmla="*/ 9717422 h 15035524"/>
                <a:gd name="connsiteX6" fmla="*/ 16070155 w 25010275"/>
                <a:gd name="connsiteY6" fmla="*/ 9937808 h 15035524"/>
                <a:gd name="connsiteX7" fmla="*/ 15805690 w 25010275"/>
                <a:gd name="connsiteY7" fmla="*/ 10431999 h 15035524"/>
                <a:gd name="connsiteX8" fmla="*/ 15195097 w 25010275"/>
                <a:gd name="connsiteY8" fmla="*/ 10093742 h 15035524"/>
                <a:gd name="connsiteX9" fmla="*/ 15011380 w 25010275"/>
                <a:gd name="connsiteY9" fmla="*/ 11048592 h 15035524"/>
                <a:gd name="connsiteX10" fmla="*/ 14908430 w 25010275"/>
                <a:gd name="connsiteY10" fmla="*/ 11937487 h 15035524"/>
                <a:gd name="connsiteX11" fmla="*/ 14904684 w 25010275"/>
                <a:gd name="connsiteY11" fmla="*/ 12760926 h 15035524"/>
                <a:gd name="connsiteX12" fmla="*/ 14929927 w 25010275"/>
                <a:gd name="connsiteY12" fmla="*/ 14391846 h 15035524"/>
                <a:gd name="connsiteX13" fmla="*/ 12952786 w 25010275"/>
                <a:gd name="connsiteY13" fmla="*/ 14842599 h 15035524"/>
                <a:gd name="connsiteX14" fmla="*/ 11934663 w 25010275"/>
                <a:gd name="connsiteY14" fmla="*/ 14890849 h 15035524"/>
                <a:gd name="connsiteX15" fmla="*/ 8506848 w 25010275"/>
                <a:gd name="connsiteY15" fmla="*/ 15035524 h 15035524"/>
                <a:gd name="connsiteX16" fmla="*/ 7985095 w 25010275"/>
                <a:gd name="connsiteY16" fmla="*/ 14390442 h 15035524"/>
                <a:gd name="connsiteX17" fmla="*/ 7400308 w 25010275"/>
                <a:gd name="connsiteY17" fmla="*/ 14360297 h 15035524"/>
                <a:gd name="connsiteX18" fmla="*/ 6972273 w 25010275"/>
                <a:gd name="connsiteY18" fmla="*/ 14631594 h 15035524"/>
                <a:gd name="connsiteX19" fmla="*/ 5181729 w 25010275"/>
                <a:gd name="connsiteY19" fmla="*/ 14547195 h 15035524"/>
                <a:gd name="connsiteX20" fmla="*/ 4397998 w 25010275"/>
                <a:gd name="connsiteY20" fmla="*/ 13914178 h 15035524"/>
                <a:gd name="connsiteX21" fmla="*/ 2908896 w 25010275"/>
                <a:gd name="connsiteY21" fmla="*/ 13106324 h 15035524"/>
                <a:gd name="connsiteX22" fmla="*/ 1263043 w 25010275"/>
                <a:gd name="connsiteY22" fmla="*/ 12394931 h 15035524"/>
                <a:gd name="connsiteX23" fmla="*/ 485320 w 25010275"/>
                <a:gd name="connsiteY23" fmla="*/ 11942774 h 15035524"/>
                <a:gd name="connsiteX24" fmla="*/ 0 w 25010275"/>
                <a:gd name="connsiteY24" fmla="*/ 11649662 h 15035524"/>
                <a:gd name="connsiteX25" fmla="*/ 1003686 w 25010275"/>
                <a:gd name="connsiteY25" fmla="*/ 10903697 h 15035524"/>
                <a:gd name="connsiteX26" fmla="*/ 2902551 w 25010275"/>
                <a:gd name="connsiteY26" fmla="*/ 9719298 h 15035524"/>
                <a:gd name="connsiteX27" fmla="*/ 2558940 w 25010275"/>
                <a:gd name="connsiteY27" fmla="*/ 9185867 h 15035524"/>
                <a:gd name="connsiteX28" fmla="*/ 2402508 w 25010275"/>
                <a:gd name="connsiteY28" fmla="*/ 8498784 h 15035524"/>
                <a:gd name="connsiteX29" fmla="*/ 2730740 w 25010275"/>
                <a:gd name="connsiteY29" fmla="*/ 8471613 h 15035524"/>
                <a:gd name="connsiteX30" fmla="*/ 2947754 w 25010275"/>
                <a:gd name="connsiteY30" fmla="*/ 8001468 h 15035524"/>
                <a:gd name="connsiteX31" fmla="*/ 3499325 w 25010275"/>
                <a:gd name="connsiteY31" fmla="*/ 7558451 h 15035524"/>
                <a:gd name="connsiteX32" fmla="*/ 3680166 w 25010275"/>
                <a:gd name="connsiteY32" fmla="*/ 6681453 h 15035524"/>
                <a:gd name="connsiteX33" fmla="*/ 4186528 w 25010275"/>
                <a:gd name="connsiteY33" fmla="*/ 6690489 h 15035524"/>
                <a:gd name="connsiteX34" fmla="*/ 4837569 w 25010275"/>
                <a:gd name="connsiteY34" fmla="*/ 7160639 h 15035524"/>
                <a:gd name="connsiteX35" fmla="*/ 5352976 w 25010275"/>
                <a:gd name="connsiteY35" fmla="*/ 7079272 h 15035524"/>
                <a:gd name="connsiteX36" fmla="*/ 5741786 w 25010275"/>
                <a:gd name="connsiteY36" fmla="*/ 6708577 h 15035524"/>
                <a:gd name="connsiteX37" fmla="*/ 6157723 w 25010275"/>
                <a:gd name="connsiteY37" fmla="*/ 6545836 h 15035524"/>
                <a:gd name="connsiteX38" fmla="*/ 6745471 w 25010275"/>
                <a:gd name="connsiteY38" fmla="*/ 5976243 h 15035524"/>
                <a:gd name="connsiteX39" fmla="*/ 6890140 w 25010275"/>
                <a:gd name="connsiteY39" fmla="*/ 5126367 h 15035524"/>
                <a:gd name="connsiteX40" fmla="*/ 7568305 w 25010275"/>
                <a:gd name="connsiteY40" fmla="*/ 4556773 h 15035524"/>
                <a:gd name="connsiteX41" fmla="*/ 8137967 w 25010275"/>
                <a:gd name="connsiteY41" fmla="*/ 4113752 h 15035524"/>
                <a:gd name="connsiteX42" fmla="*/ 8463480 w 25010275"/>
                <a:gd name="connsiteY42" fmla="*/ 3309085 h 15035524"/>
                <a:gd name="connsiteX43" fmla="*/ 9024093 w 25010275"/>
                <a:gd name="connsiteY43" fmla="*/ 2956478 h 15035524"/>
                <a:gd name="connsiteX44" fmla="*/ 9675138 w 25010275"/>
                <a:gd name="connsiteY44" fmla="*/ 2603876 h 15035524"/>
                <a:gd name="connsiteX45" fmla="*/ 9558580 w 25010275"/>
                <a:gd name="connsiteY45" fmla="*/ 2055592 h 15035524"/>
                <a:gd name="connsiteX46" fmla="*/ 10353296 w 25010275"/>
                <a:gd name="connsiteY46" fmla="*/ 1383308 h 15035524"/>
                <a:gd name="connsiteX47" fmla="*/ 10832530 w 25010275"/>
                <a:gd name="connsiteY47" fmla="*/ 1310974 h 15035524"/>
                <a:gd name="connsiteX48" fmla="*/ 11058585 w 25010275"/>
                <a:gd name="connsiteY48" fmla="*/ 1763043 h 15035524"/>
                <a:gd name="connsiteX49" fmla="*/ 11411229 w 25010275"/>
                <a:gd name="connsiteY49" fmla="*/ 2142774 h 15035524"/>
                <a:gd name="connsiteX50" fmla="*/ 11998974 w 25010275"/>
                <a:gd name="connsiteY50" fmla="*/ 2224144 h 15035524"/>
                <a:gd name="connsiteX51" fmla="*/ 12315449 w 25010275"/>
                <a:gd name="connsiteY51" fmla="*/ 2884156 h 15035524"/>
                <a:gd name="connsiteX52" fmla="*/ 12785642 w 25010275"/>
                <a:gd name="connsiteY52" fmla="*/ 2703327 h 15035524"/>
                <a:gd name="connsiteX53" fmla="*/ 13671776 w 25010275"/>
                <a:gd name="connsiteY53" fmla="*/ 3155388 h 15035524"/>
                <a:gd name="connsiteX54" fmla="*/ 14123886 w 25010275"/>
                <a:gd name="connsiteY54" fmla="*/ 2857035 h 15035524"/>
                <a:gd name="connsiteX55" fmla="*/ 14259509 w 25010275"/>
                <a:gd name="connsiteY55" fmla="*/ 2287434 h 15035524"/>
                <a:gd name="connsiteX56" fmla="*/ 14892468 w 25010275"/>
                <a:gd name="connsiteY56" fmla="*/ 1645503 h 15035524"/>
                <a:gd name="connsiteX57" fmla="*/ 15778605 w 25010275"/>
                <a:gd name="connsiteY57" fmla="*/ 1093983 h 15035524"/>
                <a:gd name="connsiteX58" fmla="*/ 16022739 w 25010275"/>
                <a:gd name="connsiteY58" fmla="*/ 1564133 h 15035524"/>
                <a:gd name="connsiteX59" fmla="*/ 16556232 w 25010275"/>
                <a:gd name="connsiteY59" fmla="*/ 2142785 h 15035524"/>
                <a:gd name="connsiteX60" fmla="*/ 17406193 w 25010275"/>
                <a:gd name="connsiteY60" fmla="*/ 1292897 h 15035524"/>
                <a:gd name="connsiteX61" fmla="*/ 18120524 w 25010275"/>
                <a:gd name="connsiteY61" fmla="*/ 714260 h 15035524"/>
                <a:gd name="connsiteX62" fmla="*/ 18744437 w 25010275"/>
                <a:gd name="connsiteY62" fmla="*/ -1 h 15035524"/>
                <a:gd name="connsiteX63" fmla="*/ 19982300 w 25010275"/>
                <a:gd name="connsiteY63" fmla="*/ 343465 h 15035524"/>
                <a:gd name="connsiteX64" fmla="*/ 19837609 w 25010275"/>
                <a:gd name="connsiteY64" fmla="*/ 1121173 h 15035524"/>
                <a:gd name="connsiteX65" fmla="*/ 21881359 w 25010275"/>
                <a:gd name="connsiteY65" fmla="*/ 1772279 h 15035524"/>
                <a:gd name="connsiteX66" fmla="*/ 21537712 w 25010275"/>
                <a:gd name="connsiteY66" fmla="*/ 2767023 h 15035524"/>
                <a:gd name="connsiteX67" fmla="*/ 22478203 w 25010275"/>
                <a:gd name="connsiteY67" fmla="*/ 2296774 h 15035524"/>
                <a:gd name="connsiteX68" fmla="*/ 23888932 w 25010275"/>
                <a:gd name="connsiteY68" fmla="*/ 1880797 h 15035524"/>
                <a:gd name="connsiteX69" fmla="*/ 25010275 w 25010275"/>
                <a:gd name="connsiteY69" fmla="*/ 578575 h 15035524"/>
                <a:gd name="connsiteX70" fmla="*/ 14750481 w 25010275"/>
                <a:gd name="connsiteY70" fmla="*/ 5913293 h 15035524"/>
                <a:gd name="connsiteX71" fmla="*/ 16362364 w 25010275"/>
                <a:gd name="connsiteY71" fmla="*/ 6360628 h 15035524"/>
                <a:gd name="connsiteX72" fmla="*/ 16682563 w 25010275"/>
                <a:gd name="connsiteY72" fmla="*/ 6798531 h 15035524"/>
                <a:gd name="connsiteX0" fmla="*/ 16682563 w 25010275"/>
                <a:gd name="connsiteY0" fmla="*/ 6798531 h 15035524"/>
                <a:gd name="connsiteX1" fmla="*/ 16432262 w 25010275"/>
                <a:gd name="connsiteY1" fmla="*/ 7825917 h 15035524"/>
                <a:gd name="connsiteX2" fmla="*/ 16106317 w 25010275"/>
                <a:gd name="connsiteY2" fmla="*/ 8367221 h 15035524"/>
                <a:gd name="connsiteX3" fmla="*/ 16305649 w 25010275"/>
                <a:gd name="connsiteY3" fmla="*/ 8754550 h 15035524"/>
                <a:gd name="connsiteX4" fmla="*/ 16287189 w 25010275"/>
                <a:gd name="connsiteY4" fmla="*/ 9151157 h 15035524"/>
                <a:gd name="connsiteX5" fmla="*/ 16372801 w 25010275"/>
                <a:gd name="connsiteY5" fmla="*/ 9717422 h 15035524"/>
                <a:gd name="connsiteX6" fmla="*/ 16070155 w 25010275"/>
                <a:gd name="connsiteY6" fmla="*/ 9937808 h 15035524"/>
                <a:gd name="connsiteX7" fmla="*/ 15805690 w 25010275"/>
                <a:gd name="connsiteY7" fmla="*/ 10431999 h 15035524"/>
                <a:gd name="connsiteX8" fmla="*/ 15195097 w 25010275"/>
                <a:gd name="connsiteY8" fmla="*/ 10093742 h 15035524"/>
                <a:gd name="connsiteX9" fmla="*/ 15011380 w 25010275"/>
                <a:gd name="connsiteY9" fmla="*/ 11048592 h 15035524"/>
                <a:gd name="connsiteX10" fmla="*/ 14908430 w 25010275"/>
                <a:gd name="connsiteY10" fmla="*/ 11937487 h 15035524"/>
                <a:gd name="connsiteX11" fmla="*/ 14904684 w 25010275"/>
                <a:gd name="connsiteY11" fmla="*/ 12760926 h 15035524"/>
                <a:gd name="connsiteX12" fmla="*/ 14929927 w 25010275"/>
                <a:gd name="connsiteY12" fmla="*/ 14391846 h 15035524"/>
                <a:gd name="connsiteX13" fmla="*/ 12952786 w 25010275"/>
                <a:gd name="connsiteY13" fmla="*/ 14842599 h 15035524"/>
                <a:gd name="connsiteX14" fmla="*/ 11934663 w 25010275"/>
                <a:gd name="connsiteY14" fmla="*/ 14890849 h 15035524"/>
                <a:gd name="connsiteX15" fmla="*/ 8506848 w 25010275"/>
                <a:gd name="connsiteY15" fmla="*/ 15035524 h 15035524"/>
                <a:gd name="connsiteX16" fmla="*/ 7985095 w 25010275"/>
                <a:gd name="connsiteY16" fmla="*/ 14390442 h 15035524"/>
                <a:gd name="connsiteX17" fmla="*/ 7400308 w 25010275"/>
                <a:gd name="connsiteY17" fmla="*/ 14360297 h 15035524"/>
                <a:gd name="connsiteX18" fmla="*/ 6972273 w 25010275"/>
                <a:gd name="connsiteY18" fmla="*/ 14631594 h 15035524"/>
                <a:gd name="connsiteX19" fmla="*/ 5181729 w 25010275"/>
                <a:gd name="connsiteY19" fmla="*/ 14547195 h 15035524"/>
                <a:gd name="connsiteX20" fmla="*/ 4397998 w 25010275"/>
                <a:gd name="connsiteY20" fmla="*/ 13914178 h 15035524"/>
                <a:gd name="connsiteX21" fmla="*/ 2908896 w 25010275"/>
                <a:gd name="connsiteY21" fmla="*/ 13106324 h 15035524"/>
                <a:gd name="connsiteX22" fmla="*/ 1263043 w 25010275"/>
                <a:gd name="connsiteY22" fmla="*/ 12394931 h 15035524"/>
                <a:gd name="connsiteX23" fmla="*/ 485320 w 25010275"/>
                <a:gd name="connsiteY23" fmla="*/ 11942774 h 15035524"/>
                <a:gd name="connsiteX24" fmla="*/ 0 w 25010275"/>
                <a:gd name="connsiteY24" fmla="*/ 11649662 h 15035524"/>
                <a:gd name="connsiteX25" fmla="*/ 1003686 w 25010275"/>
                <a:gd name="connsiteY25" fmla="*/ 10903697 h 15035524"/>
                <a:gd name="connsiteX26" fmla="*/ 2902551 w 25010275"/>
                <a:gd name="connsiteY26" fmla="*/ 9719298 h 15035524"/>
                <a:gd name="connsiteX27" fmla="*/ 2558940 w 25010275"/>
                <a:gd name="connsiteY27" fmla="*/ 9185867 h 15035524"/>
                <a:gd name="connsiteX28" fmla="*/ 2402508 w 25010275"/>
                <a:gd name="connsiteY28" fmla="*/ 8498784 h 15035524"/>
                <a:gd name="connsiteX29" fmla="*/ 2730740 w 25010275"/>
                <a:gd name="connsiteY29" fmla="*/ 8471613 h 15035524"/>
                <a:gd name="connsiteX30" fmla="*/ 2947754 w 25010275"/>
                <a:gd name="connsiteY30" fmla="*/ 8001468 h 15035524"/>
                <a:gd name="connsiteX31" fmla="*/ 3499325 w 25010275"/>
                <a:gd name="connsiteY31" fmla="*/ 7558451 h 15035524"/>
                <a:gd name="connsiteX32" fmla="*/ 3680166 w 25010275"/>
                <a:gd name="connsiteY32" fmla="*/ 6681453 h 15035524"/>
                <a:gd name="connsiteX33" fmla="*/ 4186528 w 25010275"/>
                <a:gd name="connsiteY33" fmla="*/ 6690489 h 15035524"/>
                <a:gd name="connsiteX34" fmla="*/ 4837569 w 25010275"/>
                <a:gd name="connsiteY34" fmla="*/ 7160639 h 15035524"/>
                <a:gd name="connsiteX35" fmla="*/ 5352976 w 25010275"/>
                <a:gd name="connsiteY35" fmla="*/ 7079272 h 15035524"/>
                <a:gd name="connsiteX36" fmla="*/ 5741786 w 25010275"/>
                <a:gd name="connsiteY36" fmla="*/ 6708577 h 15035524"/>
                <a:gd name="connsiteX37" fmla="*/ 6157723 w 25010275"/>
                <a:gd name="connsiteY37" fmla="*/ 6545836 h 15035524"/>
                <a:gd name="connsiteX38" fmla="*/ 6745471 w 25010275"/>
                <a:gd name="connsiteY38" fmla="*/ 5976243 h 15035524"/>
                <a:gd name="connsiteX39" fmla="*/ 6890140 w 25010275"/>
                <a:gd name="connsiteY39" fmla="*/ 5126367 h 15035524"/>
                <a:gd name="connsiteX40" fmla="*/ 7568305 w 25010275"/>
                <a:gd name="connsiteY40" fmla="*/ 4556773 h 15035524"/>
                <a:gd name="connsiteX41" fmla="*/ 8137967 w 25010275"/>
                <a:gd name="connsiteY41" fmla="*/ 4113752 h 15035524"/>
                <a:gd name="connsiteX42" fmla="*/ 8463480 w 25010275"/>
                <a:gd name="connsiteY42" fmla="*/ 3309085 h 15035524"/>
                <a:gd name="connsiteX43" fmla="*/ 9024093 w 25010275"/>
                <a:gd name="connsiteY43" fmla="*/ 2956478 h 15035524"/>
                <a:gd name="connsiteX44" fmla="*/ 9675138 w 25010275"/>
                <a:gd name="connsiteY44" fmla="*/ 2603876 h 15035524"/>
                <a:gd name="connsiteX45" fmla="*/ 9558580 w 25010275"/>
                <a:gd name="connsiteY45" fmla="*/ 2055592 h 15035524"/>
                <a:gd name="connsiteX46" fmla="*/ 10353296 w 25010275"/>
                <a:gd name="connsiteY46" fmla="*/ 1383308 h 15035524"/>
                <a:gd name="connsiteX47" fmla="*/ 10832530 w 25010275"/>
                <a:gd name="connsiteY47" fmla="*/ 1310974 h 15035524"/>
                <a:gd name="connsiteX48" fmla="*/ 11058585 w 25010275"/>
                <a:gd name="connsiteY48" fmla="*/ 1763043 h 15035524"/>
                <a:gd name="connsiteX49" fmla="*/ 11411229 w 25010275"/>
                <a:gd name="connsiteY49" fmla="*/ 2142774 h 15035524"/>
                <a:gd name="connsiteX50" fmla="*/ 11998974 w 25010275"/>
                <a:gd name="connsiteY50" fmla="*/ 2224144 h 15035524"/>
                <a:gd name="connsiteX51" fmla="*/ 12315449 w 25010275"/>
                <a:gd name="connsiteY51" fmla="*/ 2884156 h 15035524"/>
                <a:gd name="connsiteX52" fmla="*/ 12785642 w 25010275"/>
                <a:gd name="connsiteY52" fmla="*/ 2703327 h 15035524"/>
                <a:gd name="connsiteX53" fmla="*/ 13671776 w 25010275"/>
                <a:gd name="connsiteY53" fmla="*/ 3155388 h 15035524"/>
                <a:gd name="connsiteX54" fmla="*/ 14123886 w 25010275"/>
                <a:gd name="connsiteY54" fmla="*/ 2857035 h 15035524"/>
                <a:gd name="connsiteX55" fmla="*/ 14259509 w 25010275"/>
                <a:gd name="connsiteY55" fmla="*/ 2287434 h 15035524"/>
                <a:gd name="connsiteX56" fmla="*/ 14892468 w 25010275"/>
                <a:gd name="connsiteY56" fmla="*/ 1645503 h 15035524"/>
                <a:gd name="connsiteX57" fmla="*/ 15778605 w 25010275"/>
                <a:gd name="connsiteY57" fmla="*/ 1093983 h 15035524"/>
                <a:gd name="connsiteX58" fmla="*/ 16022739 w 25010275"/>
                <a:gd name="connsiteY58" fmla="*/ 1564133 h 15035524"/>
                <a:gd name="connsiteX59" fmla="*/ 16556232 w 25010275"/>
                <a:gd name="connsiteY59" fmla="*/ 2142785 h 15035524"/>
                <a:gd name="connsiteX60" fmla="*/ 17406193 w 25010275"/>
                <a:gd name="connsiteY60" fmla="*/ 1292897 h 15035524"/>
                <a:gd name="connsiteX61" fmla="*/ 18120524 w 25010275"/>
                <a:gd name="connsiteY61" fmla="*/ 714260 h 15035524"/>
                <a:gd name="connsiteX62" fmla="*/ 18744437 w 25010275"/>
                <a:gd name="connsiteY62" fmla="*/ -1 h 15035524"/>
                <a:gd name="connsiteX63" fmla="*/ 19982300 w 25010275"/>
                <a:gd name="connsiteY63" fmla="*/ 343465 h 15035524"/>
                <a:gd name="connsiteX64" fmla="*/ 19837609 w 25010275"/>
                <a:gd name="connsiteY64" fmla="*/ 1121173 h 15035524"/>
                <a:gd name="connsiteX65" fmla="*/ 21881359 w 25010275"/>
                <a:gd name="connsiteY65" fmla="*/ 1772279 h 15035524"/>
                <a:gd name="connsiteX66" fmla="*/ 21537712 w 25010275"/>
                <a:gd name="connsiteY66" fmla="*/ 2767023 h 15035524"/>
                <a:gd name="connsiteX67" fmla="*/ 22478203 w 25010275"/>
                <a:gd name="connsiteY67" fmla="*/ 2296774 h 15035524"/>
                <a:gd name="connsiteX68" fmla="*/ 23888932 w 25010275"/>
                <a:gd name="connsiteY68" fmla="*/ 1880797 h 15035524"/>
                <a:gd name="connsiteX69" fmla="*/ 25010275 w 25010275"/>
                <a:gd name="connsiteY69" fmla="*/ 578575 h 15035524"/>
                <a:gd name="connsiteX70" fmla="*/ 16350939 w 25010275"/>
                <a:gd name="connsiteY70" fmla="*/ 6053348 h 15035524"/>
                <a:gd name="connsiteX71" fmla="*/ 16362364 w 25010275"/>
                <a:gd name="connsiteY71" fmla="*/ 6360628 h 15035524"/>
                <a:gd name="connsiteX72" fmla="*/ 16682563 w 25010275"/>
                <a:gd name="connsiteY72" fmla="*/ 6798531 h 15035524"/>
                <a:gd name="connsiteX0" fmla="*/ 16682563 w 23888933"/>
                <a:gd name="connsiteY0" fmla="*/ 6798531 h 15035524"/>
                <a:gd name="connsiteX1" fmla="*/ 16432262 w 23888933"/>
                <a:gd name="connsiteY1" fmla="*/ 7825917 h 15035524"/>
                <a:gd name="connsiteX2" fmla="*/ 16106317 w 23888933"/>
                <a:gd name="connsiteY2" fmla="*/ 8367221 h 15035524"/>
                <a:gd name="connsiteX3" fmla="*/ 16305649 w 23888933"/>
                <a:gd name="connsiteY3" fmla="*/ 8754550 h 15035524"/>
                <a:gd name="connsiteX4" fmla="*/ 16287189 w 23888933"/>
                <a:gd name="connsiteY4" fmla="*/ 9151157 h 15035524"/>
                <a:gd name="connsiteX5" fmla="*/ 16372801 w 23888933"/>
                <a:gd name="connsiteY5" fmla="*/ 9717422 h 15035524"/>
                <a:gd name="connsiteX6" fmla="*/ 16070155 w 23888933"/>
                <a:gd name="connsiteY6" fmla="*/ 9937808 h 15035524"/>
                <a:gd name="connsiteX7" fmla="*/ 15805690 w 23888933"/>
                <a:gd name="connsiteY7" fmla="*/ 10431999 h 15035524"/>
                <a:gd name="connsiteX8" fmla="*/ 15195097 w 23888933"/>
                <a:gd name="connsiteY8" fmla="*/ 10093742 h 15035524"/>
                <a:gd name="connsiteX9" fmla="*/ 15011380 w 23888933"/>
                <a:gd name="connsiteY9" fmla="*/ 11048592 h 15035524"/>
                <a:gd name="connsiteX10" fmla="*/ 14908430 w 23888933"/>
                <a:gd name="connsiteY10" fmla="*/ 11937487 h 15035524"/>
                <a:gd name="connsiteX11" fmla="*/ 14904684 w 23888933"/>
                <a:gd name="connsiteY11" fmla="*/ 12760926 h 15035524"/>
                <a:gd name="connsiteX12" fmla="*/ 14929927 w 23888933"/>
                <a:gd name="connsiteY12" fmla="*/ 14391846 h 15035524"/>
                <a:gd name="connsiteX13" fmla="*/ 12952786 w 23888933"/>
                <a:gd name="connsiteY13" fmla="*/ 14842599 h 15035524"/>
                <a:gd name="connsiteX14" fmla="*/ 11934663 w 23888933"/>
                <a:gd name="connsiteY14" fmla="*/ 14890849 h 15035524"/>
                <a:gd name="connsiteX15" fmla="*/ 8506848 w 23888933"/>
                <a:gd name="connsiteY15" fmla="*/ 15035524 h 15035524"/>
                <a:gd name="connsiteX16" fmla="*/ 7985095 w 23888933"/>
                <a:gd name="connsiteY16" fmla="*/ 14390442 h 15035524"/>
                <a:gd name="connsiteX17" fmla="*/ 7400308 w 23888933"/>
                <a:gd name="connsiteY17" fmla="*/ 14360297 h 15035524"/>
                <a:gd name="connsiteX18" fmla="*/ 6972273 w 23888933"/>
                <a:gd name="connsiteY18" fmla="*/ 14631594 h 15035524"/>
                <a:gd name="connsiteX19" fmla="*/ 5181729 w 23888933"/>
                <a:gd name="connsiteY19" fmla="*/ 14547195 h 15035524"/>
                <a:gd name="connsiteX20" fmla="*/ 4397998 w 23888933"/>
                <a:gd name="connsiteY20" fmla="*/ 13914178 h 15035524"/>
                <a:gd name="connsiteX21" fmla="*/ 2908896 w 23888933"/>
                <a:gd name="connsiteY21" fmla="*/ 13106324 h 15035524"/>
                <a:gd name="connsiteX22" fmla="*/ 1263043 w 23888933"/>
                <a:gd name="connsiteY22" fmla="*/ 12394931 h 15035524"/>
                <a:gd name="connsiteX23" fmla="*/ 485320 w 23888933"/>
                <a:gd name="connsiteY23" fmla="*/ 11942774 h 15035524"/>
                <a:gd name="connsiteX24" fmla="*/ 0 w 23888933"/>
                <a:gd name="connsiteY24" fmla="*/ 11649662 h 15035524"/>
                <a:gd name="connsiteX25" fmla="*/ 1003686 w 23888933"/>
                <a:gd name="connsiteY25" fmla="*/ 10903697 h 15035524"/>
                <a:gd name="connsiteX26" fmla="*/ 2902551 w 23888933"/>
                <a:gd name="connsiteY26" fmla="*/ 9719298 h 15035524"/>
                <a:gd name="connsiteX27" fmla="*/ 2558940 w 23888933"/>
                <a:gd name="connsiteY27" fmla="*/ 9185867 h 15035524"/>
                <a:gd name="connsiteX28" fmla="*/ 2402508 w 23888933"/>
                <a:gd name="connsiteY28" fmla="*/ 8498784 h 15035524"/>
                <a:gd name="connsiteX29" fmla="*/ 2730740 w 23888933"/>
                <a:gd name="connsiteY29" fmla="*/ 8471613 h 15035524"/>
                <a:gd name="connsiteX30" fmla="*/ 2947754 w 23888933"/>
                <a:gd name="connsiteY30" fmla="*/ 8001468 h 15035524"/>
                <a:gd name="connsiteX31" fmla="*/ 3499325 w 23888933"/>
                <a:gd name="connsiteY31" fmla="*/ 7558451 h 15035524"/>
                <a:gd name="connsiteX32" fmla="*/ 3680166 w 23888933"/>
                <a:gd name="connsiteY32" fmla="*/ 6681453 h 15035524"/>
                <a:gd name="connsiteX33" fmla="*/ 4186528 w 23888933"/>
                <a:gd name="connsiteY33" fmla="*/ 6690489 h 15035524"/>
                <a:gd name="connsiteX34" fmla="*/ 4837569 w 23888933"/>
                <a:gd name="connsiteY34" fmla="*/ 7160639 h 15035524"/>
                <a:gd name="connsiteX35" fmla="*/ 5352976 w 23888933"/>
                <a:gd name="connsiteY35" fmla="*/ 7079272 h 15035524"/>
                <a:gd name="connsiteX36" fmla="*/ 5741786 w 23888933"/>
                <a:gd name="connsiteY36" fmla="*/ 6708577 h 15035524"/>
                <a:gd name="connsiteX37" fmla="*/ 6157723 w 23888933"/>
                <a:gd name="connsiteY37" fmla="*/ 6545836 h 15035524"/>
                <a:gd name="connsiteX38" fmla="*/ 6745471 w 23888933"/>
                <a:gd name="connsiteY38" fmla="*/ 5976243 h 15035524"/>
                <a:gd name="connsiteX39" fmla="*/ 6890140 w 23888933"/>
                <a:gd name="connsiteY39" fmla="*/ 5126367 h 15035524"/>
                <a:gd name="connsiteX40" fmla="*/ 7568305 w 23888933"/>
                <a:gd name="connsiteY40" fmla="*/ 4556773 h 15035524"/>
                <a:gd name="connsiteX41" fmla="*/ 8137967 w 23888933"/>
                <a:gd name="connsiteY41" fmla="*/ 4113752 h 15035524"/>
                <a:gd name="connsiteX42" fmla="*/ 8463480 w 23888933"/>
                <a:gd name="connsiteY42" fmla="*/ 3309085 h 15035524"/>
                <a:gd name="connsiteX43" fmla="*/ 9024093 w 23888933"/>
                <a:gd name="connsiteY43" fmla="*/ 2956478 h 15035524"/>
                <a:gd name="connsiteX44" fmla="*/ 9675138 w 23888933"/>
                <a:gd name="connsiteY44" fmla="*/ 2603876 h 15035524"/>
                <a:gd name="connsiteX45" fmla="*/ 9558580 w 23888933"/>
                <a:gd name="connsiteY45" fmla="*/ 2055592 h 15035524"/>
                <a:gd name="connsiteX46" fmla="*/ 10353296 w 23888933"/>
                <a:gd name="connsiteY46" fmla="*/ 1383308 h 15035524"/>
                <a:gd name="connsiteX47" fmla="*/ 10832530 w 23888933"/>
                <a:gd name="connsiteY47" fmla="*/ 1310974 h 15035524"/>
                <a:gd name="connsiteX48" fmla="*/ 11058585 w 23888933"/>
                <a:gd name="connsiteY48" fmla="*/ 1763043 h 15035524"/>
                <a:gd name="connsiteX49" fmla="*/ 11411229 w 23888933"/>
                <a:gd name="connsiteY49" fmla="*/ 2142774 h 15035524"/>
                <a:gd name="connsiteX50" fmla="*/ 11998974 w 23888933"/>
                <a:gd name="connsiteY50" fmla="*/ 2224144 h 15035524"/>
                <a:gd name="connsiteX51" fmla="*/ 12315449 w 23888933"/>
                <a:gd name="connsiteY51" fmla="*/ 2884156 h 15035524"/>
                <a:gd name="connsiteX52" fmla="*/ 12785642 w 23888933"/>
                <a:gd name="connsiteY52" fmla="*/ 2703327 h 15035524"/>
                <a:gd name="connsiteX53" fmla="*/ 13671776 w 23888933"/>
                <a:gd name="connsiteY53" fmla="*/ 3155388 h 15035524"/>
                <a:gd name="connsiteX54" fmla="*/ 14123886 w 23888933"/>
                <a:gd name="connsiteY54" fmla="*/ 2857035 h 15035524"/>
                <a:gd name="connsiteX55" fmla="*/ 14259509 w 23888933"/>
                <a:gd name="connsiteY55" fmla="*/ 2287434 h 15035524"/>
                <a:gd name="connsiteX56" fmla="*/ 14892468 w 23888933"/>
                <a:gd name="connsiteY56" fmla="*/ 1645503 h 15035524"/>
                <a:gd name="connsiteX57" fmla="*/ 15778605 w 23888933"/>
                <a:gd name="connsiteY57" fmla="*/ 1093983 h 15035524"/>
                <a:gd name="connsiteX58" fmla="*/ 16022739 w 23888933"/>
                <a:gd name="connsiteY58" fmla="*/ 1564133 h 15035524"/>
                <a:gd name="connsiteX59" fmla="*/ 16556232 w 23888933"/>
                <a:gd name="connsiteY59" fmla="*/ 2142785 h 15035524"/>
                <a:gd name="connsiteX60" fmla="*/ 17406193 w 23888933"/>
                <a:gd name="connsiteY60" fmla="*/ 1292897 h 15035524"/>
                <a:gd name="connsiteX61" fmla="*/ 18120524 w 23888933"/>
                <a:gd name="connsiteY61" fmla="*/ 714260 h 15035524"/>
                <a:gd name="connsiteX62" fmla="*/ 18744437 w 23888933"/>
                <a:gd name="connsiteY62" fmla="*/ -1 h 15035524"/>
                <a:gd name="connsiteX63" fmla="*/ 19982300 w 23888933"/>
                <a:gd name="connsiteY63" fmla="*/ 343465 h 15035524"/>
                <a:gd name="connsiteX64" fmla="*/ 19837609 w 23888933"/>
                <a:gd name="connsiteY64" fmla="*/ 1121173 h 15035524"/>
                <a:gd name="connsiteX65" fmla="*/ 21881359 w 23888933"/>
                <a:gd name="connsiteY65" fmla="*/ 1772279 h 15035524"/>
                <a:gd name="connsiteX66" fmla="*/ 21537712 w 23888933"/>
                <a:gd name="connsiteY66" fmla="*/ 2767023 h 15035524"/>
                <a:gd name="connsiteX67" fmla="*/ 22478203 w 23888933"/>
                <a:gd name="connsiteY67" fmla="*/ 2296774 h 15035524"/>
                <a:gd name="connsiteX68" fmla="*/ 23888932 w 23888933"/>
                <a:gd name="connsiteY68" fmla="*/ 1880797 h 15035524"/>
                <a:gd name="connsiteX69" fmla="*/ 17541488 w 23888933"/>
                <a:gd name="connsiteY69" fmla="*/ 3715695 h 15035524"/>
                <a:gd name="connsiteX70" fmla="*/ 16350939 w 23888933"/>
                <a:gd name="connsiteY70" fmla="*/ 6053348 h 15035524"/>
                <a:gd name="connsiteX71" fmla="*/ 16362364 w 23888933"/>
                <a:gd name="connsiteY71" fmla="*/ 6360628 h 15035524"/>
                <a:gd name="connsiteX72" fmla="*/ 16682563 w 23888933"/>
                <a:gd name="connsiteY72" fmla="*/ 6798531 h 15035524"/>
                <a:gd name="connsiteX0" fmla="*/ 16682563 w 23888933"/>
                <a:gd name="connsiteY0" fmla="*/ 6798531 h 15035524"/>
                <a:gd name="connsiteX1" fmla="*/ 16432262 w 23888933"/>
                <a:gd name="connsiteY1" fmla="*/ 7825917 h 15035524"/>
                <a:gd name="connsiteX2" fmla="*/ 16106317 w 23888933"/>
                <a:gd name="connsiteY2" fmla="*/ 8367221 h 15035524"/>
                <a:gd name="connsiteX3" fmla="*/ 16305649 w 23888933"/>
                <a:gd name="connsiteY3" fmla="*/ 8754550 h 15035524"/>
                <a:gd name="connsiteX4" fmla="*/ 16287189 w 23888933"/>
                <a:gd name="connsiteY4" fmla="*/ 9151157 h 15035524"/>
                <a:gd name="connsiteX5" fmla="*/ 16372801 w 23888933"/>
                <a:gd name="connsiteY5" fmla="*/ 9717422 h 15035524"/>
                <a:gd name="connsiteX6" fmla="*/ 16070155 w 23888933"/>
                <a:gd name="connsiteY6" fmla="*/ 9937808 h 15035524"/>
                <a:gd name="connsiteX7" fmla="*/ 15805690 w 23888933"/>
                <a:gd name="connsiteY7" fmla="*/ 10431999 h 15035524"/>
                <a:gd name="connsiteX8" fmla="*/ 15195097 w 23888933"/>
                <a:gd name="connsiteY8" fmla="*/ 10093742 h 15035524"/>
                <a:gd name="connsiteX9" fmla="*/ 15011380 w 23888933"/>
                <a:gd name="connsiteY9" fmla="*/ 11048592 h 15035524"/>
                <a:gd name="connsiteX10" fmla="*/ 14908430 w 23888933"/>
                <a:gd name="connsiteY10" fmla="*/ 11937487 h 15035524"/>
                <a:gd name="connsiteX11" fmla="*/ 14904684 w 23888933"/>
                <a:gd name="connsiteY11" fmla="*/ 12760926 h 15035524"/>
                <a:gd name="connsiteX12" fmla="*/ 14929927 w 23888933"/>
                <a:gd name="connsiteY12" fmla="*/ 14391846 h 15035524"/>
                <a:gd name="connsiteX13" fmla="*/ 12952786 w 23888933"/>
                <a:gd name="connsiteY13" fmla="*/ 14842599 h 15035524"/>
                <a:gd name="connsiteX14" fmla="*/ 11934663 w 23888933"/>
                <a:gd name="connsiteY14" fmla="*/ 14890849 h 15035524"/>
                <a:gd name="connsiteX15" fmla="*/ 8506848 w 23888933"/>
                <a:gd name="connsiteY15" fmla="*/ 15035524 h 15035524"/>
                <a:gd name="connsiteX16" fmla="*/ 7985095 w 23888933"/>
                <a:gd name="connsiteY16" fmla="*/ 14390442 h 15035524"/>
                <a:gd name="connsiteX17" fmla="*/ 7400308 w 23888933"/>
                <a:gd name="connsiteY17" fmla="*/ 14360297 h 15035524"/>
                <a:gd name="connsiteX18" fmla="*/ 6972273 w 23888933"/>
                <a:gd name="connsiteY18" fmla="*/ 14631594 h 15035524"/>
                <a:gd name="connsiteX19" fmla="*/ 5181729 w 23888933"/>
                <a:gd name="connsiteY19" fmla="*/ 14547195 h 15035524"/>
                <a:gd name="connsiteX20" fmla="*/ 4397998 w 23888933"/>
                <a:gd name="connsiteY20" fmla="*/ 13914178 h 15035524"/>
                <a:gd name="connsiteX21" fmla="*/ 2908896 w 23888933"/>
                <a:gd name="connsiteY21" fmla="*/ 13106324 h 15035524"/>
                <a:gd name="connsiteX22" fmla="*/ 1263043 w 23888933"/>
                <a:gd name="connsiteY22" fmla="*/ 12394931 h 15035524"/>
                <a:gd name="connsiteX23" fmla="*/ 485320 w 23888933"/>
                <a:gd name="connsiteY23" fmla="*/ 11942774 h 15035524"/>
                <a:gd name="connsiteX24" fmla="*/ 0 w 23888933"/>
                <a:gd name="connsiteY24" fmla="*/ 11649662 h 15035524"/>
                <a:gd name="connsiteX25" fmla="*/ 1003686 w 23888933"/>
                <a:gd name="connsiteY25" fmla="*/ 10903697 h 15035524"/>
                <a:gd name="connsiteX26" fmla="*/ 2902551 w 23888933"/>
                <a:gd name="connsiteY26" fmla="*/ 9719298 h 15035524"/>
                <a:gd name="connsiteX27" fmla="*/ 2558940 w 23888933"/>
                <a:gd name="connsiteY27" fmla="*/ 9185867 h 15035524"/>
                <a:gd name="connsiteX28" fmla="*/ 2402508 w 23888933"/>
                <a:gd name="connsiteY28" fmla="*/ 8498784 h 15035524"/>
                <a:gd name="connsiteX29" fmla="*/ 2730740 w 23888933"/>
                <a:gd name="connsiteY29" fmla="*/ 8471613 h 15035524"/>
                <a:gd name="connsiteX30" fmla="*/ 2947754 w 23888933"/>
                <a:gd name="connsiteY30" fmla="*/ 8001468 h 15035524"/>
                <a:gd name="connsiteX31" fmla="*/ 3499325 w 23888933"/>
                <a:gd name="connsiteY31" fmla="*/ 7558451 h 15035524"/>
                <a:gd name="connsiteX32" fmla="*/ 3680166 w 23888933"/>
                <a:gd name="connsiteY32" fmla="*/ 6681453 h 15035524"/>
                <a:gd name="connsiteX33" fmla="*/ 4186528 w 23888933"/>
                <a:gd name="connsiteY33" fmla="*/ 6690489 h 15035524"/>
                <a:gd name="connsiteX34" fmla="*/ 4837569 w 23888933"/>
                <a:gd name="connsiteY34" fmla="*/ 7160639 h 15035524"/>
                <a:gd name="connsiteX35" fmla="*/ 5352976 w 23888933"/>
                <a:gd name="connsiteY35" fmla="*/ 7079272 h 15035524"/>
                <a:gd name="connsiteX36" fmla="*/ 5741786 w 23888933"/>
                <a:gd name="connsiteY36" fmla="*/ 6708577 h 15035524"/>
                <a:gd name="connsiteX37" fmla="*/ 6157723 w 23888933"/>
                <a:gd name="connsiteY37" fmla="*/ 6545836 h 15035524"/>
                <a:gd name="connsiteX38" fmla="*/ 6745471 w 23888933"/>
                <a:gd name="connsiteY38" fmla="*/ 5976243 h 15035524"/>
                <a:gd name="connsiteX39" fmla="*/ 6890140 w 23888933"/>
                <a:gd name="connsiteY39" fmla="*/ 5126367 h 15035524"/>
                <a:gd name="connsiteX40" fmla="*/ 7568305 w 23888933"/>
                <a:gd name="connsiteY40" fmla="*/ 4556773 h 15035524"/>
                <a:gd name="connsiteX41" fmla="*/ 8137967 w 23888933"/>
                <a:gd name="connsiteY41" fmla="*/ 4113752 h 15035524"/>
                <a:gd name="connsiteX42" fmla="*/ 8463480 w 23888933"/>
                <a:gd name="connsiteY42" fmla="*/ 3309085 h 15035524"/>
                <a:gd name="connsiteX43" fmla="*/ 9024093 w 23888933"/>
                <a:gd name="connsiteY43" fmla="*/ 2956478 h 15035524"/>
                <a:gd name="connsiteX44" fmla="*/ 9675138 w 23888933"/>
                <a:gd name="connsiteY44" fmla="*/ 2603876 h 15035524"/>
                <a:gd name="connsiteX45" fmla="*/ 9558580 w 23888933"/>
                <a:gd name="connsiteY45" fmla="*/ 2055592 h 15035524"/>
                <a:gd name="connsiteX46" fmla="*/ 10353296 w 23888933"/>
                <a:gd name="connsiteY46" fmla="*/ 1383308 h 15035524"/>
                <a:gd name="connsiteX47" fmla="*/ 10832530 w 23888933"/>
                <a:gd name="connsiteY47" fmla="*/ 1310974 h 15035524"/>
                <a:gd name="connsiteX48" fmla="*/ 11058585 w 23888933"/>
                <a:gd name="connsiteY48" fmla="*/ 1763043 h 15035524"/>
                <a:gd name="connsiteX49" fmla="*/ 11411229 w 23888933"/>
                <a:gd name="connsiteY49" fmla="*/ 2142774 h 15035524"/>
                <a:gd name="connsiteX50" fmla="*/ 11998974 w 23888933"/>
                <a:gd name="connsiteY50" fmla="*/ 2224144 h 15035524"/>
                <a:gd name="connsiteX51" fmla="*/ 12315449 w 23888933"/>
                <a:gd name="connsiteY51" fmla="*/ 2884156 h 15035524"/>
                <a:gd name="connsiteX52" fmla="*/ 12785642 w 23888933"/>
                <a:gd name="connsiteY52" fmla="*/ 2703327 h 15035524"/>
                <a:gd name="connsiteX53" fmla="*/ 13671776 w 23888933"/>
                <a:gd name="connsiteY53" fmla="*/ 3155388 h 15035524"/>
                <a:gd name="connsiteX54" fmla="*/ 14123886 w 23888933"/>
                <a:gd name="connsiteY54" fmla="*/ 2857035 h 15035524"/>
                <a:gd name="connsiteX55" fmla="*/ 14259509 w 23888933"/>
                <a:gd name="connsiteY55" fmla="*/ 2287434 h 15035524"/>
                <a:gd name="connsiteX56" fmla="*/ 14892468 w 23888933"/>
                <a:gd name="connsiteY56" fmla="*/ 1645503 h 15035524"/>
                <a:gd name="connsiteX57" fmla="*/ 15778605 w 23888933"/>
                <a:gd name="connsiteY57" fmla="*/ 1093983 h 15035524"/>
                <a:gd name="connsiteX58" fmla="*/ 16022739 w 23888933"/>
                <a:gd name="connsiteY58" fmla="*/ 1564133 h 15035524"/>
                <a:gd name="connsiteX59" fmla="*/ 16556232 w 23888933"/>
                <a:gd name="connsiteY59" fmla="*/ 2142785 h 15035524"/>
                <a:gd name="connsiteX60" fmla="*/ 17406193 w 23888933"/>
                <a:gd name="connsiteY60" fmla="*/ 1292897 h 15035524"/>
                <a:gd name="connsiteX61" fmla="*/ 18120524 w 23888933"/>
                <a:gd name="connsiteY61" fmla="*/ 714260 h 15035524"/>
                <a:gd name="connsiteX62" fmla="*/ 18744437 w 23888933"/>
                <a:gd name="connsiteY62" fmla="*/ -1 h 15035524"/>
                <a:gd name="connsiteX63" fmla="*/ 19982300 w 23888933"/>
                <a:gd name="connsiteY63" fmla="*/ 343465 h 15035524"/>
                <a:gd name="connsiteX64" fmla="*/ 19837609 w 23888933"/>
                <a:gd name="connsiteY64" fmla="*/ 1121173 h 15035524"/>
                <a:gd name="connsiteX65" fmla="*/ 21881359 w 23888933"/>
                <a:gd name="connsiteY65" fmla="*/ 1772279 h 15035524"/>
                <a:gd name="connsiteX66" fmla="*/ 21537712 w 23888933"/>
                <a:gd name="connsiteY66" fmla="*/ 2767023 h 15035524"/>
                <a:gd name="connsiteX67" fmla="*/ 22478203 w 23888933"/>
                <a:gd name="connsiteY67" fmla="*/ 2296774 h 15035524"/>
                <a:gd name="connsiteX68" fmla="*/ 23888932 w 23888933"/>
                <a:gd name="connsiteY68" fmla="*/ 1880797 h 15035524"/>
                <a:gd name="connsiteX69" fmla="*/ 14031723 w 23888933"/>
                <a:gd name="connsiteY69" fmla="*/ 5592368 h 15035524"/>
                <a:gd name="connsiteX70" fmla="*/ 16350939 w 23888933"/>
                <a:gd name="connsiteY70" fmla="*/ 6053348 h 15035524"/>
                <a:gd name="connsiteX71" fmla="*/ 16362364 w 23888933"/>
                <a:gd name="connsiteY71" fmla="*/ 6360628 h 15035524"/>
                <a:gd name="connsiteX72" fmla="*/ 16682563 w 23888933"/>
                <a:gd name="connsiteY72" fmla="*/ 6798531 h 15035524"/>
                <a:gd name="connsiteX0" fmla="*/ 16682563 w 23888933"/>
                <a:gd name="connsiteY0" fmla="*/ 6798531 h 15035524"/>
                <a:gd name="connsiteX1" fmla="*/ 16432262 w 23888933"/>
                <a:gd name="connsiteY1" fmla="*/ 7825917 h 15035524"/>
                <a:gd name="connsiteX2" fmla="*/ 16106317 w 23888933"/>
                <a:gd name="connsiteY2" fmla="*/ 8367221 h 15035524"/>
                <a:gd name="connsiteX3" fmla="*/ 16305649 w 23888933"/>
                <a:gd name="connsiteY3" fmla="*/ 8754550 h 15035524"/>
                <a:gd name="connsiteX4" fmla="*/ 16287189 w 23888933"/>
                <a:gd name="connsiteY4" fmla="*/ 9151157 h 15035524"/>
                <a:gd name="connsiteX5" fmla="*/ 16372801 w 23888933"/>
                <a:gd name="connsiteY5" fmla="*/ 9717422 h 15035524"/>
                <a:gd name="connsiteX6" fmla="*/ 16070155 w 23888933"/>
                <a:gd name="connsiteY6" fmla="*/ 9937808 h 15035524"/>
                <a:gd name="connsiteX7" fmla="*/ 15805690 w 23888933"/>
                <a:gd name="connsiteY7" fmla="*/ 10431999 h 15035524"/>
                <a:gd name="connsiteX8" fmla="*/ 15195097 w 23888933"/>
                <a:gd name="connsiteY8" fmla="*/ 10093742 h 15035524"/>
                <a:gd name="connsiteX9" fmla="*/ 15011380 w 23888933"/>
                <a:gd name="connsiteY9" fmla="*/ 11048592 h 15035524"/>
                <a:gd name="connsiteX10" fmla="*/ 14908430 w 23888933"/>
                <a:gd name="connsiteY10" fmla="*/ 11937487 h 15035524"/>
                <a:gd name="connsiteX11" fmla="*/ 14904684 w 23888933"/>
                <a:gd name="connsiteY11" fmla="*/ 12760926 h 15035524"/>
                <a:gd name="connsiteX12" fmla="*/ 14929927 w 23888933"/>
                <a:gd name="connsiteY12" fmla="*/ 14391846 h 15035524"/>
                <a:gd name="connsiteX13" fmla="*/ 12952786 w 23888933"/>
                <a:gd name="connsiteY13" fmla="*/ 14842599 h 15035524"/>
                <a:gd name="connsiteX14" fmla="*/ 11934663 w 23888933"/>
                <a:gd name="connsiteY14" fmla="*/ 14890849 h 15035524"/>
                <a:gd name="connsiteX15" fmla="*/ 8506848 w 23888933"/>
                <a:gd name="connsiteY15" fmla="*/ 15035524 h 15035524"/>
                <a:gd name="connsiteX16" fmla="*/ 7985095 w 23888933"/>
                <a:gd name="connsiteY16" fmla="*/ 14390442 h 15035524"/>
                <a:gd name="connsiteX17" fmla="*/ 7400308 w 23888933"/>
                <a:gd name="connsiteY17" fmla="*/ 14360297 h 15035524"/>
                <a:gd name="connsiteX18" fmla="*/ 6972273 w 23888933"/>
                <a:gd name="connsiteY18" fmla="*/ 14631594 h 15035524"/>
                <a:gd name="connsiteX19" fmla="*/ 5181729 w 23888933"/>
                <a:gd name="connsiteY19" fmla="*/ 14547195 h 15035524"/>
                <a:gd name="connsiteX20" fmla="*/ 4397998 w 23888933"/>
                <a:gd name="connsiteY20" fmla="*/ 13914178 h 15035524"/>
                <a:gd name="connsiteX21" fmla="*/ 2908896 w 23888933"/>
                <a:gd name="connsiteY21" fmla="*/ 13106324 h 15035524"/>
                <a:gd name="connsiteX22" fmla="*/ 1263043 w 23888933"/>
                <a:gd name="connsiteY22" fmla="*/ 12394931 h 15035524"/>
                <a:gd name="connsiteX23" fmla="*/ 485320 w 23888933"/>
                <a:gd name="connsiteY23" fmla="*/ 11942774 h 15035524"/>
                <a:gd name="connsiteX24" fmla="*/ 0 w 23888933"/>
                <a:gd name="connsiteY24" fmla="*/ 11649662 h 15035524"/>
                <a:gd name="connsiteX25" fmla="*/ 1003686 w 23888933"/>
                <a:gd name="connsiteY25" fmla="*/ 10903697 h 15035524"/>
                <a:gd name="connsiteX26" fmla="*/ 2902551 w 23888933"/>
                <a:gd name="connsiteY26" fmla="*/ 9719298 h 15035524"/>
                <a:gd name="connsiteX27" fmla="*/ 2558940 w 23888933"/>
                <a:gd name="connsiteY27" fmla="*/ 9185867 h 15035524"/>
                <a:gd name="connsiteX28" fmla="*/ 2402508 w 23888933"/>
                <a:gd name="connsiteY28" fmla="*/ 8498784 h 15035524"/>
                <a:gd name="connsiteX29" fmla="*/ 2730740 w 23888933"/>
                <a:gd name="connsiteY29" fmla="*/ 8471613 h 15035524"/>
                <a:gd name="connsiteX30" fmla="*/ 2947754 w 23888933"/>
                <a:gd name="connsiteY30" fmla="*/ 8001468 h 15035524"/>
                <a:gd name="connsiteX31" fmla="*/ 3499325 w 23888933"/>
                <a:gd name="connsiteY31" fmla="*/ 7558451 h 15035524"/>
                <a:gd name="connsiteX32" fmla="*/ 3680166 w 23888933"/>
                <a:gd name="connsiteY32" fmla="*/ 6681453 h 15035524"/>
                <a:gd name="connsiteX33" fmla="*/ 4186528 w 23888933"/>
                <a:gd name="connsiteY33" fmla="*/ 6690489 h 15035524"/>
                <a:gd name="connsiteX34" fmla="*/ 4837569 w 23888933"/>
                <a:gd name="connsiteY34" fmla="*/ 7160639 h 15035524"/>
                <a:gd name="connsiteX35" fmla="*/ 5352976 w 23888933"/>
                <a:gd name="connsiteY35" fmla="*/ 7079272 h 15035524"/>
                <a:gd name="connsiteX36" fmla="*/ 5741786 w 23888933"/>
                <a:gd name="connsiteY36" fmla="*/ 6708577 h 15035524"/>
                <a:gd name="connsiteX37" fmla="*/ 6157723 w 23888933"/>
                <a:gd name="connsiteY37" fmla="*/ 6545836 h 15035524"/>
                <a:gd name="connsiteX38" fmla="*/ 6745471 w 23888933"/>
                <a:gd name="connsiteY38" fmla="*/ 5976243 h 15035524"/>
                <a:gd name="connsiteX39" fmla="*/ 6890140 w 23888933"/>
                <a:gd name="connsiteY39" fmla="*/ 5126367 h 15035524"/>
                <a:gd name="connsiteX40" fmla="*/ 7568305 w 23888933"/>
                <a:gd name="connsiteY40" fmla="*/ 4556773 h 15035524"/>
                <a:gd name="connsiteX41" fmla="*/ 8137967 w 23888933"/>
                <a:gd name="connsiteY41" fmla="*/ 4113752 h 15035524"/>
                <a:gd name="connsiteX42" fmla="*/ 8463480 w 23888933"/>
                <a:gd name="connsiteY42" fmla="*/ 3309085 h 15035524"/>
                <a:gd name="connsiteX43" fmla="*/ 9024093 w 23888933"/>
                <a:gd name="connsiteY43" fmla="*/ 2956478 h 15035524"/>
                <a:gd name="connsiteX44" fmla="*/ 9675138 w 23888933"/>
                <a:gd name="connsiteY44" fmla="*/ 2603876 h 15035524"/>
                <a:gd name="connsiteX45" fmla="*/ 9558580 w 23888933"/>
                <a:gd name="connsiteY45" fmla="*/ 2055592 h 15035524"/>
                <a:gd name="connsiteX46" fmla="*/ 10353296 w 23888933"/>
                <a:gd name="connsiteY46" fmla="*/ 1383308 h 15035524"/>
                <a:gd name="connsiteX47" fmla="*/ 10832530 w 23888933"/>
                <a:gd name="connsiteY47" fmla="*/ 1310974 h 15035524"/>
                <a:gd name="connsiteX48" fmla="*/ 11058585 w 23888933"/>
                <a:gd name="connsiteY48" fmla="*/ 1763043 h 15035524"/>
                <a:gd name="connsiteX49" fmla="*/ 11411229 w 23888933"/>
                <a:gd name="connsiteY49" fmla="*/ 2142774 h 15035524"/>
                <a:gd name="connsiteX50" fmla="*/ 11998974 w 23888933"/>
                <a:gd name="connsiteY50" fmla="*/ 2224144 h 15035524"/>
                <a:gd name="connsiteX51" fmla="*/ 12315449 w 23888933"/>
                <a:gd name="connsiteY51" fmla="*/ 2884156 h 15035524"/>
                <a:gd name="connsiteX52" fmla="*/ 12785642 w 23888933"/>
                <a:gd name="connsiteY52" fmla="*/ 2703327 h 15035524"/>
                <a:gd name="connsiteX53" fmla="*/ 13671776 w 23888933"/>
                <a:gd name="connsiteY53" fmla="*/ 3155388 h 15035524"/>
                <a:gd name="connsiteX54" fmla="*/ 14123886 w 23888933"/>
                <a:gd name="connsiteY54" fmla="*/ 2857035 h 15035524"/>
                <a:gd name="connsiteX55" fmla="*/ 14259509 w 23888933"/>
                <a:gd name="connsiteY55" fmla="*/ 2287434 h 15035524"/>
                <a:gd name="connsiteX56" fmla="*/ 14892468 w 23888933"/>
                <a:gd name="connsiteY56" fmla="*/ 1645503 h 15035524"/>
                <a:gd name="connsiteX57" fmla="*/ 15778605 w 23888933"/>
                <a:gd name="connsiteY57" fmla="*/ 1093983 h 15035524"/>
                <a:gd name="connsiteX58" fmla="*/ 16022739 w 23888933"/>
                <a:gd name="connsiteY58" fmla="*/ 1564133 h 15035524"/>
                <a:gd name="connsiteX59" fmla="*/ 16556232 w 23888933"/>
                <a:gd name="connsiteY59" fmla="*/ 2142785 h 15035524"/>
                <a:gd name="connsiteX60" fmla="*/ 17406193 w 23888933"/>
                <a:gd name="connsiteY60" fmla="*/ 1292897 h 15035524"/>
                <a:gd name="connsiteX61" fmla="*/ 18120524 w 23888933"/>
                <a:gd name="connsiteY61" fmla="*/ 714260 h 15035524"/>
                <a:gd name="connsiteX62" fmla="*/ 18744437 w 23888933"/>
                <a:gd name="connsiteY62" fmla="*/ -1 h 15035524"/>
                <a:gd name="connsiteX63" fmla="*/ 19982300 w 23888933"/>
                <a:gd name="connsiteY63" fmla="*/ 343465 h 15035524"/>
                <a:gd name="connsiteX64" fmla="*/ 19837609 w 23888933"/>
                <a:gd name="connsiteY64" fmla="*/ 1121173 h 15035524"/>
                <a:gd name="connsiteX65" fmla="*/ 21881359 w 23888933"/>
                <a:gd name="connsiteY65" fmla="*/ 1772279 h 15035524"/>
                <a:gd name="connsiteX66" fmla="*/ 21537712 w 23888933"/>
                <a:gd name="connsiteY66" fmla="*/ 2767023 h 15035524"/>
                <a:gd name="connsiteX67" fmla="*/ 22478203 w 23888933"/>
                <a:gd name="connsiteY67" fmla="*/ 2296774 h 15035524"/>
                <a:gd name="connsiteX68" fmla="*/ 23888932 w 23888933"/>
                <a:gd name="connsiteY68" fmla="*/ 1880797 h 15035524"/>
                <a:gd name="connsiteX69" fmla="*/ 15323320 w 23888933"/>
                <a:gd name="connsiteY69" fmla="*/ 5928489 h 15035524"/>
                <a:gd name="connsiteX70" fmla="*/ 16350939 w 23888933"/>
                <a:gd name="connsiteY70" fmla="*/ 6053348 h 15035524"/>
                <a:gd name="connsiteX71" fmla="*/ 16362364 w 23888933"/>
                <a:gd name="connsiteY71" fmla="*/ 6360628 h 15035524"/>
                <a:gd name="connsiteX72" fmla="*/ 16682563 w 23888933"/>
                <a:gd name="connsiteY72" fmla="*/ 6798531 h 15035524"/>
                <a:gd name="connsiteX0" fmla="*/ 16682563 w 22478203"/>
                <a:gd name="connsiteY0" fmla="*/ 6798531 h 15035524"/>
                <a:gd name="connsiteX1" fmla="*/ 16432262 w 22478203"/>
                <a:gd name="connsiteY1" fmla="*/ 7825917 h 15035524"/>
                <a:gd name="connsiteX2" fmla="*/ 16106317 w 22478203"/>
                <a:gd name="connsiteY2" fmla="*/ 8367221 h 15035524"/>
                <a:gd name="connsiteX3" fmla="*/ 16305649 w 22478203"/>
                <a:gd name="connsiteY3" fmla="*/ 8754550 h 15035524"/>
                <a:gd name="connsiteX4" fmla="*/ 16287189 w 22478203"/>
                <a:gd name="connsiteY4" fmla="*/ 9151157 h 15035524"/>
                <a:gd name="connsiteX5" fmla="*/ 16372801 w 22478203"/>
                <a:gd name="connsiteY5" fmla="*/ 9717422 h 15035524"/>
                <a:gd name="connsiteX6" fmla="*/ 16070155 w 22478203"/>
                <a:gd name="connsiteY6" fmla="*/ 9937808 h 15035524"/>
                <a:gd name="connsiteX7" fmla="*/ 15805690 w 22478203"/>
                <a:gd name="connsiteY7" fmla="*/ 10431999 h 15035524"/>
                <a:gd name="connsiteX8" fmla="*/ 15195097 w 22478203"/>
                <a:gd name="connsiteY8" fmla="*/ 10093742 h 15035524"/>
                <a:gd name="connsiteX9" fmla="*/ 15011380 w 22478203"/>
                <a:gd name="connsiteY9" fmla="*/ 11048592 h 15035524"/>
                <a:gd name="connsiteX10" fmla="*/ 14908430 w 22478203"/>
                <a:gd name="connsiteY10" fmla="*/ 11937487 h 15035524"/>
                <a:gd name="connsiteX11" fmla="*/ 14904684 w 22478203"/>
                <a:gd name="connsiteY11" fmla="*/ 12760926 h 15035524"/>
                <a:gd name="connsiteX12" fmla="*/ 14929927 w 22478203"/>
                <a:gd name="connsiteY12" fmla="*/ 14391846 h 15035524"/>
                <a:gd name="connsiteX13" fmla="*/ 12952786 w 22478203"/>
                <a:gd name="connsiteY13" fmla="*/ 14842599 h 15035524"/>
                <a:gd name="connsiteX14" fmla="*/ 11934663 w 22478203"/>
                <a:gd name="connsiteY14" fmla="*/ 14890849 h 15035524"/>
                <a:gd name="connsiteX15" fmla="*/ 8506848 w 22478203"/>
                <a:gd name="connsiteY15" fmla="*/ 15035524 h 15035524"/>
                <a:gd name="connsiteX16" fmla="*/ 7985095 w 22478203"/>
                <a:gd name="connsiteY16" fmla="*/ 14390442 h 15035524"/>
                <a:gd name="connsiteX17" fmla="*/ 7400308 w 22478203"/>
                <a:gd name="connsiteY17" fmla="*/ 14360297 h 15035524"/>
                <a:gd name="connsiteX18" fmla="*/ 6972273 w 22478203"/>
                <a:gd name="connsiteY18" fmla="*/ 14631594 h 15035524"/>
                <a:gd name="connsiteX19" fmla="*/ 5181729 w 22478203"/>
                <a:gd name="connsiteY19" fmla="*/ 14547195 h 15035524"/>
                <a:gd name="connsiteX20" fmla="*/ 4397998 w 22478203"/>
                <a:gd name="connsiteY20" fmla="*/ 13914178 h 15035524"/>
                <a:gd name="connsiteX21" fmla="*/ 2908896 w 22478203"/>
                <a:gd name="connsiteY21" fmla="*/ 13106324 h 15035524"/>
                <a:gd name="connsiteX22" fmla="*/ 1263043 w 22478203"/>
                <a:gd name="connsiteY22" fmla="*/ 12394931 h 15035524"/>
                <a:gd name="connsiteX23" fmla="*/ 485320 w 22478203"/>
                <a:gd name="connsiteY23" fmla="*/ 11942774 h 15035524"/>
                <a:gd name="connsiteX24" fmla="*/ 0 w 22478203"/>
                <a:gd name="connsiteY24" fmla="*/ 11649662 h 15035524"/>
                <a:gd name="connsiteX25" fmla="*/ 1003686 w 22478203"/>
                <a:gd name="connsiteY25" fmla="*/ 10903697 h 15035524"/>
                <a:gd name="connsiteX26" fmla="*/ 2902551 w 22478203"/>
                <a:gd name="connsiteY26" fmla="*/ 9719298 h 15035524"/>
                <a:gd name="connsiteX27" fmla="*/ 2558940 w 22478203"/>
                <a:gd name="connsiteY27" fmla="*/ 9185867 h 15035524"/>
                <a:gd name="connsiteX28" fmla="*/ 2402508 w 22478203"/>
                <a:gd name="connsiteY28" fmla="*/ 8498784 h 15035524"/>
                <a:gd name="connsiteX29" fmla="*/ 2730740 w 22478203"/>
                <a:gd name="connsiteY29" fmla="*/ 8471613 h 15035524"/>
                <a:gd name="connsiteX30" fmla="*/ 2947754 w 22478203"/>
                <a:gd name="connsiteY30" fmla="*/ 8001468 h 15035524"/>
                <a:gd name="connsiteX31" fmla="*/ 3499325 w 22478203"/>
                <a:gd name="connsiteY31" fmla="*/ 7558451 h 15035524"/>
                <a:gd name="connsiteX32" fmla="*/ 3680166 w 22478203"/>
                <a:gd name="connsiteY32" fmla="*/ 6681453 h 15035524"/>
                <a:gd name="connsiteX33" fmla="*/ 4186528 w 22478203"/>
                <a:gd name="connsiteY33" fmla="*/ 6690489 h 15035524"/>
                <a:gd name="connsiteX34" fmla="*/ 4837569 w 22478203"/>
                <a:gd name="connsiteY34" fmla="*/ 7160639 h 15035524"/>
                <a:gd name="connsiteX35" fmla="*/ 5352976 w 22478203"/>
                <a:gd name="connsiteY35" fmla="*/ 7079272 h 15035524"/>
                <a:gd name="connsiteX36" fmla="*/ 5741786 w 22478203"/>
                <a:gd name="connsiteY36" fmla="*/ 6708577 h 15035524"/>
                <a:gd name="connsiteX37" fmla="*/ 6157723 w 22478203"/>
                <a:gd name="connsiteY37" fmla="*/ 6545836 h 15035524"/>
                <a:gd name="connsiteX38" fmla="*/ 6745471 w 22478203"/>
                <a:gd name="connsiteY38" fmla="*/ 5976243 h 15035524"/>
                <a:gd name="connsiteX39" fmla="*/ 6890140 w 22478203"/>
                <a:gd name="connsiteY39" fmla="*/ 5126367 h 15035524"/>
                <a:gd name="connsiteX40" fmla="*/ 7568305 w 22478203"/>
                <a:gd name="connsiteY40" fmla="*/ 4556773 h 15035524"/>
                <a:gd name="connsiteX41" fmla="*/ 8137967 w 22478203"/>
                <a:gd name="connsiteY41" fmla="*/ 4113752 h 15035524"/>
                <a:gd name="connsiteX42" fmla="*/ 8463480 w 22478203"/>
                <a:gd name="connsiteY42" fmla="*/ 3309085 h 15035524"/>
                <a:gd name="connsiteX43" fmla="*/ 9024093 w 22478203"/>
                <a:gd name="connsiteY43" fmla="*/ 2956478 h 15035524"/>
                <a:gd name="connsiteX44" fmla="*/ 9675138 w 22478203"/>
                <a:gd name="connsiteY44" fmla="*/ 2603876 h 15035524"/>
                <a:gd name="connsiteX45" fmla="*/ 9558580 w 22478203"/>
                <a:gd name="connsiteY45" fmla="*/ 2055592 h 15035524"/>
                <a:gd name="connsiteX46" fmla="*/ 10353296 w 22478203"/>
                <a:gd name="connsiteY46" fmla="*/ 1383308 h 15035524"/>
                <a:gd name="connsiteX47" fmla="*/ 10832530 w 22478203"/>
                <a:gd name="connsiteY47" fmla="*/ 1310974 h 15035524"/>
                <a:gd name="connsiteX48" fmla="*/ 11058585 w 22478203"/>
                <a:gd name="connsiteY48" fmla="*/ 1763043 h 15035524"/>
                <a:gd name="connsiteX49" fmla="*/ 11411229 w 22478203"/>
                <a:gd name="connsiteY49" fmla="*/ 2142774 h 15035524"/>
                <a:gd name="connsiteX50" fmla="*/ 11998974 w 22478203"/>
                <a:gd name="connsiteY50" fmla="*/ 2224144 h 15035524"/>
                <a:gd name="connsiteX51" fmla="*/ 12315449 w 22478203"/>
                <a:gd name="connsiteY51" fmla="*/ 2884156 h 15035524"/>
                <a:gd name="connsiteX52" fmla="*/ 12785642 w 22478203"/>
                <a:gd name="connsiteY52" fmla="*/ 2703327 h 15035524"/>
                <a:gd name="connsiteX53" fmla="*/ 13671776 w 22478203"/>
                <a:gd name="connsiteY53" fmla="*/ 3155388 h 15035524"/>
                <a:gd name="connsiteX54" fmla="*/ 14123886 w 22478203"/>
                <a:gd name="connsiteY54" fmla="*/ 2857035 h 15035524"/>
                <a:gd name="connsiteX55" fmla="*/ 14259509 w 22478203"/>
                <a:gd name="connsiteY55" fmla="*/ 2287434 h 15035524"/>
                <a:gd name="connsiteX56" fmla="*/ 14892468 w 22478203"/>
                <a:gd name="connsiteY56" fmla="*/ 1645503 h 15035524"/>
                <a:gd name="connsiteX57" fmla="*/ 15778605 w 22478203"/>
                <a:gd name="connsiteY57" fmla="*/ 1093983 h 15035524"/>
                <a:gd name="connsiteX58" fmla="*/ 16022739 w 22478203"/>
                <a:gd name="connsiteY58" fmla="*/ 1564133 h 15035524"/>
                <a:gd name="connsiteX59" fmla="*/ 16556232 w 22478203"/>
                <a:gd name="connsiteY59" fmla="*/ 2142785 h 15035524"/>
                <a:gd name="connsiteX60" fmla="*/ 17406193 w 22478203"/>
                <a:gd name="connsiteY60" fmla="*/ 1292897 h 15035524"/>
                <a:gd name="connsiteX61" fmla="*/ 18120524 w 22478203"/>
                <a:gd name="connsiteY61" fmla="*/ 714260 h 15035524"/>
                <a:gd name="connsiteX62" fmla="*/ 18744437 w 22478203"/>
                <a:gd name="connsiteY62" fmla="*/ -1 h 15035524"/>
                <a:gd name="connsiteX63" fmla="*/ 19982300 w 22478203"/>
                <a:gd name="connsiteY63" fmla="*/ 343465 h 15035524"/>
                <a:gd name="connsiteX64" fmla="*/ 19837609 w 22478203"/>
                <a:gd name="connsiteY64" fmla="*/ 1121173 h 15035524"/>
                <a:gd name="connsiteX65" fmla="*/ 21881359 w 22478203"/>
                <a:gd name="connsiteY65" fmla="*/ 1772279 h 15035524"/>
                <a:gd name="connsiteX66" fmla="*/ 21537712 w 22478203"/>
                <a:gd name="connsiteY66" fmla="*/ 2767023 h 15035524"/>
                <a:gd name="connsiteX67" fmla="*/ 22478203 w 22478203"/>
                <a:gd name="connsiteY67" fmla="*/ 2296774 h 15035524"/>
                <a:gd name="connsiteX68" fmla="*/ 14960077 w 22478203"/>
                <a:gd name="connsiteY68" fmla="*/ 5017927 h 15035524"/>
                <a:gd name="connsiteX69" fmla="*/ 15323320 w 22478203"/>
                <a:gd name="connsiteY69" fmla="*/ 5928489 h 15035524"/>
                <a:gd name="connsiteX70" fmla="*/ 16350939 w 22478203"/>
                <a:gd name="connsiteY70" fmla="*/ 6053348 h 15035524"/>
                <a:gd name="connsiteX71" fmla="*/ 16362364 w 22478203"/>
                <a:gd name="connsiteY71" fmla="*/ 6360628 h 15035524"/>
                <a:gd name="connsiteX72" fmla="*/ 16682563 w 22478203"/>
                <a:gd name="connsiteY72" fmla="*/ 6798531 h 15035524"/>
                <a:gd name="connsiteX0" fmla="*/ 16682563 w 22478203"/>
                <a:gd name="connsiteY0" fmla="*/ 6798531 h 15035524"/>
                <a:gd name="connsiteX1" fmla="*/ 16432262 w 22478203"/>
                <a:gd name="connsiteY1" fmla="*/ 7825917 h 15035524"/>
                <a:gd name="connsiteX2" fmla="*/ 16106317 w 22478203"/>
                <a:gd name="connsiteY2" fmla="*/ 8367221 h 15035524"/>
                <a:gd name="connsiteX3" fmla="*/ 16305649 w 22478203"/>
                <a:gd name="connsiteY3" fmla="*/ 8754550 h 15035524"/>
                <a:gd name="connsiteX4" fmla="*/ 16287189 w 22478203"/>
                <a:gd name="connsiteY4" fmla="*/ 9151157 h 15035524"/>
                <a:gd name="connsiteX5" fmla="*/ 16372801 w 22478203"/>
                <a:gd name="connsiteY5" fmla="*/ 9717422 h 15035524"/>
                <a:gd name="connsiteX6" fmla="*/ 16070155 w 22478203"/>
                <a:gd name="connsiteY6" fmla="*/ 9937808 h 15035524"/>
                <a:gd name="connsiteX7" fmla="*/ 15805690 w 22478203"/>
                <a:gd name="connsiteY7" fmla="*/ 10431999 h 15035524"/>
                <a:gd name="connsiteX8" fmla="*/ 15195097 w 22478203"/>
                <a:gd name="connsiteY8" fmla="*/ 10093742 h 15035524"/>
                <a:gd name="connsiteX9" fmla="*/ 15011380 w 22478203"/>
                <a:gd name="connsiteY9" fmla="*/ 11048592 h 15035524"/>
                <a:gd name="connsiteX10" fmla="*/ 14908430 w 22478203"/>
                <a:gd name="connsiteY10" fmla="*/ 11937487 h 15035524"/>
                <a:gd name="connsiteX11" fmla="*/ 14904684 w 22478203"/>
                <a:gd name="connsiteY11" fmla="*/ 12760926 h 15035524"/>
                <a:gd name="connsiteX12" fmla="*/ 14929927 w 22478203"/>
                <a:gd name="connsiteY12" fmla="*/ 14391846 h 15035524"/>
                <a:gd name="connsiteX13" fmla="*/ 12952786 w 22478203"/>
                <a:gd name="connsiteY13" fmla="*/ 14842599 h 15035524"/>
                <a:gd name="connsiteX14" fmla="*/ 11934663 w 22478203"/>
                <a:gd name="connsiteY14" fmla="*/ 14890849 h 15035524"/>
                <a:gd name="connsiteX15" fmla="*/ 8506848 w 22478203"/>
                <a:gd name="connsiteY15" fmla="*/ 15035524 h 15035524"/>
                <a:gd name="connsiteX16" fmla="*/ 7985095 w 22478203"/>
                <a:gd name="connsiteY16" fmla="*/ 14390442 h 15035524"/>
                <a:gd name="connsiteX17" fmla="*/ 7400308 w 22478203"/>
                <a:gd name="connsiteY17" fmla="*/ 14360297 h 15035524"/>
                <a:gd name="connsiteX18" fmla="*/ 6972273 w 22478203"/>
                <a:gd name="connsiteY18" fmla="*/ 14631594 h 15035524"/>
                <a:gd name="connsiteX19" fmla="*/ 5181729 w 22478203"/>
                <a:gd name="connsiteY19" fmla="*/ 14547195 h 15035524"/>
                <a:gd name="connsiteX20" fmla="*/ 4397998 w 22478203"/>
                <a:gd name="connsiteY20" fmla="*/ 13914178 h 15035524"/>
                <a:gd name="connsiteX21" fmla="*/ 2908896 w 22478203"/>
                <a:gd name="connsiteY21" fmla="*/ 13106324 h 15035524"/>
                <a:gd name="connsiteX22" fmla="*/ 1263043 w 22478203"/>
                <a:gd name="connsiteY22" fmla="*/ 12394931 h 15035524"/>
                <a:gd name="connsiteX23" fmla="*/ 485320 w 22478203"/>
                <a:gd name="connsiteY23" fmla="*/ 11942774 h 15035524"/>
                <a:gd name="connsiteX24" fmla="*/ 0 w 22478203"/>
                <a:gd name="connsiteY24" fmla="*/ 11649662 h 15035524"/>
                <a:gd name="connsiteX25" fmla="*/ 1003686 w 22478203"/>
                <a:gd name="connsiteY25" fmla="*/ 10903697 h 15035524"/>
                <a:gd name="connsiteX26" fmla="*/ 2902551 w 22478203"/>
                <a:gd name="connsiteY26" fmla="*/ 9719298 h 15035524"/>
                <a:gd name="connsiteX27" fmla="*/ 2558940 w 22478203"/>
                <a:gd name="connsiteY27" fmla="*/ 9185867 h 15035524"/>
                <a:gd name="connsiteX28" fmla="*/ 2402508 w 22478203"/>
                <a:gd name="connsiteY28" fmla="*/ 8498784 h 15035524"/>
                <a:gd name="connsiteX29" fmla="*/ 2730740 w 22478203"/>
                <a:gd name="connsiteY29" fmla="*/ 8471613 h 15035524"/>
                <a:gd name="connsiteX30" fmla="*/ 2947754 w 22478203"/>
                <a:gd name="connsiteY30" fmla="*/ 8001468 h 15035524"/>
                <a:gd name="connsiteX31" fmla="*/ 3499325 w 22478203"/>
                <a:gd name="connsiteY31" fmla="*/ 7558451 h 15035524"/>
                <a:gd name="connsiteX32" fmla="*/ 3680166 w 22478203"/>
                <a:gd name="connsiteY32" fmla="*/ 6681453 h 15035524"/>
                <a:gd name="connsiteX33" fmla="*/ 4186528 w 22478203"/>
                <a:gd name="connsiteY33" fmla="*/ 6690489 h 15035524"/>
                <a:gd name="connsiteX34" fmla="*/ 4837569 w 22478203"/>
                <a:gd name="connsiteY34" fmla="*/ 7160639 h 15035524"/>
                <a:gd name="connsiteX35" fmla="*/ 5352976 w 22478203"/>
                <a:gd name="connsiteY35" fmla="*/ 7079272 h 15035524"/>
                <a:gd name="connsiteX36" fmla="*/ 5741786 w 22478203"/>
                <a:gd name="connsiteY36" fmla="*/ 6708577 h 15035524"/>
                <a:gd name="connsiteX37" fmla="*/ 6157723 w 22478203"/>
                <a:gd name="connsiteY37" fmla="*/ 6545836 h 15035524"/>
                <a:gd name="connsiteX38" fmla="*/ 6745471 w 22478203"/>
                <a:gd name="connsiteY38" fmla="*/ 5976243 h 15035524"/>
                <a:gd name="connsiteX39" fmla="*/ 6890140 w 22478203"/>
                <a:gd name="connsiteY39" fmla="*/ 5126367 h 15035524"/>
                <a:gd name="connsiteX40" fmla="*/ 7568305 w 22478203"/>
                <a:gd name="connsiteY40" fmla="*/ 4556773 h 15035524"/>
                <a:gd name="connsiteX41" fmla="*/ 8137967 w 22478203"/>
                <a:gd name="connsiteY41" fmla="*/ 4113752 h 15035524"/>
                <a:gd name="connsiteX42" fmla="*/ 8463480 w 22478203"/>
                <a:gd name="connsiteY42" fmla="*/ 3309085 h 15035524"/>
                <a:gd name="connsiteX43" fmla="*/ 9024093 w 22478203"/>
                <a:gd name="connsiteY43" fmla="*/ 2956478 h 15035524"/>
                <a:gd name="connsiteX44" fmla="*/ 9675138 w 22478203"/>
                <a:gd name="connsiteY44" fmla="*/ 2603876 h 15035524"/>
                <a:gd name="connsiteX45" fmla="*/ 9558580 w 22478203"/>
                <a:gd name="connsiteY45" fmla="*/ 2055592 h 15035524"/>
                <a:gd name="connsiteX46" fmla="*/ 10353296 w 22478203"/>
                <a:gd name="connsiteY46" fmla="*/ 1383308 h 15035524"/>
                <a:gd name="connsiteX47" fmla="*/ 10832530 w 22478203"/>
                <a:gd name="connsiteY47" fmla="*/ 1310974 h 15035524"/>
                <a:gd name="connsiteX48" fmla="*/ 11058585 w 22478203"/>
                <a:gd name="connsiteY48" fmla="*/ 1763043 h 15035524"/>
                <a:gd name="connsiteX49" fmla="*/ 11411229 w 22478203"/>
                <a:gd name="connsiteY49" fmla="*/ 2142774 h 15035524"/>
                <a:gd name="connsiteX50" fmla="*/ 11998974 w 22478203"/>
                <a:gd name="connsiteY50" fmla="*/ 2224144 h 15035524"/>
                <a:gd name="connsiteX51" fmla="*/ 12315449 w 22478203"/>
                <a:gd name="connsiteY51" fmla="*/ 2884156 h 15035524"/>
                <a:gd name="connsiteX52" fmla="*/ 12785642 w 22478203"/>
                <a:gd name="connsiteY52" fmla="*/ 2703327 h 15035524"/>
                <a:gd name="connsiteX53" fmla="*/ 13671776 w 22478203"/>
                <a:gd name="connsiteY53" fmla="*/ 3155388 h 15035524"/>
                <a:gd name="connsiteX54" fmla="*/ 14123886 w 22478203"/>
                <a:gd name="connsiteY54" fmla="*/ 2857035 h 15035524"/>
                <a:gd name="connsiteX55" fmla="*/ 14259509 w 22478203"/>
                <a:gd name="connsiteY55" fmla="*/ 2287434 h 15035524"/>
                <a:gd name="connsiteX56" fmla="*/ 14892468 w 22478203"/>
                <a:gd name="connsiteY56" fmla="*/ 1645503 h 15035524"/>
                <a:gd name="connsiteX57" fmla="*/ 15778605 w 22478203"/>
                <a:gd name="connsiteY57" fmla="*/ 1093983 h 15035524"/>
                <a:gd name="connsiteX58" fmla="*/ 16022739 w 22478203"/>
                <a:gd name="connsiteY58" fmla="*/ 1564133 h 15035524"/>
                <a:gd name="connsiteX59" fmla="*/ 16556232 w 22478203"/>
                <a:gd name="connsiteY59" fmla="*/ 2142785 h 15035524"/>
                <a:gd name="connsiteX60" fmla="*/ 17406193 w 22478203"/>
                <a:gd name="connsiteY60" fmla="*/ 1292897 h 15035524"/>
                <a:gd name="connsiteX61" fmla="*/ 18120524 w 22478203"/>
                <a:gd name="connsiteY61" fmla="*/ 714260 h 15035524"/>
                <a:gd name="connsiteX62" fmla="*/ 18744437 w 22478203"/>
                <a:gd name="connsiteY62" fmla="*/ -1 h 15035524"/>
                <a:gd name="connsiteX63" fmla="*/ 19982300 w 22478203"/>
                <a:gd name="connsiteY63" fmla="*/ 343465 h 15035524"/>
                <a:gd name="connsiteX64" fmla="*/ 19837609 w 22478203"/>
                <a:gd name="connsiteY64" fmla="*/ 1121173 h 15035524"/>
                <a:gd name="connsiteX65" fmla="*/ 21881359 w 22478203"/>
                <a:gd name="connsiteY65" fmla="*/ 1772279 h 15035524"/>
                <a:gd name="connsiteX66" fmla="*/ 21537712 w 22478203"/>
                <a:gd name="connsiteY66" fmla="*/ 2767023 h 15035524"/>
                <a:gd name="connsiteX67" fmla="*/ 22478203 w 22478203"/>
                <a:gd name="connsiteY67" fmla="*/ 2296774 h 15035524"/>
                <a:gd name="connsiteX68" fmla="*/ 13387695 w 22478203"/>
                <a:gd name="connsiteY68" fmla="*/ 5998279 h 15035524"/>
                <a:gd name="connsiteX69" fmla="*/ 15323320 w 22478203"/>
                <a:gd name="connsiteY69" fmla="*/ 5928489 h 15035524"/>
                <a:gd name="connsiteX70" fmla="*/ 16350939 w 22478203"/>
                <a:gd name="connsiteY70" fmla="*/ 6053348 h 15035524"/>
                <a:gd name="connsiteX71" fmla="*/ 16362364 w 22478203"/>
                <a:gd name="connsiteY71" fmla="*/ 6360628 h 15035524"/>
                <a:gd name="connsiteX72" fmla="*/ 16682563 w 22478203"/>
                <a:gd name="connsiteY72" fmla="*/ 6798531 h 15035524"/>
                <a:gd name="connsiteX0" fmla="*/ 16682563 w 22478203"/>
                <a:gd name="connsiteY0" fmla="*/ 6798531 h 15035524"/>
                <a:gd name="connsiteX1" fmla="*/ 16432262 w 22478203"/>
                <a:gd name="connsiteY1" fmla="*/ 7825917 h 15035524"/>
                <a:gd name="connsiteX2" fmla="*/ 16106317 w 22478203"/>
                <a:gd name="connsiteY2" fmla="*/ 8367221 h 15035524"/>
                <a:gd name="connsiteX3" fmla="*/ 16305649 w 22478203"/>
                <a:gd name="connsiteY3" fmla="*/ 8754550 h 15035524"/>
                <a:gd name="connsiteX4" fmla="*/ 16287189 w 22478203"/>
                <a:gd name="connsiteY4" fmla="*/ 9151157 h 15035524"/>
                <a:gd name="connsiteX5" fmla="*/ 16372801 w 22478203"/>
                <a:gd name="connsiteY5" fmla="*/ 9717422 h 15035524"/>
                <a:gd name="connsiteX6" fmla="*/ 16070155 w 22478203"/>
                <a:gd name="connsiteY6" fmla="*/ 9937808 h 15035524"/>
                <a:gd name="connsiteX7" fmla="*/ 15805690 w 22478203"/>
                <a:gd name="connsiteY7" fmla="*/ 10431999 h 15035524"/>
                <a:gd name="connsiteX8" fmla="*/ 15195097 w 22478203"/>
                <a:gd name="connsiteY8" fmla="*/ 10093742 h 15035524"/>
                <a:gd name="connsiteX9" fmla="*/ 15011380 w 22478203"/>
                <a:gd name="connsiteY9" fmla="*/ 11048592 h 15035524"/>
                <a:gd name="connsiteX10" fmla="*/ 14908430 w 22478203"/>
                <a:gd name="connsiteY10" fmla="*/ 11937487 h 15035524"/>
                <a:gd name="connsiteX11" fmla="*/ 14904684 w 22478203"/>
                <a:gd name="connsiteY11" fmla="*/ 12760926 h 15035524"/>
                <a:gd name="connsiteX12" fmla="*/ 14929927 w 22478203"/>
                <a:gd name="connsiteY12" fmla="*/ 14391846 h 15035524"/>
                <a:gd name="connsiteX13" fmla="*/ 12952786 w 22478203"/>
                <a:gd name="connsiteY13" fmla="*/ 14842599 h 15035524"/>
                <a:gd name="connsiteX14" fmla="*/ 11934663 w 22478203"/>
                <a:gd name="connsiteY14" fmla="*/ 14890849 h 15035524"/>
                <a:gd name="connsiteX15" fmla="*/ 8506848 w 22478203"/>
                <a:gd name="connsiteY15" fmla="*/ 15035524 h 15035524"/>
                <a:gd name="connsiteX16" fmla="*/ 7985095 w 22478203"/>
                <a:gd name="connsiteY16" fmla="*/ 14390442 h 15035524"/>
                <a:gd name="connsiteX17" fmla="*/ 7400308 w 22478203"/>
                <a:gd name="connsiteY17" fmla="*/ 14360297 h 15035524"/>
                <a:gd name="connsiteX18" fmla="*/ 6972273 w 22478203"/>
                <a:gd name="connsiteY18" fmla="*/ 14631594 h 15035524"/>
                <a:gd name="connsiteX19" fmla="*/ 5181729 w 22478203"/>
                <a:gd name="connsiteY19" fmla="*/ 14547195 h 15035524"/>
                <a:gd name="connsiteX20" fmla="*/ 4397998 w 22478203"/>
                <a:gd name="connsiteY20" fmla="*/ 13914178 h 15035524"/>
                <a:gd name="connsiteX21" fmla="*/ 2908896 w 22478203"/>
                <a:gd name="connsiteY21" fmla="*/ 13106324 h 15035524"/>
                <a:gd name="connsiteX22" fmla="*/ 1263043 w 22478203"/>
                <a:gd name="connsiteY22" fmla="*/ 12394931 h 15035524"/>
                <a:gd name="connsiteX23" fmla="*/ 485320 w 22478203"/>
                <a:gd name="connsiteY23" fmla="*/ 11942774 h 15035524"/>
                <a:gd name="connsiteX24" fmla="*/ 0 w 22478203"/>
                <a:gd name="connsiteY24" fmla="*/ 11649662 h 15035524"/>
                <a:gd name="connsiteX25" fmla="*/ 1003686 w 22478203"/>
                <a:gd name="connsiteY25" fmla="*/ 10903697 h 15035524"/>
                <a:gd name="connsiteX26" fmla="*/ 2902551 w 22478203"/>
                <a:gd name="connsiteY26" fmla="*/ 9719298 h 15035524"/>
                <a:gd name="connsiteX27" fmla="*/ 2558940 w 22478203"/>
                <a:gd name="connsiteY27" fmla="*/ 9185867 h 15035524"/>
                <a:gd name="connsiteX28" fmla="*/ 2402508 w 22478203"/>
                <a:gd name="connsiteY28" fmla="*/ 8498784 h 15035524"/>
                <a:gd name="connsiteX29" fmla="*/ 2730740 w 22478203"/>
                <a:gd name="connsiteY29" fmla="*/ 8471613 h 15035524"/>
                <a:gd name="connsiteX30" fmla="*/ 2947754 w 22478203"/>
                <a:gd name="connsiteY30" fmla="*/ 8001468 h 15035524"/>
                <a:gd name="connsiteX31" fmla="*/ 3499325 w 22478203"/>
                <a:gd name="connsiteY31" fmla="*/ 7558451 h 15035524"/>
                <a:gd name="connsiteX32" fmla="*/ 3680166 w 22478203"/>
                <a:gd name="connsiteY32" fmla="*/ 6681453 h 15035524"/>
                <a:gd name="connsiteX33" fmla="*/ 4186528 w 22478203"/>
                <a:gd name="connsiteY33" fmla="*/ 6690489 h 15035524"/>
                <a:gd name="connsiteX34" fmla="*/ 4837569 w 22478203"/>
                <a:gd name="connsiteY34" fmla="*/ 7160639 h 15035524"/>
                <a:gd name="connsiteX35" fmla="*/ 5352976 w 22478203"/>
                <a:gd name="connsiteY35" fmla="*/ 7079272 h 15035524"/>
                <a:gd name="connsiteX36" fmla="*/ 5741786 w 22478203"/>
                <a:gd name="connsiteY36" fmla="*/ 6708577 h 15035524"/>
                <a:gd name="connsiteX37" fmla="*/ 6157723 w 22478203"/>
                <a:gd name="connsiteY37" fmla="*/ 6545836 h 15035524"/>
                <a:gd name="connsiteX38" fmla="*/ 6745471 w 22478203"/>
                <a:gd name="connsiteY38" fmla="*/ 5976243 h 15035524"/>
                <a:gd name="connsiteX39" fmla="*/ 6890140 w 22478203"/>
                <a:gd name="connsiteY39" fmla="*/ 5126367 h 15035524"/>
                <a:gd name="connsiteX40" fmla="*/ 7568305 w 22478203"/>
                <a:gd name="connsiteY40" fmla="*/ 4556773 h 15035524"/>
                <a:gd name="connsiteX41" fmla="*/ 8137967 w 22478203"/>
                <a:gd name="connsiteY41" fmla="*/ 4113752 h 15035524"/>
                <a:gd name="connsiteX42" fmla="*/ 8463480 w 22478203"/>
                <a:gd name="connsiteY42" fmla="*/ 3309085 h 15035524"/>
                <a:gd name="connsiteX43" fmla="*/ 9024093 w 22478203"/>
                <a:gd name="connsiteY43" fmla="*/ 2956478 h 15035524"/>
                <a:gd name="connsiteX44" fmla="*/ 9675138 w 22478203"/>
                <a:gd name="connsiteY44" fmla="*/ 2603876 h 15035524"/>
                <a:gd name="connsiteX45" fmla="*/ 9558580 w 22478203"/>
                <a:gd name="connsiteY45" fmla="*/ 2055592 h 15035524"/>
                <a:gd name="connsiteX46" fmla="*/ 10353296 w 22478203"/>
                <a:gd name="connsiteY46" fmla="*/ 1383308 h 15035524"/>
                <a:gd name="connsiteX47" fmla="*/ 10832530 w 22478203"/>
                <a:gd name="connsiteY47" fmla="*/ 1310974 h 15035524"/>
                <a:gd name="connsiteX48" fmla="*/ 11058585 w 22478203"/>
                <a:gd name="connsiteY48" fmla="*/ 1763043 h 15035524"/>
                <a:gd name="connsiteX49" fmla="*/ 11411229 w 22478203"/>
                <a:gd name="connsiteY49" fmla="*/ 2142774 h 15035524"/>
                <a:gd name="connsiteX50" fmla="*/ 11998974 w 22478203"/>
                <a:gd name="connsiteY50" fmla="*/ 2224144 h 15035524"/>
                <a:gd name="connsiteX51" fmla="*/ 12315449 w 22478203"/>
                <a:gd name="connsiteY51" fmla="*/ 2884156 h 15035524"/>
                <a:gd name="connsiteX52" fmla="*/ 12785642 w 22478203"/>
                <a:gd name="connsiteY52" fmla="*/ 2703327 h 15035524"/>
                <a:gd name="connsiteX53" fmla="*/ 13671776 w 22478203"/>
                <a:gd name="connsiteY53" fmla="*/ 3155388 h 15035524"/>
                <a:gd name="connsiteX54" fmla="*/ 14123886 w 22478203"/>
                <a:gd name="connsiteY54" fmla="*/ 2857035 h 15035524"/>
                <a:gd name="connsiteX55" fmla="*/ 14259509 w 22478203"/>
                <a:gd name="connsiteY55" fmla="*/ 2287434 h 15035524"/>
                <a:gd name="connsiteX56" fmla="*/ 14892468 w 22478203"/>
                <a:gd name="connsiteY56" fmla="*/ 1645503 h 15035524"/>
                <a:gd name="connsiteX57" fmla="*/ 15778605 w 22478203"/>
                <a:gd name="connsiteY57" fmla="*/ 1093983 h 15035524"/>
                <a:gd name="connsiteX58" fmla="*/ 16022739 w 22478203"/>
                <a:gd name="connsiteY58" fmla="*/ 1564133 h 15035524"/>
                <a:gd name="connsiteX59" fmla="*/ 16556232 w 22478203"/>
                <a:gd name="connsiteY59" fmla="*/ 2142785 h 15035524"/>
                <a:gd name="connsiteX60" fmla="*/ 17406193 w 22478203"/>
                <a:gd name="connsiteY60" fmla="*/ 1292897 h 15035524"/>
                <a:gd name="connsiteX61" fmla="*/ 18120524 w 22478203"/>
                <a:gd name="connsiteY61" fmla="*/ 714260 h 15035524"/>
                <a:gd name="connsiteX62" fmla="*/ 18744437 w 22478203"/>
                <a:gd name="connsiteY62" fmla="*/ -1 h 15035524"/>
                <a:gd name="connsiteX63" fmla="*/ 19982300 w 22478203"/>
                <a:gd name="connsiteY63" fmla="*/ 343465 h 15035524"/>
                <a:gd name="connsiteX64" fmla="*/ 19837609 w 22478203"/>
                <a:gd name="connsiteY64" fmla="*/ 1121173 h 15035524"/>
                <a:gd name="connsiteX65" fmla="*/ 21881359 w 22478203"/>
                <a:gd name="connsiteY65" fmla="*/ 1772279 h 15035524"/>
                <a:gd name="connsiteX66" fmla="*/ 21537712 w 22478203"/>
                <a:gd name="connsiteY66" fmla="*/ 2767023 h 15035524"/>
                <a:gd name="connsiteX67" fmla="*/ 22478203 w 22478203"/>
                <a:gd name="connsiteY67" fmla="*/ 2296774 h 15035524"/>
                <a:gd name="connsiteX68" fmla="*/ 14370431 w 22478203"/>
                <a:gd name="connsiteY68" fmla="*/ 5830216 h 15035524"/>
                <a:gd name="connsiteX69" fmla="*/ 15323320 w 22478203"/>
                <a:gd name="connsiteY69" fmla="*/ 5928489 h 15035524"/>
                <a:gd name="connsiteX70" fmla="*/ 16350939 w 22478203"/>
                <a:gd name="connsiteY70" fmla="*/ 6053348 h 15035524"/>
                <a:gd name="connsiteX71" fmla="*/ 16362364 w 22478203"/>
                <a:gd name="connsiteY71" fmla="*/ 6360628 h 15035524"/>
                <a:gd name="connsiteX72" fmla="*/ 16682563 w 22478203"/>
                <a:gd name="connsiteY72" fmla="*/ 6798531 h 15035524"/>
                <a:gd name="connsiteX0" fmla="*/ 16682563 w 21881361"/>
                <a:gd name="connsiteY0" fmla="*/ 6798531 h 15035524"/>
                <a:gd name="connsiteX1" fmla="*/ 16432262 w 21881361"/>
                <a:gd name="connsiteY1" fmla="*/ 7825917 h 15035524"/>
                <a:gd name="connsiteX2" fmla="*/ 16106317 w 21881361"/>
                <a:gd name="connsiteY2" fmla="*/ 8367221 h 15035524"/>
                <a:gd name="connsiteX3" fmla="*/ 16305649 w 21881361"/>
                <a:gd name="connsiteY3" fmla="*/ 8754550 h 15035524"/>
                <a:gd name="connsiteX4" fmla="*/ 16287189 w 21881361"/>
                <a:gd name="connsiteY4" fmla="*/ 9151157 h 15035524"/>
                <a:gd name="connsiteX5" fmla="*/ 16372801 w 21881361"/>
                <a:gd name="connsiteY5" fmla="*/ 9717422 h 15035524"/>
                <a:gd name="connsiteX6" fmla="*/ 16070155 w 21881361"/>
                <a:gd name="connsiteY6" fmla="*/ 9937808 h 15035524"/>
                <a:gd name="connsiteX7" fmla="*/ 15805690 w 21881361"/>
                <a:gd name="connsiteY7" fmla="*/ 10431999 h 15035524"/>
                <a:gd name="connsiteX8" fmla="*/ 15195097 w 21881361"/>
                <a:gd name="connsiteY8" fmla="*/ 10093742 h 15035524"/>
                <a:gd name="connsiteX9" fmla="*/ 15011380 w 21881361"/>
                <a:gd name="connsiteY9" fmla="*/ 11048592 h 15035524"/>
                <a:gd name="connsiteX10" fmla="*/ 14908430 w 21881361"/>
                <a:gd name="connsiteY10" fmla="*/ 11937487 h 15035524"/>
                <a:gd name="connsiteX11" fmla="*/ 14904684 w 21881361"/>
                <a:gd name="connsiteY11" fmla="*/ 12760926 h 15035524"/>
                <a:gd name="connsiteX12" fmla="*/ 14929927 w 21881361"/>
                <a:gd name="connsiteY12" fmla="*/ 14391846 h 15035524"/>
                <a:gd name="connsiteX13" fmla="*/ 12952786 w 21881361"/>
                <a:gd name="connsiteY13" fmla="*/ 14842599 h 15035524"/>
                <a:gd name="connsiteX14" fmla="*/ 11934663 w 21881361"/>
                <a:gd name="connsiteY14" fmla="*/ 14890849 h 15035524"/>
                <a:gd name="connsiteX15" fmla="*/ 8506848 w 21881361"/>
                <a:gd name="connsiteY15" fmla="*/ 15035524 h 15035524"/>
                <a:gd name="connsiteX16" fmla="*/ 7985095 w 21881361"/>
                <a:gd name="connsiteY16" fmla="*/ 14390442 h 15035524"/>
                <a:gd name="connsiteX17" fmla="*/ 7400308 w 21881361"/>
                <a:gd name="connsiteY17" fmla="*/ 14360297 h 15035524"/>
                <a:gd name="connsiteX18" fmla="*/ 6972273 w 21881361"/>
                <a:gd name="connsiteY18" fmla="*/ 14631594 h 15035524"/>
                <a:gd name="connsiteX19" fmla="*/ 5181729 w 21881361"/>
                <a:gd name="connsiteY19" fmla="*/ 14547195 h 15035524"/>
                <a:gd name="connsiteX20" fmla="*/ 4397998 w 21881361"/>
                <a:gd name="connsiteY20" fmla="*/ 13914178 h 15035524"/>
                <a:gd name="connsiteX21" fmla="*/ 2908896 w 21881361"/>
                <a:gd name="connsiteY21" fmla="*/ 13106324 h 15035524"/>
                <a:gd name="connsiteX22" fmla="*/ 1263043 w 21881361"/>
                <a:gd name="connsiteY22" fmla="*/ 12394931 h 15035524"/>
                <a:gd name="connsiteX23" fmla="*/ 485320 w 21881361"/>
                <a:gd name="connsiteY23" fmla="*/ 11942774 h 15035524"/>
                <a:gd name="connsiteX24" fmla="*/ 0 w 21881361"/>
                <a:gd name="connsiteY24" fmla="*/ 11649662 h 15035524"/>
                <a:gd name="connsiteX25" fmla="*/ 1003686 w 21881361"/>
                <a:gd name="connsiteY25" fmla="*/ 10903697 h 15035524"/>
                <a:gd name="connsiteX26" fmla="*/ 2902551 w 21881361"/>
                <a:gd name="connsiteY26" fmla="*/ 9719298 h 15035524"/>
                <a:gd name="connsiteX27" fmla="*/ 2558940 w 21881361"/>
                <a:gd name="connsiteY27" fmla="*/ 9185867 h 15035524"/>
                <a:gd name="connsiteX28" fmla="*/ 2402508 w 21881361"/>
                <a:gd name="connsiteY28" fmla="*/ 8498784 h 15035524"/>
                <a:gd name="connsiteX29" fmla="*/ 2730740 w 21881361"/>
                <a:gd name="connsiteY29" fmla="*/ 8471613 h 15035524"/>
                <a:gd name="connsiteX30" fmla="*/ 2947754 w 21881361"/>
                <a:gd name="connsiteY30" fmla="*/ 8001468 h 15035524"/>
                <a:gd name="connsiteX31" fmla="*/ 3499325 w 21881361"/>
                <a:gd name="connsiteY31" fmla="*/ 7558451 h 15035524"/>
                <a:gd name="connsiteX32" fmla="*/ 3680166 w 21881361"/>
                <a:gd name="connsiteY32" fmla="*/ 6681453 h 15035524"/>
                <a:gd name="connsiteX33" fmla="*/ 4186528 w 21881361"/>
                <a:gd name="connsiteY33" fmla="*/ 6690489 h 15035524"/>
                <a:gd name="connsiteX34" fmla="*/ 4837569 w 21881361"/>
                <a:gd name="connsiteY34" fmla="*/ 7160639 h 15035524"/>
                <a:gd name="connsiteX35" fmla="*/ 5352976 w 21881361"/>
                <a:gd name="connsiteY35" fmla="*/ 7079272 h 15035524"/>
                <a:gd name="connsiteX36" fmla="*/ 5741786 w 21881361"/>
                <a:gd name="connsiteY36" fmla="*/ 6708577 h 15035524"/>
                <a:gd name="connsiteX37" fmla="*/ 6157723 w 21881361"/>
                <a:gd name="connsiteY37" fmla="*/ 6545836 h 15035524"/>
                <a:gd name="connsiteX38" fmla="*/ 6745471 w 21881361"/>
                <a:gd name="connsiteY38" fmla="*/ 5976243 h 15035524"/>
                <a:gd name="connsiteX39" fmla="*/ 6890140 w 21881361"/>
                <a:gd name="connsiteY39" fmla="*/ 5126367 h 15035524"/>
                <a:gd name="connsiteX40" fmla="*/ 7568305 w 21881361"/>
                <a:gd name="connsiteY40" fmla="*/ 4556773 h 15035524"/>
                <a:gd name="connsiteX41" fmla="*/ 8137967 w 21881361"/>
                <a:gd name="connsiteY41" fmla="*/ 4113752 h 15035524"/>
                <a:gd name="connsiteX42" fmla="*/ 8463480 w 21881361"/>
                <a:gd name="connsiteY42" fmla="*/ 3309085 h 15035524"/>
                <a:gd name="connsiteX43" fmla="*/ 9024093 w 21881361"/>
                <a:gd name="connsiteY43" fmla="*/ 2956478 h 15035524"/>
                <a:gd name="connsiteX44" fmla="*/ 9675138 w 21881361"/>
                <a:gd name="connsiteY44" fmla="*/ 2603876 h 15035524"/>
                <a:gd name="connsiteX45" fmla="*/ 9558580 w 21881361"/>
                <a:gd name="connsiteY45" fmla="*/ 2055592 h 15035524"/>
                <a:gd name="connsiteX46" fmla="*/ 10353296 w 21881361"/>
                <a:gd name="connsiteY46" fmla="*/ 1383308 h 15035524"/>
                <a:gd name="connsiteX47" fmla="*/ 10832530 w 21881361"/>
                <a:gd name="connsiteY47" fmla="*/ 1310974 h 15035524"/>
                <a:gd name="connsiteX48" fmla="*/ 11058585 w 21881361"/>
                <a:gd name="connsiteY48" fmla="*/ 1763043 h 15035524"/>
                <a:gd name="connsiteX49" fmla="*/ 11411229 w 21881361"/>
                <a:gd name="connsiteY49" fmla="*/ 2142774 h 15035524"/>
                <a:gd name="connsiteX50" fmla="*/ 11998974 w 21881361"/>
                <a:gd name="connsiteY50" fmla="*/ 2224144 h 15035524"/>
                <a:gd name="connsiteX51" fmla="*/ 12315449 w 21881361"/>
                <a:gd name="connsiteY51" fmla="*/ 2884156 h 15035524"/>
                <a:gd name="connsiteX52" fmla="*/ 12785642 w 21881361"/>
                <a:gd name="connsiteY52" fmla="*/ 2703327 h 15035524"/>
                <a:gd name="connsiteX53" fmla="*/ 13671776 w 21881361"/>
                <a:gd name="connsiteY53" fmla="*/ 3155388 h 15035524"/>
                <a:gd name="connsiteX54" fmla="*/ 14123886 w 21881361"/>
                <a:gd name="connsiteY54" fmla="*/ 2857035 h 15035524"/>
                <a:gd name="connsiteX55" fmla="*/ 14259509 w 21881361"/>
                <a:gd name="connsiteY55" fmla="*/ 2287434 h 15035524"/>
                <a:gd name="connsiteX56" fmla="*/ 14892468 w 21881361"/>
                <a:gd name="connsiteY56" fmla="*/ 1645503 h 15035524"/>
                <a:gd name="connsiteX57" fmla="*/ 15778605 w 21881361"/>
                <a:gd name="connsiteY57" fmla="*/ 1093983 h 15035524"/>
                <a:gd name="connsiteX58" fmla="*/ 16022739 w 21881361"/>
                <a:gd name="connsiteY58" fmla="*/ 1564133 h 15035524"/>
                <a:gd name="connsiteX59" fmla="*/ 16556232 w 21881361"/>
                <a:gd name="connsiteY59" fmla="*/ 2142785 h 15035524"/>
                <a:gd name="connsiteX60" fmla="*/ 17406193 w 21881361"/>
                <a:gd name="connsiteY60" fmla="*/ 1292897 h 15035524"/>
                <a:gd name="connsiteX61" fmla="*/ 18120524 w 21881361"/>
                <a:gd name="connsiteY61" fmla="*/ 714260 h 15035524"/>
                <a:gd name="connsiteX62" fmla="*/ 18744437 w 21881361"/>
                <a:gd name="connsiteY62" fmla="*/ -1 h 15035524"/>
                <a:gd name="connsiteX63" fmla="*/ 19982300 w 21881361"/>
                <a:gd name="connsiteY63" fmla="*/ 343465 h 15035524"/>
                <a:gd name="connsiteX64" fmla="*/ 19837609 w 21881361"/>
                <a:gd name="connsiteY64" fmla="*/ 1121173 h 15035524"/>
                <a:gd name="connsiteX65" fmla="*/ 21881359 w 21881361"/>
                <a:gd name="connsiteY65" fmla="*/ 1772279 h 15035524"/>
                <a:gd name="connsiteX66" fmla="*/ 21537712 w 21881361"/>
                <a:gd name="connsiteY66" fmla="*/ 2767023 h 15035524"/>
                <a:gd name="connsiteX67" fmla="*/ 15879834 w 21881361"/>
                <a:gd name="connsiteY67" fmla="*/ 3669271 h 15035524"/>
                <a:gd name="connsiteX68" fmla="*/ 14370431 w 21881361"/>
                <a:gd name="connsiteY68" fmla="*/ 5830216 h 15035524"/>
                <a:gd name="connsiteX69" fmla="*/ 15323320 w 21881361"/>
                <a:gd name="connsiteY69" fmla="*/ 5928489 h 15035524"/>
                <a:gd name="connsiteX70" fmla="*/ 16350939 w 21881361"/>
                <a:gd name="connsiteY70" fmla="*/ 6053348 h 15035524"/>
                <a:gd name="connsiteX71" fmla="*/ 16362364 w 21881361"/>
                <a:gd name="connsiteY71" fmla="*/ 6360628 h 15035524"/>
                <a:gd name="connsiteX72" fmla="*/ 16682563 w 21881361"/>
                <a:gd name="connsiteY72" fmla="*/ 6798531 h 15035524"/>
                <a:gd name="connsiteX0" fmla="*/ 16682563 w 21881361"/>
                <a:gd name="connsiteY0" fmla="*/ 6798531 h 15035524"/>
                <a:gd name="connsiteX1" fmla="*/ 16432262 w 21881361"/>
                <a:gd name="connsiteY1" fmla="*/ 7825917 h 15035524"/>
                <a:gd name="connsiteX2" fmla="*/ 16106317 w 21881361"/>
                <a:gd name="connsiteY2" fmla="*/ 8367221 h 15035524"/>
                <a:gd name="connsiteX3" fmla="*/ 16305649 w 21881361"/>
                <a:gd name="connsiteY3" fmla="*/ 8754550 h 15035524"/>
                <a:gd name="connsiteX4" fmla="*/ 16287189 w 21881361"/>
                <a:gd name="connsiteY4" fmla="*/ 9151157 h 15035524"/>
                <a:gd name="connsiteX5" fmla="*/ 16372801 w 21881361"/>
                <a:gd name="connsiteY5" fmla="*/ 9717422 h 15035524"/>
                <a:gd name="connsiteX6" fmla="*/ 16070155 w 21881361"/>
                <a:gd name="connsiteY6" fmla="*/ 9937808 h 15035524"/>
                <a:gd name="connsiteX7" fmla="*/ 15805690 w 21881361"/>
                <a:gd name="connsiteY7" fmla="*/ 10431999 h 15035524"/>
                <a:gd name="connsiteX8" fmla="*/ 15195097 w 21881361"/>
                <a:gd name="connsiteY8" fmla="*/ 10093742 h 15035524"/>
                <a:gd name="connsiteX9" fmla="*/ 15011380 w 21881361"/>
                <a:gd name="connsiteY9" fmla="*/ 11048592 h 15035524"/>
                <a:gd name="connsiteX10" fmla="*/ 14908430 w 21881361"/>
                <a:gd name="connsiteY10" fmla="*/ 11937487 h 15035524"/>
                <a:gd name="connsiteX11" fmla="*/ 14904684 w 21881361"/>
                <a:gd name="connsiteY11" fmla="*/ 12760926 h 15035524"/>
                <a:gd name="connsiteX12" fmla="*/ 14929927 w 21881361"/>
                <a:gd name="connsiteY12" fmla="*/ 14391846 h 15035524"/>
                <a:gd name="connsiteX13" fmla="*/ 12952786 w 21881361"/>
                <a:gd name="connsiteY13" fmla="*/ 14842599 h 15035524"/>
                <a:gd name="connsiteX14" fmla="*/ 11934663 w 21881361"/>
                <a:gd name="connsiteY14" fmla="*/ 14890849 h 15035524"/>
                <a:gd name="connsiteX15" fmla="*/ 8506848 w 21881361"/>
                <a:gd name="connsiteY15" fmla="*/ 15035524 h 15035524"/>
                <a:gd name="connsiteX16" fmla="*/ 7985095 w 21881361"/>
                <a:gd name="connsiteY16" fmla="*/ 14390442 h 15035524"/>
                <a:gd name="connsiteX17" fmla="*/ 7400308 w 21881361"/>
                <a:gd name="connsiteY17" fmla="*/ 14360297 h 15035524"/>
                <a:gd name="connsiteX18" fmla="*/ 6972273 w 21881361"/>
                <a:gd name="connsiteY18" fmla="*/ 14631594 h 15035524"/>
                <a:gd name="connsiteX19" fmla="*/ 5181729 w 21881361"/>
                <a:gd name="connsiteY19" fmla="*/ 14547195 h 15035524"/>
                <a:gd name="connsiteX20" fmla="*/ 4397998 w 21881361"/>
                <a:gd name="connsiteY20" fmla="*/ 13914178 h 15035524"/>
                <a:gd name="connsiteX21" fmla="*/ 2908896 w 21881361"/>
                <a:gd name="connsiteY21" fmla="*/ 13106324 h 15035524"/>
                <a:gd name="connsiteX22" fmla="*/ 1263043 w 21881361"/>
                <a:gd name="connsiteY22" fmla="*/ 12394931 h 15035524"/>
                <a:gd name="connsiteX23" fmla="*/ 485320 w 21881361"/>
                <a:gd name="connsiteY23" fmla="*/ 11942774 h 15035524"/>
                <a:gd name="connsiteX24" fmla="*/ 0 w 21881361"/>
                <a:gd name="connsiteY24" fmla="*/ 11649662 h 15035524"/>
                <a:gd name="connsiteX25" fmla="*/ 1003686 w 21881361"/>
                <a:gd name="connsiteY25" fmla="*/ 10903697 h 15035524"/>
                <a:gd name="connsiteX26" fmla="*/ 2902551 w 21881361"/>
                <a:gd name="connsiteY26" fmla="*/ 9719298 h 15035524"/>
                <a:gd name="connsiteX27" fmla="*/ 2558940 w 21881361"/>
                <a:gd name="connsiteY27" fmla="*/ 9185867 h 15035524"/>
                <a:gd name="connsiteX28" fmla="*/ 2402508 w 21881361"/>
                <a:gd name="connsiteY28" fmla="*/ 8498784 h 15035524"/>
                <a:gd name="connsiteX29" fmla="*/ 2730740 w 21881361"/>
                <a:gd name="connsiteY29" fmla="*/ 8471613 h 15035524"/>
                <a:gd name="connsiteX30" fmla="*/ 2947754 w 21881361"/>
                <a:gd name="connsiteY30" fmla="*/ 8001468 h 15035524"/>
                <a:gd name="connsiteX31" fmla="*/ 3499325 w 21881361"/>
                <a:gd name="connsiteY31" fmla="*/ 7558451 h 15035524"/>
                <a:gd name="connsiteX32" fmla="*/ 3680166 w 21881361"/>
                <a:gd name="connsiteY32" fmla="*/ 6681453 h 15035524"/>
                <a:gd name="connsiteX33" fmla="*/ 4186528 w 21881361"/>
                <a:gd name="connsiteY33" fmla="*/ 6690489 h 15035524"/>
                <a:gd name="connsiteX34" fmla="*/ 4837569 w 21881361"/>
                <a:gd name="connsiteY34" fmla="*/ 7160639 h 15035524"/>
                <a:gd name="connsiteX35" fmla="*/ 5352976 w 21881361"/>
                <a:gd name="connsiteY35" fmla="*/ 7079272 h 15035524"/>
                <a:gd name="connsiteX36" fmla="*/ 5741786 w 21881361"/>
                <a:gd name="connsiteY36" fmla="*/ 6708577 h 15035524"/>
                <a:gd name="connsiteX37" fmla="*/ 6157723 w 21881361"/>
                <a:gd name="connsiteY37" fmla="*/ 6545836 h 15035524"/>
                <a:gd name="connsiteX38" fmla="*/ 6745471 w 21881361"/>
                <a:gd name="connsiteY38" fmla="*/ 5976243 h 15035524"/>
                <a:gd name="connsiteX39" fmla="*/ 6890140 w 21881361"/>
                <a:gd name="connsiteY39" fmla="*/ 5126367 h 15035524"/>
                <a:gd name="connsiteX40" fmla="*/ 7568305 w 21881361"/>
                <a:gd name="connsiteY40" fmla="*/ 4556773 h 15035524"/>
                <a:gd name="connsiteX41" fmla="*/ 8137967 w 21881361"/>
                <a:gd name="connsiteY41" fmla="*/ 4113752 h 15035524"/>
                <a:gd name="connsiteX42" fmla="*/ 8463480 w 21881361"/>
                <a:gd name="connsiteY42" fmla="*/ 3309085 h 15035524"/>
                <a:gd name="connsiteX43" fmla="*/ 9024093 w 21881361"/>
                <a:gd name="connsiteY43" fmla="*/ 2956478 h 15035524"/>
                <a:gd name="connsiteX44" fmla="*/ 9675138 w 21881361"/>
                <a:gd name="connsiteY44" fmla="*/ 2603876 h 15035524"/>
                <a:gd name="connsiteX45" fmla="*/ 9558580 w 21881361"/>
                <a:gd name="connsiteY45" fmla="*/ 2055592 h 15035524"/>
                <a:gd name="connsiteX46" fmla="*/ 10353296 w 21881361"/>
                <a:gd name="connsiteY46" fmla="*/ 1383308 h 15035524"/>
                <a:gd name="connsiteX47" fmla="*/ 10832530 w 21881361"/>
                <a:gd name="connsiteY47" fmla="*/ 1310974 h 15035524"/>
                <a:gd name="connsiteX48" fmla="*/ 11058585 w 21881361"/>
                <a:gd name="connsiteY48" fmla="*/ 1763043 h 15035524"/>
                <a:gd name="connsiteX49" fmla="*/ 11411229 w 21881361"/>
                <a:gd name="connsiteY49" fmla="*/ 2142774 h 15035524"/>
                <a:gd name="connsiteX50" fmla="*/ 11998974 w 21881361"/>
                <a:gd name="connsiteY50" fmla="*/ 2224144 h 15035524"/>
                <a:gd name="connsiteX51" fmla="*/ 12315449 w 21881361"/>
                <a:gd name="connsiteY51" fmla="*/ 2884156 h 15035524"/>
                <a:gd name="connsiteX52" fmla="*/ 12785642 w 21881361"/>
                <a:gd name="connsiteY52" fmla="*/ 2703327 h 15035524"/>
                <a:gd name="connsiteX53" fmla="*/ 13671776 w 21881361"/>
                <a:gd name="connsiteY53" fmla="*/ 3155388 h 15035524"/>
                <a:gd name="connsiteX54" fmla="*/ 14123886 w 21881361"/>
                <a:gd name="connsiteY54" fmla="*/ 2857035 h 15035524"/>
                <a:gd name="connsiteX55" fmla="*/ 14259509 w 21881361"/>
                <a:gd name="connsiteY55" fmla="*/ 2287434 h 15035524"/>
                <a:gd name="connsiteX56" fmla="*/ 14892468 w 21881361"/>
                <a:gd name="connsiteY56" fmla="*/ 1645503 h 15035524"/>
                <a:gd name="connsiteX57" fmla="*/ 15778605 w 21881361"/>
                <a:gd name="connsiteY57" fmla="*/ 1093983 h 15035524"/>
                <a:gd name="connsiteX58" fmla="*/ 16022739 w 21881361"/>
                <a:gd name="connsiteY58" fmla="*/ 1564133 h 15035524"/>
                <a:gd name="connsiteX59" fmla="*/ 16556232 w 21881361"/>
                <a:gd name="connsiteY59" fmla="*/ 2142785 h 15035524"/>
                <a:gd name="connsiteX60" fmla="*/ 17406193 w 21881361"/>
                <a:gd name="connsiteY60" fmla="*/ 1292897 h 15035524"/>
                <a:gd name="connsiteX61" fmla="*/ 18120524 w 21881361"/>
                <a:gd name="connsiteY61" fmla="*/ 714260 h 15035524"/>
                <a:gd name="connsiteX62" fmla="*/ 18744437 w 21881361"/>
                <a:gd name="connsiteY62" fmla="*/ -1 h 15035524"/>
                <a:gd name="connsiteX63" fmla="*/ 19982300 w 21881361"/>
                <a:gd name="connsiteY63" fmla="*/ 343465 h 15035524"/>
                <a:gd name="connsiteX64" fmla="*/ 19837609 w 21881361"/>
                <a:gd name="connsiteY64" fmla="*/ 1121173 h 15035524"/>
                <a:gd name="connsiteX65" fmla="*/ 21881359 w 21881361"/>
                <a:gd name="connsiteY65" fmla="*/ 1772279 h 15035524"/>
                <a:gd name="connsiteX66" fmla="*/ 21537712 w 21881361"/>
                <a:gd name="connsiteY66" fmla="*/ 2767023 h 15035524"/>
                <a:gd name="connsiteX67" fmla="*/ 12791242 w 21881361"/>
                <a:gd name="connsiteY67" fmla="*/ 4145446 h 15035524"/>
                <a:gd name="connsiteX68" fmla="*/ 14370431 w 21881361"/>
                <a:gd name="connsiteY68" fmla="*/ 5830216 h 15035524"/>
                <a:gd name="connsiteX69" fmla="*/ 15323320 w 21881361"/>
                <a:gd name="connsiteY69" fmla="*/ 5928489 h 15035524"/>
                <a:gd name="connsiteX70" fmla="*/ 16350939 w 21881361"/>
                <a:gd name="connsiteY70" fmla="*/ 6053348 h 15035524"/>
                <a:gd name="connsiteX71" fmla="*/ 16362364 w 21881361"/>
                <a:gd name="connsiteY71" fmla="*/ 6360628 h 15035524"/>
                <a:gd name="connsiteX72" fmla="*/ 16682563 w 21881361"/>
                <a:gd name="connsiteY72" fmla="*/ 6798531 h 15035524"/>
                <a:gd name="connsiteX0" fmla="*/ 16682563 w 21881361"/>
                <a:gd name="connsiteY0" fmla="*/ 6798531 h 15035524"/>
                <a:gd name="connsiteX1" fmla="*/ 16432262 w 21881361"/>
                <a:gd name="connsiteY1" fmla="*/ 7825917 h 15035524"/>
                <a:gd name="connsiteX2" fmla="*/ 16106317 w 21881361"/>
                <a:gd name="connsiteY2" fmla="*/ 8367221 h 15035524"/>
                <a:gd name="connsiteX3" fmla="*/ 16305649 w 21881361"/>
                <a:gd name="connsiteY3" fmla="*/ 8754550 h 15035524"/>
                <a:gd name="connsiteX4" fmla="*/ 16287189 w 21881361"/>
                <a:gd name="connsiteY4" fmla="*/ 9151157 h 15035524"/>
                <a:gd name="connsiteX5" fmla="*/ 16372801 w 21881361"/>
                <a:gd name="connsiteY5" fmla="*/ 9717422 h 15035524"/>
                <a:gd name="connsiteX6" fmla="*/ 16070155 w 21881361"/>
                <a:gd name="connsiteY6" fmla="*/ 9937808 h 15035524"/>
                <a:gd name="connsiteX7" fmla="*/ 15805690 w 21881361"/>
                <a:gd name="connsiteY7" fmla="*/ 10431999 h 15035524"/>
                <a:gd name="connsiteX8" fmla="*/ 15195097 w 21881361"/>
                <a:gd name="connsiteY8" fmla="*/ 10093742 h 15035524"/>
                <a:gd name="connsiteX9" fmla="*/ 15011380 w 21881361"/>
                <a:gd name="connsiteY9" fmla="*/ 11048592 h 15035524"/>
                <a:gd name="connsiteX10" fmla="*/ 14908430 w 21881361"/>
                <a:gd name="connsiteY10" fmla="*/ 11937487 h 15035524"/>
                <a:gd name="connsiteX11" fmla="*/ 14904684 w 21881361"/>
                <a:gd name="connsiteY11" fmla="*/ 12760926 h 15035524"/>
                <a:gd name="connsiteX12" fmla="*/ 14929927 w 21881361"/>
                <a:gd name="connsiteY12" fmla="*/ 14391846 h 15035524"/>
                <a:gd name="connsiteX13" fmla="*/ 12952786 w 21881361"/>
                <a:gd name="connsiteY13" fmla="*/ 14842599 h 15035524"/>
                <a:gd name="connsiteX14" fmla="*/ 11934663 w 21881361"/>
                <a:gd name="connsiteY14" fmla="*/ 14890849 h 15035524"/>
                <a:gd name="connsiteX15" fmla="*/ 8506848 w 21881361"/>
                <a:gd name="connsiteY15" fmla="*/ 15035524 h 15035524"/>
                <a:gd name="connsiteX16" fmla="*/ 7985095 w 21881361"/>
                <a:gd name="connsiteY16" fmla="*/ 14390442 h 15035524"/>
                <a:gd name="connsiteX17" fmla="*/ 7400308 w 21881361"/>
                <a:gd name="connsiteY17" fmla="*/ 14360297 h 15035524"/>
                <a:gd name="connsiteX18" fmla="*/ 6972273 w 21881361"/>
                <a:gd name="connsiteY18" fmla="*/ 14631594 h 15035524"/>
                <a:gd name="connsiteX19" fmla="*/ 5181729 w 21881361"/>
                <a:gd name="connsiteY19" fmla="*/ 14547195 h 15035524"/>
                <a:gd name="connsiteX20" fmla="*/ 4397998 w 21881361"/>
                <a:gd name="connsiteY20" fmla="*/ 13914178 h 15035524"/>
                <a:gd name="connsiteX21" fmla="*/ 2908896 w 21881361"/>
                <a:gd name="connsiteY21" fmla="*/ 13106324 h 15035524"/>
                <a:gd name="connsiteX22" fmla="*/ 1263043 w 21881361"/>
                <a:gd name="connsiteY22" fmla="*/ 12394931 h 15035524"/>
                <a:gd name="connsiteX23" fmla="*/ 485320 w 21881361"/>
                <a:gd name="connsiteY23" fmla="*/ 11942774 h 15035524"/>
                <a:gd name="connsiteX24" fmla="*/ 0 w 21881361"/>
                <a:gd name="connsiteY24" fmla="*/ 11649662 h 15035524"/>
                <a:gd name="connsiteX25" fmla="*/ 1003686 w 21881361"/>
                <a:gd name="connsiteY25" fmla="*/ 10903697 h 15035524"/>
                <a:gd name="connsiteX26" fmla="*/ 2902551 w 21881361"/>
                <a:gd name="connsiteY26" fmla="*/ 9719298 h 15035524"/>
                <a:gd name="connsiteX27" fmla="*/ 2558940 w 21881361"/>
                <a:gd name="connsiteY27" fmla="*/ 9185867 h 15035524"/>
                <a:gd name="connsiteX28" fmla="*/ 2402508 w 21881361"/>
                <a:gd name="connsiteY28" fmla="*/ 8498784 h 15035524"/>
                <a:gd name="connsiteX29" fmla="*/ 2730740 w 21881361"/>
                <a:gd name="connsiteY29" fmla="*/ 8471613 h 15035524"/>
                <a:gd name="connsiteX30" fmla="*/ 2947754 w 21881361"/>
                <a:gd name="connsiteY30" fmla="*/ 8001468 h 15035524"/>
                <a:gd name="connsiteX31" fmla="*/ 3499325 w 21881361"/>
                <a:gd name="connsiteY31" fmla="*/ 7558451 h 15035524"/>
                <a:gd name="connsiteX32" fmla="*/ 3680166 w 21881361"/>
                <a:gd name="connsiteY32" fmla="*/ 6681453 h 15035524"/>
                <a:gd name="connsiteX33" fmla="*/ 4186528 w 21881361"/>
                <a:gd name="connsiteY33" fmla="*/ 6690489 h 15035524"/>
                <a:gd name="connsiteX34" fmla="*/ 4837569 w 21881361"/>
                <a:gd name="connsiteY34" fmla="*/ 7160639 h 15035524"/>
                <a:gd name="connsiteX35" fmla="*/ 5352976 w 21881361"/>
                <a:gd name="connsiteY35" fmla="*/ 7079272 h 15035524"/>
                <a:gd name="connsiteX36" fmla="*/ 5741786 w 21881361"/>
                <a:gd name="connsiteY36" fmla="*/ 6708577 h 15035524"/>
                <a:gd name="connsiteX37" fmla="*/ 6157723 w 21881361"/>
                <a:gd name="connsiteY37" fmla="*/ 6545836 h 15035524"/>
                <a:gd name="connsiteX38" fmla="*/ 6745471 w 21881361"/>
                <a:gd name="connsiteY38" fmla="*/ 5976243 h 15035524"/>
                <a:gd name="connsiteX39" fmla="*/ 6890140 w 21881361"/>
                <a:gd name="connsiteY39" fmla="*/ 5126367 h 15035524"/>
                <a:gd name="connsiteX40" fmla="*/ 7568305 w 21881361"/>
                <a:gd name="connsiteY40" fmla="*/ 4556773 h 15035524"/>
                <a:gd name="connsiteX41" fmla="*/ 8137967 w 21881361"/>
                <a:gd name="connsiteY41" fmla="*/ 4113752 h 15035524"/>
                <a:gd name="connsiteX42" fmla="*/ 8463480 w 21881361"/>
                <a:gd name="connsiteY42" fmla="*/ 3309085 h 15035524"/>
                <a:gd name="connsiteX43" fmla="*/ 9024093 w 21881361"/>
                <a:gd name="connsiteY43" fmla="*/ 2956478 h 15035524"/>
                <a:gd name="connsiteX44" fmla="*/ 9675138 w 21881361"/>
                <a:gd name="connsiteY44" fmla="*/ 2603876 h 15035524"/>
                <a:gd name="connsiteX45" fmla="*/ 9558580 w 21881361"/>
                <a:gd name="connsiteY45" fmla="*/ 2055592 h 15035524"/>
                <a:gd name="connsiteX46" fmla="*/ 10353296 w 21881361"/>
                <a:gd name="connsiteY46" fmla="*/ 1383308 h 15035524"/>
                <a:gd name="connsiteX47" fmla="*/ 10832530 w 21881361"/>
                <a:gd name="connsiteY47" fmla="*/ 1310974 h 15035524"/>
                <a:gd name="connsiteX48" fmla="*/ 11058585 w 21881361"/>
                <a:gd name="connsiteY48" fmla="*/ 1763043 h 15035524"/>
                <a:gd name="connsiteX49" fmla="*/ 11411229 w 21881361"/>
                <a:gd name="connsiteY49" fmla="*/ 2142774 h 15035524"/>
                <a:gd name="connsiteX50" fmla="*/ 11998974 w 21881361"/>
                <a:gd name="connsiteY50" fmla="*/ 2224144 h 15035524"/>
                <a:gd name="connsiteX51" fmla="*/ 12315449 w 21881361"/>
                <a:gd name="connsiteY51" fmla="*/ 2884156 h 15035524"/>
                <a:gd name="connsiteX52" fmla="*/ 12785642 w 21881361"/>
                <a:gd name="connsiteY52" fmla="*/ 2703327 h 15035524"/>
                <a:gd name="connsiteX53" fmla="*/ 13671776 w 21881361"/>
                <a:gd name="connsiteY53" fmla="*/ 3155388 h 15035524"/>
                <a:gd name="connsiteX54" fmla="*/ 14123886 w 21881361"/>
                <a:gd name="connsiteY54" fmla="*/ 2857035 h 15035524"/>
                <a:gd name="connsiteX55" fmla="*/ 14259509 w 21881361"/>
                <a:gd name="connsiteY55" fmla="*/ 2287434 h 15035524"/>
                <a:gd name="connsiteX56" fmla="*/ 14892468 w 21881361"/>
                <a:gd name="connsiteY56" fmla="*/ 1645503 h 15035524"/>
                <a:gd name="connsiteX57" fmla="*/ 15778605 w 21881361"/>
                <a:gd name="connsiteY57" fmla="*/ 1093983 h 15035524"/>
                <a:gd name="connsiteX58" fmla="*/ 16022739 w 21881361"/>
                <a:gd name="connsiteY58" fmla="*/ 1564133 h 15035524"/>
                <a:gd name="connsiteX59" fmla="*/ 16556232 w 21881361"/>
                <a:gd name="connsiteY59" fmla="*/ 2142785 h 15035524"/>
                <a:gd name="connsiteX60" fmla="*/ 17406193 w 21881361"/>
                <a:gd name="connsiteY60" fmla="*/ 1292897 h 15035524"/>
                <a:gd name="connsiteX61" fmla="*/ 18120524 w 21881361"/>
                <a:gd name="connsiteY61" fmla="*/ 714260 h 15035524"/>
                <a:gd name="connsiteX62" fmla="*/ 18744437 w 21881361"/>
                <a:gd name="connsiteY62" fmla="*/ -1 h 15035524"/>
                <a:gd name="connsiteX63" fmla="*/ 19982300 w 21881361"/>
                <a:gd name="connsiteY63" fmla="*/ 343465 h 15035524"/>
                <a:gd name="connsiteX64" fmla="*/ 19837609 w 21881361"/>
                <a:gd name="connsiteY64" fmla="*/ 1121173 h 15035524"/>
                <a:gd name="connsiteX65" fmla="*/ 21881359 w 21881361"/>
                <a:gd name="connsiteY65" fmla="*/ 1772279 h 15035524"/>
                <a:gd name="connsiteX66" fmla="*/ 21537712 w 21881361"/>
                <a:gd name="connsiteY66" fmla="*/ 2767023 h 15035524"/>
                <a:gd name="connsiteX67" fmla="*/ 14195152 w 21881361"/>
                <a:gd name="connsiteY67" fmla="*/ 5489927 h 15035524"/>
                <a:gd name="connsiteX68" fmla="*/ 14370431 w 21881361"/>
                <a:gd name="connsiteY68" fmla="*/ 5830216 h 15035524"/>
                <a:gd name="connsiteX69" fmla="*/ 15323320 w 21881361"/>
                <a:gd name="connsiteY69" fmla="*/ 5928489 h 15035524"/>
                <a:gd name="connsiteX70" fmla="*/ 16350939 w 21881361"/>
                <a:gd name="connsiteY70" fmla="*/ 6053348 h 15035524"/>
                <a:gd name="connsiteX71" fmla="*/ 16362364 w 21881361"/>
                <a:gd name="connsiteY71" fmla="*/ 6360628 h 15035524"/>
                <a:gd name="connsiteX72" fmla="*/ 16682563 w 21881361"/>
                <a:gd name="connsiteY72" fmla="*/ 6798531 h 15035524"/>
                <a:gd name="connsiteX0" fmla="*/ 16682563 w 21881361"/>
                <a:gd name="connsiteY0" fmla="*/ 6798531 h 15035524"/>
                <a:gd name="connsiteX1" fmla="*/ 16432262 w 21881361"/>
                <a:gd name="connsiteY1" fmla="*/ 7825917 h 15035524"/>
                <a:gd name="connsiteX2" fmla="*/ 16106317 w 21881361"/>
                <a:gd name="connsiteY2" fmla="*/ 8367221 h 15035524"/>
                <a:gd name="connsiteX3" fmla="*/ 16305649 w 21881361"/>
                <a:gd name="connsiteY3" fmla="*/ 8754550 h 15035524"/>
                <a:gd name="connsiteX4" fmla="*/ 16287189 w 21881361"/>
                <a:gd name="connsiteY4" fmla="*/ 9151157 h 15035524"/>
                <a:gd name="connsiteX5" fmla="*/ 16372801 w 21881361"/>
                <a:gd name="connsiteY5" fmla="*/ 9717422 h 15035524"/>
                <a:gd name="connsiteX6" fmla="*/ 16070155 w 21881361"/>
                <a:gd name="connsiteY6" fmla="*/ 9937808 h 15035524"/>
                <a:gd name="connsiteX7" fmla="*/ 15805690 w 21881361"/>
                <a:gd name="connsiteY7" fmla="*/ 10431999 h 15035524"/>
                <a:gd name="connsiteX8" fmla="*/ 15195097 w 21881361"/>
                <a:gd name="connsiteY8" fmla="*/ 10093742 h 15035524"/>
                <a:gd name="connsiteX9" fmla="*/ 15011380 w 21881361"/>
                <a:gd name="connsiteY9" fmla="*/ 11048592 h 15035524"/>
                <a:gd name="connsiteX10" fmla="*/ 14908430 w 21881361"/>
                <a:gd name="connsiteY10" fmla="*/ 11937487 h 15035524"/>
                <a:gd name="connsiteX11" fmla="*/ 14904684 w 21881361"/>
                <a:gd name="connsiteY11" fmla="*/ 12760926 h 15035524"/>
                <a:gd name="connsiteX12" fmla="*/ 14929927 w 21881361"/>
                <a:gd name="connsiteY12" fmla="*/ 14391846 h 15035524"/>
                <a:gd name="connsiteX13" fmla="*/ 12952786 w 21881361"/>
                <a:gd name="connsiteY13" fmla="*/ 14842599 h 15035524"/>
                <a:gd name="connsiteX14" fmla="*/ 11934663 w 21881361"/>
                <a:gd name="connsiteY14" fmla="*/ 14890849 h 15035524"/>
                <a:gd name="connsiteX15" fmla="*/ 8506848 w 21881361"/>
                <a:gd name="connsiteY15" fmla="*/ 15035524 h 15035524"/>
                <a:gd name="connsiteX16" fmla="*/ 7985095 w 21881361"/>
                <a:gd name="connsiteY16" fmla="*/ 14390442 h 15035524"/>
                <a:gd name="connsiteX17" fmla="*/ 7400308 w 21881361"/>
                <a:gd name="connsiteY17" fmla="*/ 14360297 h 15035524"/>
                <a:gd name="connsiteX18" fmla="*/ 6972273 w 21881361"/>
                <a:gd name="connsiteY18" fmla="*/ 14631594 h 15035524"/>
                <a:gd name="connsiteX19" fmla="*/ 5181729 w 21881361"/>
                <a:gd name="connsiteY19" fmla="*/ 14547195 h 15035524"/>
                <a:gd name="connsiteX20" fmla="*/ 4397998 w 21881361"/>
                <a:gd name="connsiteY20" fmla="*/ 13914178 h 15035524"/>
                <a:gd name="connsiteX21" fmla="*/ 2908896 w 21881361"/>
                <a:gd name="connsiteY21" fmla="*/ 13106324 h 15035524"/>
                <a:gd name="connsiteX22" fmla="*/ 1263043 w 21881361"/>
                <a:gd name="connsiteY22" fmla="*/ 12394931 h 15035524"/>
                <a:gd name="connsiteX23" fmla="*/ 485320 w 21881361"/>
                <a:gd name="connsiteY23" fmla="*/ 11942774 h 15035524"/>
                <a:gd name="connsiteX24" fmla="*/ 0 w 21881361"/>
                <a:gd name="connsiteY24" fmla="*/ 11649662 h 15035524"/>
                <a:gd name="connsiteX25" fmla="*/ 1003686 w 21881361"/>
                <a:gd name="connsiteY25" fmla="*/ 10903697 h 15035524"/>
                <a:gd name="connsiteX26" fmla="*/ 2902551 w 21881361"/>
                <a:gd name="connsiteY26" fmla="*/ 9719298 h 15035524"/>
                <a:gd name="connsiteX27" fmla="*/ 2558940 w 21881361"/>
                <a:gd name="connsiteY27" fmla="*/ 9185867 h 15035524"/>
                <a:gd name="connsiteX28" fmla="*/ 2402508 w 21881361"/>
                <a:gd name="connsiteY28" fmla="*/ 8498784 h 15035524"/>
                <a:gd name="connsiteX29" fmla="*/ 2730740 w 21881361"/>
                <a:gd name="connsiteY29" fmla="*/ 8471613 h 15035524"/>
                <a:gd name="connsiteX30" fmla="*/ 2947754 w 21881361"/>
                <a:gd name="connsiteY30" fmla="*/ 8001468 h 15035524"/>
                <a:gd name="connsiteX31" fmla="*/ 3499325 w 21881361"/>
                <a:gd name="connsiteY31" fmla="*/ 7558451 h 15035524"/>
                <a:gd name="connsiteX32" fmla="*/ 3680166 w 21881361"/>
                <a:gd name="connsiteY32" fmla="*/ 6681453 h 15035524"/>
                <a:gd name="connsiteX33" fmla="*/ 4186528 w 21881361"/>
                <a:gd name="connsiteY33" fmla="*/ 6690489 h 15035524"/>
                <a:gd name="connsiteX34" fmla="*/ 4837569 w 21881361"/>
                <a:gd name="connsiteY34" fmla="*/ 7160639 h 15035524"/>
                <a:gd name="connsiteX35" fmla="*/ 5352976 w 21881361"/>
                <a:gd name="connsiteY35" fmla="*/ 7079272 h 15035524"/>
                <a:gd name="connsiteX36" fmla="*/ 5741786 w 21881361"/>
                <a:gd name="connsiteY36" fmla="*/ 6708577 h 15035524"/>
                <a:gd name="connsiteX37" fmla="*/ 6157723 w 21881361"/>
                <a:gd name="connsiteY37" fmla="*/ 6545836 h 15035524"/>
                <a:gd name="connsiteX38" fmla="*/ 6745471 w 21881361"/>
                <a:gd name="connsiteY38" fmla="*/ 5976243 h 15035524"/>
                <a:gd name="connsiteX39" fmla="*/ 6890140 w 21881361"/>
                <a:gd name="connsiteY39" fmla="*/ 5126367 h 15035524"/>
                <a:gd name="connsiteX40" fmla="*/ 7568305 w 21881361"/>
                <a:gd name="connsiteY40" fmla="*/ 4556773 h 15035524"/>
                <a:gd name="connsiteX41" fmla="*/ 8137967 w 21881361"/>
                <a:gd name="connsiteY41" fmla="*/ 4113752 h 15035524"/>
                <a:gd name="connsiteX42" fmla="*/ 8463480 w 21881361"/>
                <a:gd name="connsiteY42" fmla="*/ 3309085 h 15035524"/>
                <a:gd name="connsiteX43" fmla="*/ 9024093 w 21881361"/>
                <a:gd name="connsiteY43" fmla="*/ 2956478 h 15035524"/>
                <a:gd name="connsiteX44" fmla="*/ 9675138 w 21881361"/>
                <a:gd name="connsiteY44" fmla="*/ 2603876 h 15035524"/>
                <a:gd name="connsiteX45" fmla="*/ 9558580 w 21881361"/>
                <a:gd name="connsiteY45" fmla="*/ 2055592 h 15035524"/>
                <a:gd name="connsiteX46" fmla="*/ 10353296 w 21881361"/>
                <a:gd name="connsiteY46" fmla="*/ 1383308 h 15035524"/>
                <a:gd name="connsiteX47" fmla="*/ 10832530 w 21881361"/>
                <a:gd name="connsiteY47" fmla="*/ 1310974 h 15035524"/>
                <a:gd name="connsiteX48" fmla="*/ 11058585 w 21881361"/>
                <a:gd name="connsiteY48" fmla="*/ 1763043 h 15035524"/>
                <a:gd name="connsiteX49" fmla="*/ 11411229 w 21881361"/>
                <a:gd name="connsiteY49" fmla="*/ 2142774 h 15035524"/>
                <a:gd name="connsiteX50" fmla="*/ 11998974 w 21881361"/>
                <a:gd name="connsiteY50" fmla="*/ 2224144 h 15035524"/>
                <a:gd name="connsiteX51" fmla="*/ 12315449 w 21881361"/>
                <a:gd name="connsiteY51" fmla="*/ 2884156 h 15035524"/>
                <a:gd name="connsiteX52" fmla="*/ 12785642 w 21881361"/>
                <a:gd name="connsiteY52" fmla="*/ 2703327 h 15035524"/>
                <a:gd name="connsiteX53" fmla="*/ 13671776 w 21881361"/>
                <a:gd name="connsiteY53" fmla="*/ 3155388 h 15035524"/>
                <a:gd name="connsiteX54" fmla="*/ 14123886 w 21881361"/>
                <a:gd name="connsiteY54" fmla="*/ 2857035 h 15035524"/>
                <a:gd name="connsiteX55" fmla="*/ 14259509 w 21881361"/>
                <a:gd name="connsiteY55" fmla="*/ 2287434 h 15035524"/>
                <a:gd name="connsiteX56" fmla="*/ 14892468 w 21881361"/>
                <a:gd name="connsiteY56" fmla="*/ 1645503 h 15035524"/>
                <a:gd name="connsiteX57" fmla="*/ 15778605 w 21881361"/>
                <a:gd name="connsiteY57" fmla="*/ 1093983 h 15035524"/>
                <a:gd name="connsiteX58" fmla="*/ 16022739 w 21881361"/>
                <a:gd name="connsiteY58" fmla="*/ 1564133 h 15035524"/>
                <a:gd name="connsiteX59" fmla="*/ 16556232 w 21881361"/>
                <a:gd name="connsiteY59" fmla="*/ 2142785 h 15035524"/>
                <a:gd name="connsiteX60" fmla="*/ 17406193 w 21881361"/>
                <a:gd name="connsiteY60" fmla="*/ 1292897 h 15035524"/>
                <a:gd name="connsiteX61" fmla="*/ 18120524 w 21881361"/>
                <a:gd name="connsiteY61" fmla="*/ 714260 h 15035524"/>
                <a:gd name="connsiteX62" fmla="*/ 18744437 w 21881361"/>
                <a:gd name="connsiteY62" fmla="*/ -1 h 15035524"/>
                <a:gd name="connsiteX63" fmla="*/ 19982300 w 21881361"/>
                <a:gd name="connsiteY63" fmla="*/ 343465 h 15035524"/>
                <a:gd name="connsiteX64" fmla="*/ 19837609 w 21881361"/>
                <a:gd name="connsiteY64" fmla="*/ 1121173 h 15035524"/>
                <a:gd name="connsiteX65" fmla="*/ 21881359 w 21881361"/>
                <a:gd name="connsiteY65" fmla="*/ 1772279 h 15035524"/>
                <a:gd name="connsiteX66" fmla="*/ 9351795 w 21881361"/>
                <a:gd name="connsiteY66" fmla="*/ 5483998 h 15035524"/>
                <a:gd name="connsiteX67" fmla="*/ 14195152 w 21881361"/>
                <a:gd name="connsiteY67" fmla="*/ 5489927 h 15035524"/>
                <a:gd name="connsiteX68" fmla="*/ 14370431 w 21881361"/>
                <a:gd name="connsiteY68" fmla="*/ 5830216 h 15035524"/>
                <a:gd name="connsiteX69" fmla="*/ 15323320 w 21881361"/>
                <a:gd name="connsiteY69" fmla="*/ 5928489 h 15035524"/>
                <a:gd name="connsiteX70" fmla="*/ 16350939 w 21881361"/>
                <a:gd name="connsiteY70" fmla="*/ 6053348 h 15035524"/>
                <a:gd name="connsiteX71" fmla="*/ 16362364 w 21881361"/>
                <a:gd name="connsiteY71" fmla="*/ 6360628 h 15035524"/>
                <a:gd name="connsiteX72" fmla="*/ 16682563 w 21881361"/>
                <a:gd name="connsiteY72" fmla="*/ 6798531 h 15035524"/>
                <a:gd name="connsiteX0" fmla="*/ 16682563 w 21881361"/>
                <a:gd name="connsiteY0" fmla="*/ 6798531 h 15035524"/>
                <a:gd name="connsiteX1" fmla="*/ 16432262 w 21881361"/>
                <a:gd name="connsiteY1" fmla="*/ 7825917 h 15035524"/>
                <a:gd name="connsiteX2" fmla="*/ 16106317 w 21881361"/>
                <a:gd name="connsiteY2" fmla="*/ 8367221 h 15035524"/>
                <a:gd name="connsiteX3" fmla="*/ 16305649 w 21881361"/>
                <a:gd name="connsiteY3" fmla="*/ 8754550 h 15035524"/>
                <a:gd name="connsiteX4" fmla="*/ 16287189 w 21881361"/>
                <a:gd name="connsiteY4" fmla="*/ 9151157 h 15035524"/>
                <a:gd name="connsiteX5" fmla="*/ 16372801 w 21881361"/>
                <a:gd name="connsiteY5" fmla="*/ 9717422 h 15035524"/>
                <a:gd name="connsiteX6" fmla="*/ 16070155 w 21881361"/>
                <a:gd name="connsiteY6" fmla="*/ 9937808 h 15035524"/>
                <a:gd name="connsiteX7" fmla="*/ 15805690 w 21881361"/>
                <a:gd name="connsiteY7" fmla="*/ 10431999 h 15035524"/>
                <a:gd name="connsiteX8" fmla="*/ 15195097 w 21881361"/>
                <a:gd name="connsiteY8" fmla="*/ 10093742 h 15035524"/>
                <a:gd name="connsiteX9" fmla="*/ 15011380 w 21881361"/>
                <a:gd name="connsiteY9" fmla="*/ 11048592 h 15035524"/>
                <a:gd name="connsiteX10" fmla="*/ 14908430 w 21881361"/>
                <a:gd name="connsiteY10" fmla="*/ 11937487 h 15035524"/>
                <a:gd name="connsiteX11" fmla="*/ 14904684 w 21881361"/>
                <a:gd name="connsiteY11" fmla="*/ 12760926 h 15035524"/>
                <a:gd name="connsiteX12" fmla="*/ 14929927 w 21881361"/>
                <a:gd name="connsiteY12" fmla="*/ 14391846 h 15035524"/>
                <a:gd name="connsiteX13" fmla="*/ 12952786 w 21881361"/>
                <a:gd name="connsiteY13" fmla="*/ 14842599 h 15035524"/>
                <a:gd name="connsiteX14" fmla="*/ 11934663 w 21881361"/>
                <a:gd name="connsiteY14" fmla="*/ 14890849 h 15035524"/>
                <a:gd name="connsiteX15" fmla="*/ 8506848 w 21881361"/>
                <a:gd name="connsiteY15" fmla="*/ 15035524 h 15035524"/>
                <a:gd name="connsiteX16" fmla="*/ 7985095 w 21881361"/>
                <a:gd name="connsiteY16" fmla="*/ 14390442 h 15035524"/>
                <a:gd name="connsiteX17" fmla="*/ 7400308 w 21881361"/>
                <a:gd name="connsiteY17" fmla="*/ 14360297 h 15035524"/>
                <a:gd name="connsiteX18" fmla="*/ 6972273 w 21881361"/>
                <a:gd name="connsiteY18" fmla="*/ 14631594 h 15035524"/>
                <a:gd name="connsiteX19" fmla="*/ 5181729 w 21881361"/>
                <a:gd name="connsiteY19" fmla="*/ 14547195 h 15035524"/>
                <a:gd name="connsiteX20" fmla="*/ 4397998 w 21881361"/>
                <a:gd name="connsiteY20" fmla="*/ 13914178 h 15035524"/>
                <a:gd name="connsiteX21" fmla="*/ 2908896 w 21881361"/>
                <a:gd name="connsiteY21" fmla="*/ 13106324 h 15035524"/>
                <a:gd name="connsiteX22" fmla="*/ 1263043 w 21881361"/>
                <a:gd name="connsiteY22" fmla="*/ 12394931 h 15035524"/>
                <a:gd name="connsiteX23" fmla="*/ 485320 w 21881361"/>
                <a:gd name="connsiteY23" fmla="*/ 11942774 h 15035524"/>
                <a:gd name="connsiteX24" fmla="*/ 0 w 21881361"/>
                <a:gd name="connsiteY24" fmla="*/ 11649662 h 15035524"/>
                <a:gd name="connsiteX25" fmla="*/ 1003686 w 21881361"/>
                <a:gd name="connsiteY25" fmla="*/ 10903697 h 15035524"/>
                <a:gd name="connsiteX26" fmla="*/ 2902551 w 21881361"/>
                <a:gd name="connsiteY26" fmla="*/ 9719298 h 15035524"/>
                <a:gd name="connsiteX27" fmla="*/ 2558940 w 21881361"/>
                <a:gd name="connsiteY27" fmla="*/ 9185867 h 15035524"/>
                <a:gd name="connsiteX28" fmla="*/ 2402508 w 21881361"/>
                <a:gd name="connsiteY28" fmla="*/ 8498784 h 15035524"/>
                <a:gd name="connsiteX29" fmla="*/ 2730740 w 21881361"/>
                <a:gd name="connsiteY29" fmla="*/ 8471613 h 15035524"/>
                <a:gd name="connsiteX30" fmla="*/ 2947754 w 21881361"/>
                <a:gd name="connsiteY30" fmla="*/ 8001468 h 15035524"/>
                <a:gd name="connsiteX31" fmla="*/ 3499325 w 21881361"/>
                <a:gd name="connsiteY31" fmla="*/ 7558451 h 15035524"/>
                <a:gd name="connsiteX32" fmla="*/ 3680166 w 21881361"/>
                <a:gd name="connsiteY32" fmla="*/ 6681453 h 15035524"/>
                <a:gd name="connsiteX33" fmla="*/ 4186528 w 21881361"/>
                <a:gd name="connsiteY33" fmla="*/ 6690489 h 15035524"/>
                <a:gd name="connsiteX34" fmla="*/ 4837569 w 21881361"/>
                <a:gd name="connsiteY34" fmla="*/ 7160639 h 15035524"/>
                <a:gd name="connsiteX35" fmla="*/ 5352976 w 21881361"/>
                <a:gd name="connsiteY35" fmla="*/ 7079272 h 15035524"/>
                <a:gd name="connsiteX36" fmla="*/ 5741786 w 21881361"/>
                <a:gd name="connsiteY36" fmla="*/ 6708577 h 15035524"/>
                <a:gd name="connsiteX37" fmla="*/ 6157723 w 21881361"/>
                <a:gd name="connsiteY37" fmla="*/ 6545836 h 15035524"/>
                <a:gd name="connsiteX38" fmla="*/ 6745471 w 21881361"/>
                <a:gd name="connsiteY38" fmla="*/ 5976243 h 15035524"/>
                <a:gd name="connsiteX39" fmla="*/ 6890140 w 21881361"/>
                <a:gd name="connsiteY39" fmla="*/ 5126367 h 15035524"/>
                <a:gd name="connsiteX40" fmla="*/ 7568305 w 21881361"/>
                <a:gd name="connsiteY40" fmla="*/ 4556773 h 15035524"/>
                <a:gd name="connsiteX41" fmla="*/ 8137967 w 21881361"/>
                <a:gd name="connsiteY41" fmla="*/ 4113752 h 15035524"/>
                <a:gd name="connsiteX42" fmla="*/ 8463480 w 21881361"/>
                <a:gd name="connsiteY42" fmla="*/ 3309085 h 15035524"/>
                <a:gd name="connsiteX43" fmla="*/ 9024093 w 21881361"/>
                <a:gd name="connsiteY43" fmla="*/ 2956478 h 15035524"/>
                <a:gd name="connsiteX44" fmla="*/ 9675138 w 21881361"/>
                <a:gd name="connsiteY44" fmla="*/ 2603876 h 15035524"/>
                <a:gd name="connsiteX45" fmla="*/ 9558580 w 21881361"/>
                <a:gd name="connsiteY45" fmla="*/ 2055592 h 15035524"/>
                <a:gd name="connsiteX46" fmla="*/ 10353296 w 21881361"/>
                <a:gd name="connsiteY46" fmla="*/ 1383308 h 15035524"/>
                <a:gd name="connsiteX47" fmla="*/ 10832530 w 21881361"/>
                <a:gd name="connsiteY47" fmla="*/ 1310974 h 15035524"/>
                <a:gd name="connsiteX48" fmla="*/ 11058585 w 21881361"/>
                <a:gd name="connsiteY48" fmla="*/ 1763043 h 15035524"/>
                <a:gd name="connsiteX49" fmla="*/ 11411229 w 21881361"/>
                <a:gd name="connsiteY49" fmla="*/ 2142774 h 15035524"/>
                <a:gd name="connsiteX50" fmla="*/ 11998974 w 21881361"/>
                <a:gd name="connsiteY50" fmla="*/ 2224144 h 15035524"/>
                <a:gd name="connsiteX51" fmla="*/ 12315449 w 21881361"/>
                <a:gd name="connsiteY51" fmla="*/ 2884156 h 15035524"/>
                <a:gd name="connsiteX52" fmla="*/ 12785642 w 21881361"/>
                <a:gd name="connsiteY52" fmla="*/ 2703327 h 15035524"/>
                <a:gd name="connsiteX53" fmla="*/ 13671776 w 21881361"/>
                <a:gd name="connsiteY53" fmla="*/ 3155388 h 15035524"/>
                <a:gd name="connsiteX54" fmla="*/ 14123886 w 21881361"/>
                <a:gd name="connsiteY54" fmla="*/ 2857035 h 15035524"/>
                <a:gd name="connsiteX55" fmla="*/ 14259509 w 21881361"/>
                <a:gd name="connsiteY55" fmla="*/ 2287434 h 15035524"/>
                <a:gd name="connsiteX56" fmla="*/ 14892468 w 21881361"/>
                <a:gd name="connsiteY56" fmla="*/ 1645503 h 15035524"/>
                <a:gd name="connsiteX57" fmla="*/ 15778605 w 21881361"/>
                <a:gd name="connsiteY57" fmla="*/ 1093983 h 15035524"/>
                <a:gd name="connsiteX58" fmla="*/ 16022739 w 21881361"/>
                <a:gd name="connsiteY58" fmla="*/ 1564133 h 15035524"/>
                <a:gd name="connsiteX59" fmla="*/ 16556232 w 21881361"/>
                <a:gd name="connsiteY59" fmla="*/ 2142785 h 15035524"/>
                <a:gd name="connsiteX60" fmla="*/ 17406193 w 21881361"/>
                <a:gd name="connsiteY60" fmla="*/ 1292897 h 15035524"/>
                <a:gd name="connsiteX61" fmla="*/ 18120524 w 21881361"/>
                <a:gd name="connsiteY61" fmla="*/ 714260 h 15035524"/>
                <a:gd name="connsiteX62" fmla="*/ 18744437 w 21881361"/>
                <a:gd name="connsiteY62" fmla="*/ -1 h 15035524"/>
                <a:gd name="connsiteX63" fmla="*/ 19982300 w 21881361"/>
                <a:gd name="connsiteY63" fmla="*/ 343465 h 15035524"/>
                <a:gd name="connsiteX64" fmla="*/ 19837609 w 21881361"/>
                <a:gd name="connsiteY64" fmla="*/ 1121173 h 15035524"/>
                <a:gd name="connsiteX65" fmla="*/ 21881359 w 21881361"/>
                <a:gd name="connsiteY65" fmla="*/ 1772279 h 15035524"/>
                <a:gd name="connsiteX66" fmla="*/ 8537524 w 21881361"/>
                <a:gd name="connsiteY66" fmla="*/ 7052559 h 15035524"/>
                <a:gd name="connsiteX67" fmla="*/ 14195152 w 21881361"/>
                <a:gd name="connsiteY67" fmla="*/ 5489927 h 15035524"/>
                <a:gd name="connsiteX68" fmla="*/ 14370431 w 21881361"/>
                <a:gd name="connsiteY68" fmla="*/ 5830216 h 15035524"/>
                <a:gd name="connsiteX69" fmla="*/ 15323320 w 21881361"/>
                <a:gd name="connsiteY69" fmla="*/ 5928489 h 15035524"/>
                <a:gd name="connsiteX70" fmla="*/ 16350939 w 21881361"/>
                <a:gd name="connsiteY70" fmla="*/ 6053348 h 15035524"/>
                <a:gd name="connsiteX71" fmla="*/ 16362364 w 21881361"/>
                <a:gd name="connsiteY71" fmla="*/ 6360628 h 15035524"/>
                <a:gd name="connsiteX72" fmla="*/ 16682563 w 21881361"/>
                <a:gd name="connsiteY72" fmla="*/ 6798531 h 15035524"/>
                <a:gd name="connsiteX0" fmla="*/ 16682563 w 21881361"/>
                <a:gd name="connsiteY0" fmla="*/ 6798531 h 15035524"/>
                <a:gd name="connsiteX1" fmla="*/ 16432262 w 21881361"/>
                <a:gd name="connsiteY1" fmla="*/ 7825917 h 15035524"/>
                <a:gd name="connsiteX2" fmla="*/ 16106317 w 21881361"/>
                <a:gd name="connsiteY2" fmla="*/ 8367221 h 15035524"/>
                <a:gd name="connsiteX3" fmla="*/ 16305649 w 21881361"/>
                <a:gd name="connsiteY3" fmla="*/ 8754550 h 15035524"/>
                <a:gd name="connsiteX4" fmla="*/ 16287189 w 21881361"/>
                <a:gd name="connsiteY4" fmla="*/ 9151157 h 15035524"/>
                <a:gd name="connsiteX5" fmla="*/ 16372801 w 21881361"/>
                <a:gd name="connsiteY5" fmla="*/ 9717422 h 15035524"/>
                <a:gd name="connsiteX6" fmla="*/ 16070155 w 21881361"/>
                <a:gd name="connsiteY6" fmla="*/ 9937808 h 15035524"/>
                <a:gd name="connsiteX7" fmla="*/ 15805690 w 21881361"/>
                <a:gd name="connsiteY7" fmla="*/ 10431999 h 15035524"/>
                <a:gd name="connsiteX8" fmla="*/ 15195097 w 21881361"/>
                <a:gd name="connsiteY8" fmla="*/ 10093742 h 15035524"/>
                <a:gd name="connsiteX9" fmla="*/ 15011380 w 21881361"/>
                <a:gd name="connsiteY9" fmla="*/ 11048592 h 15035524"/>
                <a:gd name="connsiteX10" fmla="*/ 14908430 w 21881361"/>
                <a:gd name="connsiteY10" fmla="*/ 11937487 h 15035524"/>
                <a:gd name="connsiteX11" fmla="*/ 14904684 w 21881361"/>
                <a:gd name="connsiteY11" fmla="*/ 12760926 h 15035524"/>
                <a:gd name="connsiteX12" fmla="*/ 14929927 w 21881361"/>
                <a:gd name="connsiteY12" fmla="*/ 14391846 h 15035524"/>
                <a:gd name="connsiteX13" fmla="*/ 12952786 w 21881361"/>
                <a:gd name="connsiteY13" fmla="*/ 14842599 h 15035524"/>
                <a:gd name="connsiteX14" fmla="*/ 11934663 w 21881361"/>
                <a:gd name="connsiteY14" fmla="*/ 14890849 h 15035524"/>
                <a:gd name="connsiteX15" fmla="*/ 8506848 w 21881361"/>
                <a:gd name="connsiteY15" fmla="*/ 15035524 h 15035524"/>
                <a:gd name="connsiteX16" fmla="*/ 7985095 w 21881361"/>
                <a:gd name="connsiteY16" fmla="*/ 14390442 h 15035524"/>
                <a:gd name="connsiteX17" fmla="*/ 7400308 w 21881361"/>
                <a:gd name="connsiteY17" fmla="*/ 14360297 h 15035524"/>
                <a:gd name="connsiteX18" fmla="*/ 6972273 w 21881361"/>
                <a:gd name="connsiteY18" fmla="*/ 14631594 h 15035524"/>
                <a:gd name="connsiteX19" fmla="*/ 5181729 w 21881361"/>
                <a:gd name="connsiteY19" fmla="*/ 14547195 h 15035524"/>
                <a:gd name="connsiteX20" fmla="*/ 4397998 w 21881361"/>
                <a:gd name="connsiteY20" fmla="*/ 13914178 h 15035524"/>
                <a:gd name="connsiteX21" fmla="*/ 2908896 w 21881361"/>
                <a:gd name="connsiteY21" fmla="*/ 13106324 h 15035524"/>
                <a:gd name="connsiteX22" fmla="*/ 1263043 w 21881361"/>
                <a:gd name="connsiteY22" fmla="*/ 12394931 h 15035524"/>
                <a:gd name="connsiteX23" fmla="*/ 485320 w 21881361"/>
                <a:gd name="connsiteY23" fmla="*/ 11942774 h 15035524"/>
                <a:gd name="connsiteX24" fmla="*/ 0 w 21881361"/>
                <a:gd name="connsiteY24" fmla="*/ 11649662 h 15035524"/>
                <a:gd name="connsiteX25" fmla="*/ 1003686 w 21881361"/>
                <a:gd name="connsiteY25" fmla="*/ 10903697 h 15035524"/>
                <a:gd name="connsiteX26" fmla="*/ 2902551 w 21881361"/>
                <a:gd name="connsiteY26" fmla="*/ 9719298 h 15035524"/>
                <a:gd name="connsiteX27" fmla="*/ 2558940 w 21881361"/>
                <a:gd name="connsiteY27" fmla="*/ 9185867 h 15035524"/>
                <a:gd name="connsiteX28" fmla="*/ 2402508 w 21881361"/>
                <a:gd name="connsiteY28" fmla="*/ 8498784 h 15035524"/>
                <a:gd name="connsiteX29" fmla="*/ 2730740 w 21881361"/>
                <a:gd name="connsiteY29" fmla="*/ 8471613 h 15035524"/>
                <a:gd name="connsiteX30" fmla="*/ 2947754 w 21881361"/>
                <a:gd name="connsiteY30" fmla="*/ 8001468 h 15035524"/>
                <a:gd name="connsiteX31" fmla="*/ 3499325 w 21881361"/>
                <a:gd name="connsiteY31" fmla="*/ 7558451 h 15035524"/>
                <a:gd name="connsiteX32" fmla="*/ 3680166 w 21881361"/>
                <a:gd name="connsiteY32" fmla="*/ 6681453 h 15035524"/>
                <a:gd name="connsiteX33" fmla="*/ 4186528 w 21881361"/>
                <a:gd name="connsiteY33" fmla="*/ 6690489 h 15035524"/>
                <a:gd name="connsiteX34" fmla="*/ 4837569 w 21881361"/>
                <a:gd name="connsiteY34" fmla="*/ 7160639 h 15035524"/>
                <a:gd name="connsiteX35" fmla="*/ 5352976 w 21881361"/>
                <a:gd name="connsiteY35" fmla="*/ 7079272 h 15035524"/>
                <a:gd name="connsiteX36" fmla="*/ 5741786 w 21881361"/>
                <a:gd name="connsiteY36" fmla="*/ 6708577 h 15035524"/>
                <a:gd name="connsiteX37" fmla="*/ 6157723 w 21881361"/>
                <a:gd name="connsiteY37" fmla="*/ 6545836 h 15035524"/>
                <a:gd name="connsiteX38" fmla="*/ 6745471 w 21881361"/>
                <a:gd name="connsiteY38" fmla="*/ 5976243 h 15035524"/>
                <a:gd name="connsiteX39" fmla="*/ 6890140 w 21881361"/>
                <a:gd name="connsiteY39" fmla="*/ 5126367 h 15035524"/>
                <a:gd name="connsiteX40" fmla="*/ 7568305 w 21881361"/>
                <a:gd name="connsiteY40" fmla="*/ 4556773 h 15035524"/>
                <a:gd name="connsiteX41" fmla="*/ 8137967 w 21881361"/>
                <a:gd name="connsiteY41" fmla="*/ 4113752 h 15035524"/>
                <a:gd name="connsiteX42" fmla="*/ 8463480 w 21881361"/>
                <a:gd name="connsiteY42" fmla="*/ 3309085 h 15035524"/>
                <a:gd name="connsiteX43" fmla="*/ 9024093 w 21881361"/>
                <a:gd name="connsiteY43" fmla="*/ 2956478 h 15035524"/>
                <a:gd name="connsiteX44" fmla="*/ 9675138 w 21881361"/>
                <a:gd name="connsiteY44" fmla="*/ 2603876 h 15035524"/>
                <a:gd name="connsiteX45" fmla="*/ 9558580 w 21881361"/>
                <a:gd name="connsiteY45" fmla="*/ 2055592 h 15035524"/>
                <a:gd name="connsiteX46" fmla="*/ 10353296 w 21881361"/>
                <a:gd name="connsiteY46" fmla="*/ 1383308 h 15035524"/>
                <a:gd name="connsiteX47" fmla="*/ 10832530 w 21881361"/>
                <a:gd name="connsiteY47" fmla="*/ 1310974 h 15035524"/>
                <a:gd name="connsiteX48" fmla="*/ 11058585 w 21881361"/>
                <a:gd name="connsiteY48" fmla="*/ 1763043 h 15035524"/>
                <a:gd name="connsiteX49" fmla="*/ 11411229 w 21881361"/>
                <a:gd name="connsiteY49" fmla="*/ 2142774 h 15035524"/>
                <a:gd name="connsiteX50" fmla="*/ 11998974 w 21881361"/>
                <a:gd name="connsiteY50" fmla="*/ 2224144 h 15035524"/>
                <a:gd name="connsiteX51" fmla="*/ 12315449 w 21881361"/>
                <a:gd name="connsiteY51" fmla="*/ 2884156 h 15035524"/>
                <a:gd name="connsiteX52" fmla="*/ 12785642 w 21881361"/>
                <a:gd name="connsiteY52" fmla="*/ 2703327 h 15035524"/>
                <a:gd name="connsiteX53" fmla="*/ 13671776 w 21881361"/>
                <a:gd name="connsiteY53" fmla="*/ 3155388 h 15035524"/>
                <a:gd name="connsiteX54" fmla="*/ 14123886 w 21881361"/>
                <a:gd name="connsiteY54" fmla="*/ 2857035 h 15035524"/>
                <a:gd name="connsiteX55" fmla="*/ 14259509 w 21881361"/>
                <a:gd name="connsiteY55" fmla="*/ 2287434 h 15035524"/>
                <a:gd name="connsiteX56" fmla="*/ 14892468 w 21881361"/>
                <a:gd name="connsiteY56" fmla="*/ 1645503 h 15035524"/>
                <a:gd name="connsiteX57" fmla="*/ 15778605 w 21881361"/>
                <a:gd name="connsiteY57" fmla="*/ 1093983 h 15035524"/>
                <a:gd name="connsiteX58" fmla="*/ 16022739 w 21881361"/>
                <a:gd name="connsiteY58" fmla="*/ 1564133 h 15035524"/>
                <a:gd name="connsiteX59" fmla="*/ 16556232 w 21881361"/>
                <a:gd name="connsiteY59" fmla="*/ 2142785 h 15035524"/>
                <a:gd name="connsiteX60" fmla="*/ 17406193 w 21881361"/>
                <a:gd name="connsiteY60" fmla="*/ 1292897 h 15035524"/>
                <a:gd name="connsiteX61" fmla="*/ 18120524 w 21881361"/>
                <a:gd name="connsiteY61" fmla="*/ 714260 h 15035524"/>
                <a:gd name="connsiteX62" fmla="*/ 18744437 w 21881361"/>
                <a:gd name="connsiteY62" fmla="*/ -1 h 15035524"/>
                <a:gd name="connsiteX63" fmla="*/ 19982300 w 21881361"/>
                <a:gd name="connsiteY63" fmla="*/ 343465 h 15035524"/>
                <a:gd name="connsiteX64" fmla="*/ 19837609 w 21881361"/>
                <a:gd name="connsiteY64" fmla="*/ 1121173 h 15035524"/>
                <a:gd name="connsiteX65" fmla="*/ 21881359 w 21881361"/>
                <a:gd name="connsiteY65" fmla="*/ 1772279 h 15035524"/>
                <a:gd name="connsiteX66" fmla="*/ 8481365 w 21881361"/>
                <a:gd name="connsiteY66" fmla="*/ 9209329 h 15035524"/>
                <a:gd name="connsiteX67" fmla="*/ 14195152 w 21881361"/>
                <a:gd name="connsiteY67" fmla="*/ 5489927 h 15035524"/>
                <a:gd name="connsiteX68" fmla="*/ 14370431 w 21881361"/>
                <a:gd name="connsiteY68" fmla="*/ 5830216 h 15035524"/>
                <a:gd name="connsiteX69" fmla="*/ 15323320 w 21881361"/>
                <a:gd name="connsiteY69" fmla="*/ 5928489 h 15035524"/>
                <a:gd name="connsiteX70" fmla="*/ 16350939 w 21881361"/>
                <a:gd name="connsiteY70" fmla="*/ 6053348 h 15035524"/>
                <a:gd name="connsiteX71" fmla="*/ 16362364 w 21881361"/>
                <a:gd name="connsiteY71" fmla="*/ 6360628 h 15035524"/>
                <a:gd name="connsiteX72" fmla="*/ 16682563 w 21881361"/>
                <a:gd name="connsiteY72" fmla="*/ 6798531 h 15035524"/>
                <a:gd name="connsiteX0" fmla="*/ 16682563 w 21881361"/>
                <a:gd name="connsiteY0" fmla="*/ 6798531 h 15035524"/>
                <a:gd name="connsiteX1" fmla="*/ 16432262 w 21881361"/>
                <a:gd name="connsiteY1" fmla="*/ 7825917 h 15035524"/>
                <a:gd name="connsiteX2" fmla="*/ 16106317 w 21881361"/>
                <a:gd name="connsiteY2" fmla="*/ 8367221 h 15035524"/>
                <a:gd name="connsiteX3" fmla="*/ 16305649 w 21881361"/>
                <a:gd name="connsiteY3" fmla="*/ 8754550 h 15035524"/>
                <a:gd name="connsiteX4" fmla="*/ 16287189 w 21881361"/>
                <a:gd name="connsiteY4" fmla="*/ 9151157 h 15035524"/>
                <a:gd name="connsiteX5" fmla="*/ 16372801 w 21881361"/>
                <a:gd name="connsiteY5" fmla="*/ 9717422 h 15035524"/>
                <a:gd name="connsiteX6" fmla="*/ 16070155 w 21881361"/>
                <a:gd name="connsiteY6" fmla="*/ 9937808 h 15035524"/>
                <a:gd name="connsiteX7" fmla="*/ 15805690 w 21881361"/>
                <a:gd name="connsiteY7" fmla="*/ 10431999 h 15035524"/>
                <a:gd name="connsiteX8" fmla="*/ 15195097 w 21881361"/>
                <a:gd name="connsiteY8" fmla="*/ 10093742 h 15035524"/>
                <a:gd name="connsiteX9" fmla="*/ 15011380 w 21881361"/>
                <a:gd name="connsiteY9" fmla="*/ 11048592 h 15035524"/>
                <a:gd name="connsiteX10" fmla="*/ 14908430 w 21881361"/>
                <a:gd name="connsiteY10" fmla="*/ 11937487 h 15035524"/>
                <a:gd name="connsiteX11" fmla="*/ 14904684 w 21881361"/>
                <a:gd name="connsiteY11" fmla="*/ 12760926 h 15035524"/>
                <a:gd name="connsiteX12" fmla="*/ 14929927 w 21881361"/>
                <a:gd name="connsiteY12" fmla="*/ 14391846 h 15035524"/>
                <a:gd name="connsiteX13" fmla="*/ 12952786 w 21881361"/>
                <a:gd name="connsiteY13" fmla="*/ 14842599 h 15035524"/>
                <a:gd name="connsiteX14" fmla="*/ 11934663 w 21881361"/>
                <a:gd name="connsiteY14" fmla="*/ 14890849 h 15035524"/>
                <a:gd name="connsiteX15" fmla="*/ 8506848 w 21881361"/>
                <a:gd name="connsiteY15" fmla="*/ 15035524 h 15035524"/>
                <a:gd name="connsiteX16" fmla="*/ 7985095 w 21881361"/>
                <a:gd name="connsiteY16" fmla="*/ 14390442 h 15035524"/>
                <a:gd name="connsiteX17" fmla="*/ 7400308 w 21881361"/>
                <a:gd name="connsiteY17" fmla="*/ 14360297 h 15035524"/>
                <a:gd name="connsiteX18" fmla="*/ 6972273 w 21881361"/>
                <a:gd name="connsiteY18" fmla="*/ 14631594 h 15035524"/>
                <a:gd name="connsiteX19" fmla="*/ 5181729 w 21881361"/>
                <a:gd name="connsiteY19" fmla="*/ 14547195 h 15035524"/>
                <a:gd name="connsiteX20" fmla="*/ 4397998 w 21881361"/>
                <a:gd name="connsiteY20" fmla="*/ 13914178 h 15035524"/>
                <a:gd name="connsiteX21" fmla="*/ 2908896 w 21881361"/>
                <a:gd name="connsiteY21" fmla="*/ 13106324 h 15035524"/>
                <a:gd name="connsiteX22" fmla="*/ 1263043 w 21881361"/>
                <a:gd name="connsiteY22" fmla="*/ 12394931 h 15035524"/>
                <a:gd name="connsiteX23" fmla="*/ 485320 w 21881361"/>
                <a:gd name="connsiteY23" fmla="*/ 11942774 h 15035524"/>
                <a:gd name="connsiteX24" fmla="*/ 0 w 21881361"/>
                <a:gd name="connsiteY24" fmla="*/ 11649662 h 15035524"/>
                <a:gd name="connsiteX25" fmla="*/ 1003686 w 21881361"/>
                <a:gd name="connsiteY25" fmla="*/ 10903697 h 15035524"/>
                <a:gd name="connsiteX26" fmla="*/ 2902551 w 21881361"/>
                <a:gd name="connsiteY26" fmla="*/ 9719298 h 15035524"/>
                <a:gd name="connsiteX27" fmla="*/ 2558940 w 21881361"/>
                <a:gd name="connsiteY27" fmla="*/ 9185867 h 15035524"/>
                <a:gd name="connsiteX28" fmla="*/ 2402508 w 21881361"/>
                <a:gd name="connsiteY28" fmla="*/ 8498784 h 15035524"/>
                <a:gd name="connsiteX29" fmla="*/ 2730740 w 21881361"/>
                <a:gd name="connsiteY29" fmla="*/ 8471613 h 15035524"/>
                <a:gd name="connsiteX30" fmla="*/ 2947754 w 21881361"/>
                <a:gd name="connsiteY30" fmla="*/ 8001468 h 15035524"/>
                <a:gd name="connsiteX31" fmla="*/ 3499325 w 21881361"/>
                <a:gd name="connsiteY31" fmla="*/ 7558451 h 15035524"/>
                <a:gd name="connsiteX32" fmla="*/ 3680166 w 21881361"/>
                <a:gd name="connsiteY32" fmla="*/ 6681453 h 15035524"/>
                <a:gd name="connsiteX33" fmla="*/ 4186528 w 21881361"/>
                <a:gd name="connsiteY33" fmla="*/ 6690489 h 15035524"/>
                <a:gd name="connsiteX34" fmla="*/ 4837569 w 21881361"/>
                <a:gd name="connsiteY34" fmla="*/ 7160639 h 15035524"/>
                <a:gd name="connsiteX35" fmla="*/ 5352976 w 21881361"/>
                <a:gd name="connsiteY35" fmla="*/ 7079272 h 15035524"/>
                <a:gd name="connsiteX36" fmla="*/ 5741786 w 21881361"/>
                <a:gd name="connsiteY36" fmla="*/ 6708577 h 15035524"/>
                <a:gd name="connsiteX37" fmla="*/ 6157723 w 21881361"/>
                <a:gd name="connsiteY37" fmla="*/ 6545836 h 15035524"/>
                <a:gd name="connsiteX38" fmla="*/ 6745471 w 21881361"/>
                <a:gd name="connsiteY38" fmla="*/ 5976243 h 15035524"/>
                <a:gd name="connsiteX39" fmla="*/ 6890140 w 21881361"/>
                <a:gd name="connsiteY39" fmla="*/ 5126367 h 15035524"/>
                <a:gd name="connsiteX40" fmla="*/ 7568305 w 21881361"/>
                <a:gd name="connsiteY40" fmla="*/ 4556773 h 15035524"/>
                <a:gd name="connsiteX41" fmla="*/ 8137967 w 21881361"/>
                <a:gd name="connsiteY41" fmla="*/ 4113752 h 15035524"/>
                <a:gd name="connsiteX42" fmla="*/ 8463480 w 21881361"/>
                <a:gd name="connsiteY42" fmla="*/ 3309085 h 15035524"/>
                <a:gd name="connsiteX43" fmla="*/ 9024093 w 21881361"/>
                <a:gd name="connsiteY43" fmla="*/ 2956478 h 15035524"/>
                <a:gd name="connsiteX44" fmla="*/ 9675138 w 21881361"/>
                <a:gd name="connsiteY44" fmla="*/ 2603876 h 15035524"/>
                <a:gd name="connsiteX45" fmla="*/ 9558580 w 21881361"/>
                <a:gd name="connsiteY45" fmla="*/ 2055592 h 15035524"/>
                <a:gd name="connsiteX46" fmla="*/ 10353296 w 21881361"/>
                <a:gd name="connsiteY46" fmla="*/ 1383308 h 15035524"/>
                <a:gd name="connsiteX47" fmla="*/ 10832530 w 21881361"/>
                <a:gd name="connsiteY47" fmla="*/ 1310974 h 15035524"/>
                <a:gd name="connsiteX48" fmla="*/ 11058585 w 21881361"/>
                <a:gd name="connsiteY48" fmla="*/ 1763043 h 15035524"/>
                <a:gd name="connsiteX49" fmla="*/ 11411229 w 21881361"/>
                <a:gd name="connsiteY49" fmla="*/ 2142774 h 15035524"/>
                <a:gd name="connsiteX50" fmla="*/ 11998974 w 21881361"/>
                <a:gd name="connsiteY50" fmla="*/ 2224144 h 15035524"/>
                <a:gd name="connsiteX51" fmla="*/ 12315449 w 21881361"/>
                <a:gd name="connsiteY51" fmla="*/ 2884156 h 15035524"/>
                <a:gd name="connsiteX52" fmla="*/ 12785642 w 21881361"/>
                <a:gd name="connsiteY52" fmla="*/ 2703327 h 15035524"/>
                <a:gd name="connsiteX53" fmla="*/ 13671776 w 21881361"/>
                <a:gd name="connsiteY53" fmla="*/ 3155388 h 15035524"/>
                <a:gd name="connsiteX54" fmla="*/ 14123886 w 21881361"/>
                <a:gd name="connsiteY54" fmla="*/ 2857035 h 15035524"/>
                <a:gd name="connsiteX55" fmla="*/ 14259509 w 21881361"/>
                <a:gd name="connsiteY55" fmla="*/ 2287434 h 15035524"/>
                <a:gd name="connsiteX56" fmla="*/ 14892468 w 21881361"/>
                <a:gd name="connsiteY56" fmla="*/ 1645503 h 15035524"/>
                <a:gd name="connsiteX57" fmla="*/ 15778605 w 21881361"/>
                <a:gd name="connsiteY57" fmla="*/ 1093983 h 15035524"/>
                <a:gd name="connsiteX58" fmla="*/ 16022739 w 21881361"/>
                <a:gd name="connsiteY58" fmla="*/ 1564133 h 15035524"/>
                <a:gd name="connsiteX59" fmla="*/ 16556232 w 21881361"/>
                <a:gd name="connsiteY59" fmla="*/ 2142785 h 15035524"/>
                <a:gd name="connsiteX60" fmla="*/ 17406193 w 21881361"/>
                <a:gd name="connsiteY60" fmla="*/ 1292897 h 15035524"/>
                <a:gd name="connsiteX61" fmla="*/ 18120524 w 21881361"/>
                <a:gd name="connsiteY61" fmla="*/ 714260 h 15035524"/>
                <a:gd name="connsiteX62" fmla="*/ 18744437 w 21881361"/>
                <a:gd name="connsiteY62" fmla="*/ -1 h 15035524"/>
                <a:gd name="connsiteX63" fmla="*/ 19982300 w 21881361"/>
                <a:gd name="connsiteY63" fmla="*/ 343465 h 15035524"/>
                <a:gd name="connsiteX64" fmla="*/ 19837609 w 21881361"/>
                <a:gd name="connsiteY64" fmla="*/ 1121173 h 15035524"/>
                <a:gd name="connsiteX65" fmla="*/ 21881359 w 21881361"/>
                <a:gd name="connsiteY65" fmla="*/ 1772279 h 15035524"/>
                <a:gd name="connsiteX66" fmla="*/ 13844296 w 21881361"/>
                <a:gd name="connsiteY66" fmla="*/ 6156232 h 15035524"/>
                <a:gd name="connsiteX67" fmla="*/ 14195152 w 21881361"/>
                <a:gd name="connsiteY67" fmla="*/ 5489927 h 15035524"/>
                <a:gd name="connsiteX68" fmla="*/ 14370431 w 21881361"/>
                <a:gd name="connsiteY68" fmla="*/ 5830216 h 15035524"/>
                <a:gd name="connsiteX69" fmla="*/ 15323320 w 21881361"/>
                <a:gd name="connsiteY69" fmla="*/ 5928489 h 15035524"/>
                <a:gd name="connsiteX70" fmla="*/ 16350939 w 21881361"/>
                <a:gd name="connsiteY70" fmla="*/ 6053348 h 15035524"/>
                <a:gd name="connsiteX71" fmla="*/ 16362364 w 21881361"/>
                <a:gd name="connsiteY71" fmla="*/ 6360628 h 15035524"/>
                <a:gd name="connsiteX72" fmla="*/ 16682563 w 21881361"/>
                <a:gd name="connsiteY72" fmla="*/ 6798531 h 15035524"/>
                <a:gd name="connsiteX0" fmla="*/ 16682563 w 19982300"/>
                <a:gd name="connsiteY0" fmla="*/ 6798531 h 15035524"/>
                <a:gd name="connsiteX1" fmla="*/ 16432262 w 19982300"/>
                <a:gd name="connsiteY1" fmla="*/ 7825917 h 15035524"/>
                <a:gd name="connsiteX2" fmla="*/ 16106317 w 19982300"/>
                <a:gd name="connsiteY2" fmla="*/ 8367221 h 15035524"/>
                <a:gd name="connsiteX3" fmla="*/ 16305649 w 19982300"/>
                <a:gd name="connsiteY3" fmla="*/ 8754550 h 15035524"/>
                <a:gd name="connsiteX4" fmla="*/ 16287189 w 19982300"/>
                <a:gd name="connsiteY4" fmla="*/ 9151157 h 15035524"/>
                <a:gd name="connsiteX5" fmla="*/ 16372801 w 19982300"/>
                <a:gd name="connsiteY5" fmla="*/ 9717422 h 15035524"/>
                <a:gd name="connsiteX6" fmla="*/ 16070155 w 19982300"/>
                <a:gd name="connsiteY6" fmla="*/ 9937808 h 15035524"/>
                <a:gd name="connsiteX7" fmla="*/ 15805690 w 19982300"/>
                <a:gd name="connsiteY7" fmla="*/ 10431999 h 15035524"/>
                <a:gd name="connsiteX8" fmla="*/ 15195097 w 19982300"/>
                <a:gd name="connsiteY8" fmla="*/ 10093742 h 15035524"/>
                <a:gd name="connsiteX9" fmla="*/ 15011380 w 19982300"/>
                <a:gd name="connsiteY9" fmla="*/ 11048592 h 15035524"/>
                <a:gd name="connsiteX10" fmla="*/ 14908430 w 19982300"/>
                <a:gd name="connsiteY10" fmla="*/ 11937487 h 15035524"/>
                <a:gd name="connsiteX11" fmla="*/ 14904684 w 19982300"/>
                <a:gd name="connsiteY11" fmla="*/ 12760926 h 15035524"/>
                <a:gd name="connsiteX12" fmla="*/ 14929927 w 19982300"/>
                <a:gd name="connsiteY12" fmla="*/ 14391846 h 15035524"/>
                <a:gd name="connsiteX13" fmla="*/ 12952786 w 19982300"/>
                <a:gd name="connsiteY13" fmla="*/ 14842599 h 15035524"/>
                <a:gd name="connsiteX14" fmla="*/ 11934663 w 19982300"/>
                <a:gd name="connsiteY14" fmla="*/ 14890849 h 15035524"/>
                <a:gd name="connsiteX15" fmla="*/ 8506848 w 19982300"/>
                <a:gd name="connsiteY15" fmla="*/ 15035524 h 15035524"/>
                <a:gd name="connsiteX16" fmla="*/ 7985095 w 19982300"/>
                <a:gd name="connsiteY16" fmla="*/ 14390442 h 15035524"/>
                <a:gd name="connsiteX17" fmla="*/ 7400308 w 19982300"/>
                <a:gd name="connsiteY17" fmla="*/ 14360297 h 15035524"/>
                <a:gd name="connsiteX18" fmla="*/ 6972273 w 19982300"/>
                <a:gd name="connsiteY18" fmla="*/ 14631594 h 15035524"/>
                <a:gd name="connsiteX19" fmla="*/ 5181729 w 19982300"/>
                <a:gd name="connsiteY19" fmla="*/ 14547195 h 15035524"/>
                <a:gd name="connsiteX20" fmla="*/ 4397998 w 19982300"/>
                <a:gd name="connsiteY20" fmla="*/ 13914178 h 15035524"/>
                <a:gd name="connsiteX21" fmla="*/ 2908896 w 19982300"/>
                <a:gd name="connsiteY21" fmla="*/ 13106324 h 15035524"/>
                <a:gd name="connsiteX22" fmla="*/ 1263043 w 19982300"/>
                <a:gd name="connsiteY22" fmla="*/ 12394931 h 15035524"/>
                <a:gd name="connsiteX23" fmla="*/ 485320 w 19982300"/>
                <a:gd name="connsiteY23" fmla="*/ 11942774 h 15035524"/>
                <a:gd name="connsiteX24" fmla="*/ 0 w 19982300"/>
                <a:gd name="connsiteY24" fmla="*/ 11649662 h 15035524"/>
                <a:gd name="connsiteX25" fmla="*/ 1003686 w 19982300"/>
                <a:gd name="connsiteY25" fmla="*/ 10903697 h 15035524"/>
                <a:gd name="connsiteX26" fmla="*/ 2902551 w 19982300"/>
                <a:gd name="connsiteY26" fmla="*/ 9719298 h 15035524"/>
                <a:gd name="connsiteX27" fmla="*/ 2558940 w 19982300"/>
                <a:gd name="connsiteY27" fmla="*/ 9185867 h 15035524"/>
                <a:gd name="connsiteX28" fmla="*/ 2402508 w 19982300"/>
                <a:gd name="connsiteY28" fmla="*/ 8498784 h 15035524"/>
                <a:gd name="connsiteX29" fmla="*/ 2730740 w 19982300"/>
                <a:gd name="connsiteY29" fmla="*/ 8471613 h 15035524"/>
                <a:gd name="connsiteX30" fmla="*/ 2947754 w 19982300"/>
                <a:gd name="connsiteY30" fmla="*/ 8001468 h 15035524"/>
                <a:gd name="connsiteX31" fmla="*/ 3499325 w 19982300"/>
                <a:gd name="connsiteY31" fmla="*/ 7558451 h 15035524"/>
                <a:gd name="connsiteX32" fmla="*/ 3680166 w 19982300"/>
                <a:gd name="connsiteY32" fmla="*/ 6681453 h 15035524"/>
                <a:gd name="connsiteX33" fmla="*/ 4186528 w 19982300"/>
                <a:gd name="connsiteY33" fmla="*/ 6690489 h 15035524"/>
                <a:gd name="connsiteX34" fmla="*/ 4837569 w 19982300"/>
                <a:gd name="connsiteY34" fmla="*/ 7160639 h 15035524"/>
                <a:gd name="connsiteX35" fmla="*/ 5352976 w 19982300"/>
                <a:gd name="connsiteY35" fmla="*/ 7079272 h 15035524"/>
                <a:gd name="connsiteX36" fmla="*/ 5741786 w 19982300"/>
                <a:gd name="connsiteY36" fmla="*/ 6708577 h 15035524"/>
                <a:gd name="connsiteX37" fmla="*/ 6157723 w 19982300"/>
                <a:gd name="connsiteY37" fmla="*/ 6545836 h 15035524"/>
                <a:gd name="connsiteX38" fmla="*/ 6745471 w 19982300"/>
                <a:gd name="connsiteY38" fmla="*/ 5976243 h 15035524"/>
                <a:gd name="connsiteX39" fmla="*/ 6890140 w 19982300"/>
                <a:gd name="connsiteY39" fmla="*/ 5126367 h 15035524"/>
                <a:gd name="connsiteX40" fmla="*/ 7568305 w 19982300"/>
                <a:gd name="connsiteY40" fmla="*/ 4556773 h 15035524"/>
                <a:gd name="connsiteX41" fmla="*/ 8137967 w 19982300"/>
                <a:gd name="connsiteY41" fmla="*/ 4113752 h 15035524"/>
                <a:gd name="connsiteX42" fmla="*/ 8463480 w 19982300"/>
                <a:gd name="connsiteY42" fmla="*/ 3309085 h 15035524"/>
                <a:gd name="connsiteX43" fmla="*/ 9024093 w 19982300"/>
                <a:gd name="connsiteY43" fmla="*/ 2956478 h 15035524"/>
                <a:gd name="connsiteX44" fmla="*/ 9675138 w 19982300"/>
                <a:gd name="connsiteY44" fmla="*/ 2603876 h 15035524"/>
                <a:gd name="connsiteX45" fmla="*/ 9558580 w 19982300"/>
                <a:gd name="connsiteY45" fmla="*/ 2055592 h 15035524"/>
                <a:gd name="connsiteX46" fmla="*/ 10353296 w 19982300"/>
                <a:gd name="connsiteY46" fmla="*/ 1383308 h 15035524"/>
                <a:gd name="connsiteX47" fmla="*/ 10832530 w 19982300"/>
                <a:gd name="connsiteY47" fmla="*/ 1310974 h 15035524"/>
                <a:gd name="connsiteX48" fmla="*/ 11058585 w 19982300"/>
                <a:gd name="connsiteY48" fmla="*/ 1763043 h 15035524"/>
                <a:gd name="connsiteX49" fmla="*/ 11411229 w 19982300"/>
                <a:gd name="connsiteY49" fmla="*/ 2142774 h 15035524"/>
                <a:gd name="connsiteX50" fmla="*/ 11998974 w 19982300"/>
                <a:gd name="connsiteY50" fmla="*/ 2224144 h 15035524"/>
                <a:gd name="connsiteX51" fmla="*/ 12315449 w 19982300"/>
                <a:gd name="connsiteY51" fmla="*/ 2884156 h 15035524"/>
                <a:gd name="connsiteX52" fmla="*/ 12785642 w 19982300"/>
                <a:gd name="connsiteY52" fmla="*/ 2703327 h 15035524"/>
                <a:gd name="connsiteX53" fmla="*/ 13671776 w 19982300"/>
                <a:gd name="connsiteY53" fmla="*/ 3155388 h 15035524"/>
                <a:gd name="connsiteX54" fmla="*/ 14123886 w 19982300"/>
                <a:gd name="connsiteY54" fmla="*/ 2857035 h 15035524"/>
                <a:gd name="connsiteX55" fmla="*/ 14259509 w 19982300"/>
                <a:gd name="connsiteY55" fmla="*/ 2287434 h 15035524"/>
                <a:gd name="connsiteX56" fmla="*/ 14892468 w 19982300"/>
                <a:gd name="connsiteY56" fmla="*/ 1645503 h 15035524"/>
                <a:gd name="connsiteX57" fmla="*/ 15778605 w 19982300"/>
                <a:gd name="connsiteY57" fmla="*/ 1093983 h 15035524"/>
                <a:gd name="connsiteX58" fmla="*/ 16022739 w 19982300"/>
                <a:gd name="connsiteY58" fmla="*/ 1564133 h 15035524"/>
                <a:gd name="connsiteX59" fmla="*/ 16556232 w 19982300"/>
                <a:gd name="connsiteY59" fmla="*/ 2142785 h 15035524"/>
                <a:gd name="connsiteX60" fmla="*/ 17406193 w 19982300"/>
                <a:gd name="connsiteY60" fmla="*/ 1292897 h 15035524"/>
                <a:gd name="connsiteX61" fmla="*/ 18120524 w 19982300"/>
                <a:gd name="connsiteY61" fmla="*/ 714260 h 15035524"/>
                <a:gd name="connsiteX62" fmla="*/ 18744437 w 19982300"/>
                <a:gd name="connsiteY62" fmla="*/ -1 h 15035524"/>
                <a:gd name="connsiteX63" fmla="*/ 19982300 w 19982300"/>
                <a:gd name="connsiteY63" fmla="*/ 343465 h 15035524"/>
                <a:gd name="connsiteX64" fmla="*/ 19837609 w 19982300"/>
                <a:gd name="connsiteY64" fmla="*/ 1121173 h 15035524"/>
                <a:gd name="connsiteX65" fmla="*/ 9583129 w 19982300"/>
                <a:gd name="connsiteY65" fmla="*/ 5329554 h 15035524"/>
                <a:gd name="connsiteX66" fmla="*/ 13844296 w 19982300"/>
                <a:gd name="connsiteY66" fmla="*/ 6156232 h 15035524"/>
                <a:gd name="connsiteX67" fmla="*/ 14195152 w 19982300"/>
                <a:gd name="connsiteY67" fmla="*/ 5489927 h 15035524"/>
                <a:gd name="connsiteX68" fmla="*/ 14370431 w 19982300"/>
                <a:gd name="connsiteY68" fmla="*/ 5830216 h 15035524"/>
                <a:gd name="connsiteX69" fmla="*/ 15323320 w 19982300"/>
                <a:gd name="connsiteY69" fmla="*/ 5928489 h 15035524"/>
                <a:gd name="connsiteX70" fmla="*/ 16350939 w 19982300"/>
                <a:gd name="connsiteY70" fmla="*/ 6053348 h 15035524"/>
                <a:gd name="connsiteX71" fmla="*/ 16362364 w 19982300"/>
                <a:gd name="connsiteY71" fmla="*/ 6360628 h 15035524"/>
                <a:gd name="connsiteX72" fmla="*/ 16682563 w 19982300"/>
                <a:gd name="connsiteY72" fmla="*/ 6798531 h 15035524"/>
                <a:gd name="connsiteX0" fmla="*/ 16682563 w 19982300"/>
                <a:gd name="connsiteY0" fmla="*/ 6798531 h 15035524"/>
                <a:gd name="connsiteX1" fmla="*/ 16432262 w 19982300"/>
                <a:gd name="connsiteY1" fmla="*/ 7825917 h 15035524"/>
                <a:gd name="connsiteX2" fmla="*/ 16106317 w 19982300"/>
                <a:gd name="connsiteY2" fmla="*/ 8367221 h 15035524"/>
                <a:gd name="connsiteX3" fmla="*/ 16305649 w 19982300"/>
                <a:gd name="connsiteY3" fmla="*/ 8754550 h 15035524"/>
                <a:gd name="connsiteX4" fmla="*/ 16287189 w 19982300"/>
                <a:gd name="connsiteY4" fmla="*/ 9151157 h 15035524"/>
                <a:gd name="connsiteX5" fmla="*/ 16372801 w 19982300"/>
                <a:gd name="connsiteY5" fmla="*/ 9717422 h 15035524"/>
                <a:gd name="connsiteX6" fmla="*/ 16070155 w 19982300"/>
                <a:gd name="connsiteY6" fmla="*/ 9937808 h 15035524"/>
                <a:gd name="connsiteX7" fmla="*/ 15805690 w 19982300"/>
                <a:gd name="connsiteY7" fmla="*/ 10431999 h 15035524"/>
                <a:gd name="connsiteX8" fmla="*/ 15195097 w 19982300"/>
                <a:gd name="connsiteY8" fmla="*/ 10093742 h 15035524"/>
                <a:gd name="connsiteX9" fmla="*/ 15011380 w 19982300"/>
                <a:gd name="connsiteY9" fmla="*/ 11048592 h 15035524"/>
                <a:gd name="connsiteX10" fmla="*/ 14908430 w 19982300"/>
                <a:gd name="connsiteY10" fmla="*/ 11937487 h 15035524"/>
                <a:gd name="connsiteX11" fmla="*/ 14904684 w 19982300"/>
                <a:gd name="connsiteY11" fmla="*/ 12760926 h 15035524"/>
                <a:gd name="connsiteX12" fmla="*/ 14929927 w 19982300"/>
                <a:gd name="connsiteY12" fmla="*/ 14391846 h 15035524"/>
                <a:gd name="connsiteX13" fmla="*/ 12952786 w 19982300"/>
                <a:gd name="connsiteY13" fmla="*/ 14842599 h 15035524"/>
                <a:gd name="connsiteX14" fmla="*/ 11934663 w 19982300"/>
                <a:gd name="connsiteY14" fmla="*/ 14890849 h 15035524"/>
                <a:gd name="connsiteX15" fmla="*/ 8506848 w 19982300"/>
                <a:gd name="connsiteY15" fmla="*/ 15035524 h 15035524"/>
                <a:gd name="connsiteX16" fmla="*/ 7985095 w 19982300"/>
                <a:gd name="connsiteY16" fmla="*/ 14390442 h 15035524"/>
                <a:gd name="connsiteX17" fmla="*/ 7400308 w 19982300"/>
                <a:gd name="connsiteY17" fmla="*/ 14360297 h 15035524"/>
                <a:gd name="connsiteX18" fmla="*/ 6972273 w 19982300"/>
                <a:gd name="connsiteY18" fmla="*/ 14631594 h 15035524"/>
                <a:gd name="connsiteX19" fmla="*/ 5181729 w 19982300"/>
                <a:gd name="connsiteY19" fmla="*/ 14547195 h 15035524"/>
                <a:gd name="connsiteX20" fmla="*/ 4397998 w 19982300"/>
                <a:gd name="connsiteY20" fmla="*/ 13914178 h 15035524"/>
                <a:gd name="connsiteX21" fmla="*/ 2908896 w 19982300"/>
                <a:gd name="connsiteY21" fmla="*/ 13106324 h 15035524"/>
                <a:gd name="connsiteX22" fmla="*/ 1263043 w 19982300"/>
                <a:gd name="connsiteY22" fmla="*/ 12394931 h 15035524"/>
                <a:gd name="connsiteX23" fmla="*/ 485320 w 19982300"/>
                <a:gd name="connsiteY23" fmla="*/ 11942774 h 15035524"/>
                <a:gd name="connsiteX24" fmla="*/ 0 w 19982300"/>
                <a:gd name="connsiteY24" fmla="*/ 11649662 h 15035524"/>
                <a:gd name="connsiteX25" fmla="*/ 1003686 w 19982300"/>
                <a:gd name="connsiteY25" fmla="*/ 10903697 h 15035524"/>
                <a:gd name="connsiteX26" fmla="*/ 2902551 w 19982300"/>
                <a:gd name="connsiteY26" fmla="*/ 9719298 h 15035524"/>
                <a:gd name="connsiteX27" fmla="*/ 2558940 w 19982300"/>
                <a:gd name="connsiteY27" fmla="*/ 9185867 h 15035524"/>
                <a:gd name="connsiteX28" fmla="*/ 2402508 w 19982300"/>
                <a:gd name="connsiteY28" fmla="*/ 8498784 h 15035524"/>
                <a:gd name="connsiteX29" fmla="*/ 2730740 w 19982300"/>
                <a:gd name="connsiteY29" fmla="*/ 8471613 h 15035524"/>
                <a:gd name="connsiteX30" fmla="*/ 2947754 w 19982300"/>
                <a:gd name="connsiteY30" fmla="*/ 8001468 h 15035524"/>
                <a:gd name="connsiteX31" fmla="*/ 3499325 w 19982300"/>
                <a:gd name="connsiteY31" fmla="*/ 7558451 h 15035524"/>
                <a:gd name="connsiteX32" fmla="*/ 3680166 w 19982300"/>
                <a:gd name="connsiteY32" fmla="*/ 6681453 h 15035524"/>
                <a:gd name="connsiteX33" fmla="*/ 4186528 w 19982300"/>
                <a:gd name="connsiteY33" fmla="*/ 6690489 h 15035524"/>
                <a:gd name="connsiteX34" fmla="*/ 4837569 w 19982300"/>
                <a:gd name="connsiteY34" fmla="*/ 7160639 h 15035524"/>
                <a:gd name="connsiteX35" fmla="*/ 5352976 w 19982300"/>
                <a:gd name="connsiteY35" fmla="*/ 7079272 h 15035524"/>
                <a:gd name="connsiteX36" fmla="*/ 5741786 w 19982300"/>
                <a:gd name="connsiteY36" fmla="*/ 6708577 h 15035524"/>
                <a:gd name="connsiteX37" fmla="*/ 6157723 w 19982300"/>
                <a:gd name="connsiteY37" fmla="*/ 6545836 h 15035524"/>
                <a:gd name="connsiteX38" fmla="*/ 6745471 w 19982300"/>
                <a:gd name="connsiteY38" fmla="*/ 5976243 h 15035524"/>
                <a:gd name="connsiteX39" fmla="*/ 6890140 w 19982300"/>
                <a:gd name="connsiteY39" fmla="*/ 5126367 h 15035524"/>
                <a:gd name="connsiteX40" fmla="*/ 7568305 w 19982300"/>
                <a:gd name="connsiteY40" fmla="*/ 4556773 h 15035524"/>
                <a:gd name="connsiteX41" fmla="*/ 8137967 w 19982300"/>
                <a:gd name="connsiteY41" fmla="*/ 4113752 h 15035524"/>
                <a:gd name="connsiteX42" fmla="*/ 8463480 w 19982300"/>
                <a:gd name="connsiteY42" fmla="*/ 3309085 h 15035524"/>
                <a:gd name="connsiteX43" fmla="*/ 9024093 w 19982300"/>
                <a:gd name="connsiteY43" fmla="*/ 2956478 h 15035524"/>
                <a:gd name="connsiteX44" fmla="*/ 9675138 w 19982300"/>
                <a:gd name="connsiteY44" fmla="*/ 2603876 h 15035524"/>
                <a:gd name="connsiteX45" fmla="*/ 9558580 w 19982300"/>
                <a:gd name="connsiteY45" fmla="*/ 2055592 h 15035524"/>
                <a:gd name="connsiteX46" fmla="*/ 10353296 w 19982300"/>
                <a:gd name="connsiteY46" fmla="*/ 1383308 h 15035524"/>
                <a:gd name="connsiteX47" fmla="*/ 10832530 w 19982300"/>
                <a:gd name="connsiteY47" fmla="*/ 1310974 h 15035524"/>
                <a:gd name="connsiteX48" fmla="*/ 11058585 w 19982300"/>
                <a:gd name="connsiteY48" fmla="*/ 1763043 h 15035524"/>
                <a:gd name="connsiteX49" fmla="*/ 11411229 w 19982300"/>
                <a:gd name="connsiteY49" fmla="*/ 2142774 h 15035524"/>
                <a:gd name="connsiteX50" fmla="*/ 11998974 w 19982300"/>
                <a:gd name="connsiteY50" fmla="*/ 2224144 h 15035524"/>
                <a:gd name="connsiteX51" fmla="*/ 12315449 w 19982300"/>
                <a:gd name="connsiteY51" fmla="*/ 2884156 h 15035524"/>
                <a:gd name="connsiteX52" fmla="*/ 12785642 w 19982300"/>
                <a:gd name="connsiteY52" fmla="*/ 2703327 h 15035524"/>
                <a:gd name="connsiteX53" fmla="*/ 13671776 w 19982300"/>
                <a:gd name="connsiteY53" fmla="*/ 3155388 h 15035524"/>
                <a:gd name="connsiteX54" fmla="*/ 14123886 w 19982300"/>
                <a:gd name="connsiteY54" fmla="*/ 2857035 h 15035524"/>
                <a:gd name="connsiteX55" fmla="*/ 14259509 w 19982300"/>
                <a:gd name="connsiteY55" fmla="*/ 2287434 h 15035524"/>
                <a:gd name="connsiteX56" fmla="*/ 14892468 w 19982300"/>
                <a:gd name="connsiteY56" fmla="*/ 1645503 h 15035524"/>
                <a:gd name="connsiteX57" fmla="*/ 15778605 w 19982300"/>
                <a:gd name="connsiteY57" fmla="*/ 1093983 h 15035524"/>
                <a:gd name="connsiteX58" fmla="*/ 16022739 w 19982300"/>
                <a:gd name="connsiteY58" fmla="*/ 1564133 h 15035524"/>
                <a:gd name="connsiteX59" fmla="*/ 16556232 w 19982300"/>
                <a:gd name="connsiteY59" fmla="*/ 2142785 h 15035524"/>
                <a:gd name="connsiteX60" fmla="*/ 17406193 w 19982300"/>
                <a:gd name="connsiteY60" fmla="*/ 1292897 h 15035524"/>
                <a:gd name="connsiteX61" fmla="*/ 18120524 w 19982300"/>
                <a:gd name="connsiteY61" fmla="*/ 714260 h 15035524"/>
                <a:gd name="connsiteX62" fmla="*/ 18744437 w 19982300"/>
                <a:gd name="connsiteY62" fmla="*/ -1 h 15035524"/>
                <a:gd name="connsiteX63" fmla="*/ 19982300 w 19982300"/>
                <a:gd name="connsiteY63" fmla="*/ 343465 h 15035524"/>
                <a:gd name="connsiteX64" fmla="*/ 19837609 w 19982300"/>
                <a:gd name="connsiteY64" fmla="*/ 1121173 h 15035524"/>
                <a:gd name="connsiteX65" fmla="*/ 10818567 w 19982300"/>
                <a:gd name="connsiteY65" fmla="*/ 7094187 h 15035524"/>
                <a:gd name="connsiteX66" fmla="*/ 13844296 w 19982300"/>
                <a:gd name="connsiteY66" fmla="*/ 6156232 h 15035524"/>
                <a:gd name="connsiteX67" fmla="*/ 14195152 w 19982300"/>
                <a:gd name="connsiteY67" fmla="*/ 5489927 h 15035524"/>
                <a:gd name="connsiteX68" fmla="*/ 14370431 w 19982300"/>
                <a:gd name="connsiteY68" fmla="*/ 5830216 h 15035524"/>
                <a:gd name="connsiteX69" fmla="*/ 15323320 w 19982300"/>
                <a:gd name="connsiteY69" fmla="*/ 5928489 h 15035524"/>
                <a:gd name="connsiteX70" fmla="*/ 16350939 w 19982300"/>
                <a:gd name="connsiteY70" fmla="*/ 6053348 h 15035524"/>
                <a:gd name="connsiteX71" fmla="*/ 16362364 w 19982300"/>
                <a:gd name="connsiteY71" fmla="*/ 6360628 h 15035524"/>
                <a:gd name="connsiteX72" fmla="*/ 16682563 w 19982300"/>
                <a:gd name="connsiteY72" fmla="*/ 6798531 h 15035524"/>
                <a:gd name="connsiteX0" fmla="*/ 16682563 w 19982300"/>
                <a:gd name="connsiteY0" fmla="*/ 6798531 h 15035524"/>
                <a:gd name="connsiteX1" fmla="*/ 16432262 w 19982300"/>
                <a:gd name="connsiteY1" fmla="*/ 7825917 h 15035524"/>
                <a:gd name="connsiteX2" fmla="*/ 16106317 w 19982300"/>
                <a:gd name="connsiteY2" fmla="*/ 8367221 h 15035524"/>
                <a:gd name="connsiteX3" fmla="*/ 16305649 w 19982300"/>
                <a:gd name="connsiteY3" fmla="*/ 8754550 h 15035524"/>
                <a:gd name="connsiteX4" fmla="*/ 16287189 w 19982300"/>
                <a:gd name="connsiteY4" fmla="*/ 9151157 h 15035524"/>
                <a:gd name="connsiteX5" fmla="*/ 16372801 w 19982300"/>
                <a:gd name="connsiteY5" fmla="*/ 9717422 h 15035524"/>
                <a:gd name="connsiteX6" fmla="*/ 16070155 w 19982300"/>
                <a:gd name="connsiteY6" fmla="*/ 9937808 h 15035524"/>
                <a:gd name="connsiteX7" fmla="*/ 15805690 w 19982300"/>
                <a:gd name="connsiteY7" fmla="*/ 10431999 h 15035524"/>
                <a:gd name="connsiteX8" fmla="*/ 15195097 w 19982300"/>
                <a:gd name="connsiteY8" fmla="*/ 10093742 h 15035524"/>
                <a:gd name="connsiteX9" fmla="*/ 15011380 w 19982300"/>
                <a:gd name="connsiteY9" fmla="*/ 11048592 h 15035524"/>
                <a:gd name="connsiteX10" fmla="*/ 14908430 w 19982300"/>
                <a:gd name="connsiteY10" fmla="*/ 11937487 h 15035524"/>
                <a:gd name="connsiteX11" fmla="*/ 14904684 w 19982300"/>
                <a:gd name="connsiteY11" fmla="*/ 12760926 h 15035524"/>
                <a:gd name="connsiteX12" fmla="*/ 14929927 w 19982300"/>
                <a:gd name="connsiteY12" fmla="*/ 14391846 h 15035524"/>
                <a:gd name="connsiteX13" fmla="*/ 12952786 w 19982300"/>
                <a:gd name="connsiteY13" fmla="*/ 14842599 h 15035524"/>
                <a:gd name="connsiteX14" fmla="*/ 11934663 w 19982300"/>
                <a:gd name="connsiteY14" fmla="*/ 14890849 h 15035524"/>
                <a:gd name="connsiteX15" fmla="*/ 8506848 w 19982300"/>
                <a:gd name="connsiteY15" fmla="*/ 15035524 h 15035524"/>
                <a:gd name="connsiteX16" fmla="*/ 7985095 w 19982300"/>
                <a:gd name="connsiteY16" fmla="*/ 14390442 h 15035524"/>
                <a:gd name="connsiteX17" fmla="*/ 7400308 w 19982300"/>
                <a:gd name="connsiteY17" fmla="*/ 14360297 h 15035524"/>
                <a:gd name="connsiteX18" fmla="*/ 6972273 w 19982300"/>
                <a:gd name="connsiteY18" fmla="*/ 14631594 h 15035524"/>
                <a:gd name="connsiteX19" fmla="*/ 5181729 w 19982300"/>
                <a:gd name="connsiteY19" fmla="*/ 14547195 h 15035524"/>
                <a:gd name="connsiteX20" fmla="*/ 4397998 w 19982300"/>
                <a:gd name="connsiteY20" fmla="*/ 13914178 h 15035524"/>
                <a:gd name="connsiteX21" fmla="*/ 2908896 w 19982300"/>
                <a:gd name="connsiteY21" fmla="*/ 13106324 h 15035524"/>
                <a:gd name="connsiteX22" fmla="*/ 1263043 w 19982300"/>
                <a:gd name="connsiteY22" fmla="*/ 12394931 h 15035524"/>
                <a:gd name="connsiteX23" fmla="*/ 485320 w 19982300"/>
                <a:gd name="connsiteY23" fmla="*/ 11942774 h 15035524"/>
                <a:gd name="connsiteX24" fmla="*/ 0 w 19982300"/>
                <a:gd name="connsiteY24" fmla="*/ 11649662 h 15035524"/>
                <a:gd name="connsiteX25" fmla="*/ 1003686 w 19982300"/>
                <a:gd name="connsiteY25" fmla="*/ 10903697 h 15035524"/>
                <a:gd name="connsiteX26" fmla="*/ 2902551 w 19982300"/>
                <a:gd name="connsiteY26" fmla="*/ 9719298 h 15035524"/>
                <a:gd name="connsiteX27" fmla="*/ 2558940 w 19982300"/>
                <a:gd name="connsiteY27" fmla="*/ 9185867 h 15035524"/>
                <a:gd name="connsiteX28" fmla="*/ 2402508 w 19982300"/>
                <a:gd name="connsiteY28" fmla="*/ 8498784 h 15035524"/>
                <a:gd name="connsiteX29" fmla="*/ 2730740 w 19982300"/>
                <a:gd name="connsiteY29" fmla="*/ 8471613 h 15035524"/>
                <a:gd name="connsiteX30" fmla="*/ 2947754 w 19982300"/>
                <a:gd name="connsiteY30" fmla="*/ 8001468 h 15035524"/>
                <a:gd name="connsiteX31" fmla="*/ 3499325 w 19982300"/>
                <a:gd name="connsiteY31" fmla="*/ 7558451 h 15035524"/>
                <a:gd name="connsiteX32" fmla="*/ 3680166 w 19982300"/>
                <a:gd name="connsiteY32" fmla="*/ 6681453 h 15035524"/>
                <a:gd name="connsiteX33" fmla="*/ 4186528 w 19982300"/>
                <a:gd name="connsiteY33" fmla="*/ 6690489 h 15035524"/>
                <a:gd name="connsiteX34" fmla="*/ 4837569 w 19982300"/>
                <a:gd name="connsiteY34" fmla="*/ 7160639 h 15035524"/>
                <a:gd name="connsiteX35" fmla="*/ 5352976 w 19982300"/>
                <a:gd name="connsiteY35" fmla="*/ 7079272 h 15035524"/>
                <a:gd name="connsiteX36" fmla="*/ 5741786 w 19982300"/>
                <a:gd name="connsiteY36" fmla="*/ 6708577 h 15035524"/>
                <a:gd name="connsiteX37" fmla="*/ 6157723 w 19982300"/>
                <a:gd name="connsiteY37" fmla="*/ 6545836 h 15035524"/>
                <a:gd name="connsiteX38" fmla="*/ 6745471 w 19982300"/>
                <a:gd name="connsiteY38" fmla="*/ 5976243 h 15035524"/>
                <a:gd name="connsiteX39" fmla="*/ 6890140 w 19982300"/>
                <a:gd name="connsiteY39" fmla="*/ 5126367 h 15035524"/>
                <a:gd name="connsiteX40" fmla="*/ 7568305 w 19982300"/>
                <a:gd name="connsiteY40" fmla="*/ 4556773 h 15035524"/>
                <a:gd name="connsiteX41" fmla="*/ 8137967 w 19982300"/>
                <a:gd name="connsiteY41" fmla="*/ 4113752 h 15035524"/>
                <a:gd name="connsiteX42" fmla="*/ 8463480 w 19982300"/>
                <a:gd name="connsiteY42" fmla="*/ 3309085 h 15035524"/>
                <a:gd name="connsiteX43" fmla="*/ 9024093 w 19982300"/>
                <a:gd name="connsiteY43" fmla="*/ 2956478 h 15035524"/>
                <a:gd name="connsiteX44" fmla="*/ 9675138 w 19982300"/>
                <a:gd name="connsiteY44" fmla="*/ 2603876 h 15035524"/>
                <a:gd name="connsiteX45" fmla="*/ 9558580 w 19982300"/>
                <a:gd name="connsiteY45" fmla="*/ 2055592 h 15035524"/>
                <a:gd name="connsiteX46" fmla="*/ 10353296 w 19982300"/>
                <a:gd name="connsiteY46" fmla="*/ 1383308 h 15035524"/>
                <a:gd name="connsiteX47" fmla="*/ 10832530 w 19982300"/>
                <a:gd name="connsiteY47" fmla="*/ 1310974 h 15035524"/>
                <a:gd name="connsiteX48" fmla="*/ 11058585 w 19982300"/>
                <a:gd name="connsiteY48" fmla="*/ 1763043 h 15035524"/>
                <a:gd name="connsiteX49" fmla="*/ 11411229 w 19982300"/>
                <a:gd name="connsiteY49" fmla="*/ 2142774 h 15035524"/>
                <a:gd name="connsiteX50" fmla="*/ 11998974 w 19982300"/>
                <a:gd name="connsiteY50" fmla="*/ 2224144 h 15035524"/>
                <a:gd name="connsiteX51" fmla="*/ 12315449 w 19982300"/>
                <a:gd name="connsiteY51" fmla="*/ 2884156 h 15035524"/>
                <a:gd name="connsiteX52" fmla="*/ 12785642 w 19982300"/>
                <a:gd name="connsiteY52" fmla="*/ 2703327 h 15035524"/>
                <a:gd name="connsiteX53" fmla="*/ 13671776 w 19982300"/>
                <a:gd name="connsiteY53" fmla="*/ 3155388 h 15035524"/>
                <a:gd name="connsiteX54" fmla="*/ 14123886 w 19982300"/>
                <a:gd name="connsiteY54" fmla="*/ 2857035 h 15035524"/>
                <a:gd name="connsiteX55" fmla="*/ 14259509 w 19982300"/>
                <a:gd name="connsiteY55" fmla="*/ 2287434 h 15035524"/>
                <a:gd name="connsiteX56" fmla="*/ 14892468 w 19982300"/>
                <a:gd name="connsiteY56" fmla="*/ 1645503 h 15035524"/>
                <a:gd name="connsiteX57" fmla="*/ 15778605 w 19982300"/>
                <a:gd name="connsiteY57" fmla="*/ 1093983 h 15035524"/>
                <a:gd name="connsiteX58" fmla="*/ 16022739 w 19982300"/>
                <a:gd name="connsiteY58" fmla="*/ 1564133 h 15035524"/>
                <a:gd name="connsiteX59" fmla="*/ 16556232 w 19982300"/>
                <a:gd name="connsiteY59" fmla="*/ 2142785 h 15035524"/>
                <a:gd name="connsiteX60" fmla="*/ 17406193 w 19982300"/>
                <a:gd name="connsiteY60" fmla="*/ 1292897 h 15035524"/>
                <a:gd name="connsiteX61" fmla="*/ 18120524 w 19982300"/>
                <a:gd name="connsiteY61" fmla="*/ 714260 h 15035524"/>
                <a:gd name="connsiteX62" fmla="*/ 18744437 w 19982300"/>
                <a:gd name="connsiteY62" fmla="*/ -1 h 15035524"/>
                <a:gd name="connsiteX63" fmla="*/ 19982300 w 19982300"/>
                <a:gd name="connsiteY63" fmla="*/ 343465 h 15035524"/>
                <a:gd name="connsiteX64" fmla="*/ 19837609 w 19982300"/>
                <a:gd name="connsiteY64" fmla="*/ 1121173 h 15035524"/>
                <a:gd name="connsiteX65" fmla="*/ 10818567 w 19982300"/>
                <a:gd name="connsiteY65" fmla="*/ 7094187 h 15035524"/>
                <a:gd name="connsiteX66" fmla="*/ 13844296 w 19982300"/>
                <a:gd name="connsiteY66" fmla="*/ 6156232 h 15035524"/>
                <a:gd name="connsiteX67" fmla="*/ 13886291 w 19982300"/>
                <a:gd name="connsiteY67" fmla="*/ 5321864 h 15035524"/>
                <a:gd name="connsiteX68" fmla="*/ 14370431 w 19982300"/>
                <a:gd name="connsiteY68" fmla="*/ 5830216 h 15035524"/>
                <a:gd name="connsiteX69" fmla="*/ 15323320 w 19982300"/>
                <a:gd name="connsiteY69" fmla="*/ 5928489 h 15035524"/>
                <a:gd name="connsiteX70" fmla="*/ 16350939 w 19982300"/>
                <a:gd name="connsiteY70" fmla="*/ 6053348 h 15035524"/>
                <a:gd name="connsiteX71" fmla="*/ 16362364 w 19982300"/>
                <a:gd name="connsiteY71" fmla="*/ 6360628 h 15035524"/>
                <a:gd name="connsiteX72" fmla="*/ 16682563 w 19982300"/>
                <a:gd name="connsiteY72" fmla="*/ 6798531 h 15035524"/>
                <a:gd name="connsiteX0" fmla="*/ 16682563 w 19982300"/>
                <a:gd name="connsiteY0" fmla="*/ 6798531 h 15035524"/>
                <a:gd name="connsiteX1" fmla="*/ 16432262 w 19982300"/>
                <a:gd name="connsiteY1" fmla="*/ 7825917 h 15035524"/>
                <a:gd name="connsiteX2" fmla="*/ 16106317 w 19982300"/>
                <a:gd name="connsiteY2" fmla="*/ 8367221 h 15035524"/>
                <a:gd name="connsiteX3" fmla="*/ 16305649 w 19982300"/>
                <a:gd name="connsiteY3" fmla="*/ 8754550 h 15035524"/>
                <a:gd name="connsiteX4" fmla="*/ 16287189 w 19982300"/>
                <a:gd name="connsiteY4" fmla="*/ 9151157 h 15035524"/>
                <a:gd name="connsiteX5" fmla="*/ 16372801 w 19982300"/>
                <a:gd name="connsiteY5" fmla="*/ 9717422 h 15035524"/>
                <a:gd name="connsiteX6" fmla="*/ 16070155 w 19982300"/>
                <a:gd name="connsiteY6" fmla="*/ 9937808 h 15035524"/>
                <a:gd name="connsiteX7" fmla="*/ 15805690 w 19982300"/>
                <a:gd name="connsiteY7" fmla="*/ 10431999 h 15035524"/>
                <a:gd name="connsiteX8" fmla="*/ 15195097 w 19982300"/>
                <a:gd name="connsiteY8" fmla="*/ 10093742 h 15035524"/>
                <a:gd name="connsiteX9" fmla="*/ 15011380 w 19982300"/>
                <a:gd name="connsiteY9" fmla="*/ 11048592 h 15035524"/>
                <a:gd name="connsiteX10" fmla="*/ 14908430 w 19982300"/>
                <a:gd name="connsiteY10" fmla="*/ 11937487 h 15035524"/>
                <a:gd name="connsiteX11" fmla="*/ 14904684 w 19982300"/>
                <a:gd name="connsiteY11" fmla="*/ 12760926 h 15035524"/>
                <a:gd name="connsiteX12" fmla="*/ 14929927 w 19982300"/>
                <a:gd name="connsiteY12" fmla="*/ 14391846 h 15035524"/>
                <a:gd name="connsiteX13" fmla="*/ 12952786 w 19982300"/>
                <a:gd name="connsiteY13" fmla="*/ 14842599 h 15035524"/>
                <a:gd name="connsiteX14" fmla="*/ 11934663 w 19982300"/>
                <a:gd name="connsiteY14" fmla="*/ 14890849 h 15035524"/>
                <a:gd name="connsiteX15" fmla="*/ 8506848 w 19982300"/>
                <a:gd name="connsiteY15" fmla="*/ 15035524 h 15035524"/>
                <a:gd name="connsiteX16" fmla="*/ 7985095 w 19982300"/>
                <a:gd name="connsiteY16" fmla="*/ 14390442 h 15035524"/>
                <a:gd name="connsiteX17" fmla="*/ 7400308 w 19982300"/>
                <a:gd name="connsiteY17" fmla="*/ 14360297 h 15035524"/>
                <a:gd name="connsiteX18" fmla="*/ 6972273 w 19982300"/>
                <a:gd name="connsiteY18" fmla="*/ 14631594 h 15035524"/>
                <a:gd name="connsiteX19" fmla="*/ 5181729 w 19982300"/>
                <a:gd name="connsiteY19" fmla="*/ 14547195 h 15035524"/>
                <a:gd name="connsiteX20" fmla="*/ 4397998 w 19982300"/>
                <a:gd name="connsiteY20" fmla="*/ 13914178 h 15035524"/>
                <a:gd name="connsiteX21" fmla="*/ 2908896 w 19982300"/>
                <a:gd name="connsiteY21" fmla="*/ 13106324 h 15035524"/>
                <a:gd name="connsiteX22" fmla="*/ 1263043 w 19982300"/>
                <a:gd name="connsiteY22" fmla="*/ 12394931 h 15035524"/>
                <a:gd name="connsiteX23" fmla="*/ 485320 w 19982300"/>
                <a:gd name="connsiteY23" fmla="*/ 11942774 h 15035524"/>
                <a:gd name="connsiteX24" fmla="*/ 0 w 19982300"/>
                <a:gd name="connsiteY24" fmla="*/ 11649662 h 15035524"/>
                <a:gd name="connsiteX25" fmla="*/ 1003686 w 19982300"/>
                <a:gd name="connsiteY25" fmla="*/ 10903697 h 15035524"/>
                <a:gd name="connsiteX26" fmla="*/ 2902551 w 19982300"/>
                <a:gd name="connsiteY26" fmla="*/ 9719298 h 15035524"/>
                <a:gd name="connsiteX27" fmla="*/ 2558940 w 19982300"/>
                <a:gd name="connsiteY27" fmla="*/ 9185867 h 15035524"/>
                <a:gd name="connsiteX28" fmla="*/ 2402508 w 19982300"/>
                <a:gd name="connsiteY28" fmla="*/ 8498784 h 15035524"/>
                <a:gd name="connsiteX29" fmla="*/ 2730740 w 19982300"/>
                <a:gd name="connsiteY29" fmla="*/ 8471613 h 15035524"/>
                <a:gd name="connsiteX30" fmla="*/ 2947754 w 19982300"/>
                <a:gd name="connsiteY30" fmla="*/ 8001468 h 15035524"/>
                <a:gd name="connsiteX31" fmla="*/ 3499325 w 19982300"/>
                <a:gd name="connsiteY31" fmla="*/ 7558451 h 15035524"/>
                <a:gd name="connsiteX32" fmla="*/ 3680166 w 19982300"/>
                <a:gd name="connsiteY32" fmla="*/ 6681453 h 15035524"/>
                <a:gd name="connsiteX33" fmla="*/ 4186528 w 19982300"/>
                <a:gd name="connsiteY33" fmla="*/ 6690489 h 15035524"/>
                <a:gd name="connsiteX34" fmla="*/ 4837569 w 19982300"/>
                <a:gd name="connsiteY34" fmla="*/ 7160639 h 15035524"/>
                <a:gd name="connsiteX35" fmla="*/ 5352976 w 19982300"/>
                <a:gd name="connsiteY35" fmla="*/ 7079272 h 15035524"/>
                <a:gd name="connsiteX36" fmla="*/ 5741786 w 19982300"/>
                <a:gd name="connsiteY36" fmla="*/ 6708577 h 15035524"/>
                <a:gd name="connsiteX37" fmla="*/ 6157723 w 19982300"/>
                <a:gd name="connsiteY37" fmla="*/ 6545836 h 15035524"/>
                <a:gd name="connsiteX38" fmla="*/ 6745471 w 19982300"/>
                <a:gd name="connsiteY38" fmla="*/ 5976243 h 15035524"/>
                <a:gd name="connsiteX39" fmla="*/ 6890140 w 19982300"/>
                <a:gd name="connsiteY39" fmla="*/ 5126367 h 15035524"/>
                <a:gd name="connsiteX40" fmla="*/ 7568305 w 19982300"/>
                <a:gd name="connsiteY40" fmla="*/ 4556773 h 15035524"/>
                <a:gd name="connsiteX41" fmla="*/ 8137967 w 19982300"/>
                <a:gd name="connsiteY41" fmla="*/ 4113752 h 15035524"/>
                <a:gd name="connsiteX42" fmla="*/ 8463480 w 19982300"/>
                <a:gd name="connsiteY42" fmla="*/ 3309085 h 15035524"/>
                <a:gd name="connsiteX43" fmla="*/ 9024093 w 19982300"/>
                <a:gd name="connsiteY43" fmla="*/ 2956478 h 15035524"/>
                <a:gd name="connsiteX44" fmla="*/ 9675138 w 19982300"/>
                <a:gd name="connsiteY44" fmla="*/ 2603876 h 15035524"/>
                <a:gd name="connsiteX45" fmla="*/ 9558580 w 19982300"/>
                <a:gd name="connsiteY45" fmla="*/ 2055592 h 15035524"/>
                <a:gd name="connsiteX46" fmla="*/ 10353296 w 19982300"/>
                <a:gd name="connsiteY46" fmla="*/ 1383308 h 15035524"/>
                <a:gd name="connsiteX47" fmla="*/ 10832530 w 19982300"/>
                <a:gd name="connsiteY47" fmla="*/ 1310974 h 15035524"/>
                <a:gd name="connsiteX48" fmla="*/ 11058585 w 19982300"/>
                <a:gd name="connsiteY48" fmla="*/ 1763043 h 15035524"/>
                <a:gd name="connsiteX49" fmla="*/ 11411229 w 19982300"/>
                <a:gd name="connsiteY49" fmla="*/ 2142774 h 15035524"/>
                <a:gd name="connsiteX50" fmla="*/ 11998974 w 19982300"/>
                <a:gd name="connsiteY50" fmla="*/ 2224144 h 15035524"/>
                <a:gd name="connsiteX51" fmla="*/ 12315449 w 19982300"/>
                <a:gd name="connsiteY51" fmla="*/ 2884156 h 15035524"/>
                <a:gd name="connsiteX52" fmla="*/ 12785642 w 19982300"/>
                <a:gd name="connsiteY52" fmla="*/ 2703327 h 15035524"/>
                <a:gd name="connsiteX53" fmla="*/ 13671776 w 19982300"/>
                <a:gd name="connsiteY53" fmla="*/ 3155388 h 15035524"/>
                <a:gd name="connsiteX54" fmla="*/ 14123886 w 19982300"/>
                <a:gd name="connsiteY54" fmla="*/ 2857035 h 15035524"/>
                <a:gd name="connsiteX55" fmla="*/ 14259509 w 19982300"/>
                <a:gd name="connsiteY55" fmla="*/ 2287434 h 15035524"/>
                <a:gd name="connsiteX56" fmla="*/ 14892468 w 19982300"/>
                <a:gd name="connsiteY56" fmla="*/ 1645503 h 15035524"/>
                <a:gd name="connsiteX57" fmla="*/ 15778605 w 19982300"/>
                <a:gd name="connsiteY57" fmla="*/ 1093983 h 15035524"/>
                <a:gd name="connsiteX58" fmla="*/ 16022739 w 19982300"/>
                <a:gd name="connsiteY58" fmla="*/ 1564133 h 15035524"/>
                <a:gd name="connsiteX59" fmla="*/ 16556232 w 19982300"/>
                <a:gd name="connsiteY59" fmla="*/ 2142785 h 15035524"/>
                <a:gd name="connsiteX60" fmla="*/ 17406193 w 19982300"/>
                <a:gd name="connsiteY60" fmla="*/ 1292897 h 15035524"/>
                <a:gd name="connsiteX61" fmla="*/ 18120524 w 19982300"/>
                <a:gd name="connsiteY61" fmla="*/ 714260 h 15035524"/>
                <a:gd name="connsiteX62" fmla="*/ 18744437 w 19982300"/>
                <a:gd name="connsiteY62" fmla="*/ -1 h 15035524"/>
                <a:gd name="connsiteX63" fmla="*/ 19982300 w 19982300"/>
                <a:gd name="connsiteY63" fmla="*/ 343465 h 15035524"/>
                <a:gd name="connsiteX64" fmla="*/ 19837609 w 19982300"/>
                <a:gd name="connsiteY64" fmla="*/ 1121173 h 15035524"/>
                <a:gd name="connsiteX65" fmla="*/ 10902797 w 19982300"/>
                <a:gd name="connsiteY65" fmla="*/ 8634739 h 15035524"/>
                <a:gd name="connsiteX66" fmla="*/ 13844296 w 19982300"/>
                <a:gd name="connsiteY66" fmla="*/ 6156232 h 15035524"/>
                <a:gd name="connsiteX67" fmla="*/ 13886291 w 19982300"/>
                <a:gd name="connsiteY67" fmla="*/ 5321864 h 15035524"/>
                <a:gd name="connsiteX68" fmla="*/ 14370431 w 19982300"/>
                <a:gd name="connsiteY68" fmla="*/ 5830216 h 15035524"/>
                <a:gd name="connsiteX69" fmla="*/ 15323320 w 19982300"/>
                <a:gd name="connsiteY69" fmla="*/ 5928489 h 15035524"/>
                <a:gd name="connsiteX70" fmla="*/ 16350939 w 19982300"/>
                <a:gd name="connsiteY70" fmla="*/ 6053348 h 15035524"/>
                <a:gd name="connsiteX71" fmla="*/ 16362364 w 19982300"/>
                <a:gd name="connsiteY71" fmla="*/ 6360628 h 15035524"/>
                <a:gd name="connsiteX72" fmla="*/ 16682563 w 19982300"/>
                <a:gd name="connsiteY72" fmla="*/ 6798531 h 15035524"/>
                <a:gd name="connsiteX0" fmla="*/ 16682563 w 19982300"/>
                <a:gd name="connsiteY0" fmla="*/ 6798531 h 15035524"/>
                <a:gd name="connsiteX1" fmla="*/ 16432262 w 19982300"/>
                <a:gd name="connsiteY1" fmla="*/ 7825917 h 15035524"/>
                <a:gd name="connsiteX2" fmla="*/ 16106317 w 19982300"/>
                <a:gd name="connsiteY2" fmla="*/ 8367221 h 15035524"/>
                <a:gd name="connsiteX3" fmla="*/ 16305649 w 19982300"/>
                <a:gd name="connsiteY3" fmla="*/ 8754550 h 15035524"/>
                <a:gd name="connsiteX4" fmla="*/ 16287189 w 19982300"/>
                <a:gd name="connsiteY4" fmla="*/ 9151157 h 15035524"/>
                <a:gd name="connsiteX5" fmla="*/ 16372801 w 19982300"/>
                <a:gd name="connsiteY5" fmla="*/ 9717422 h 15035524"/>
                <a:gd name="connsiteX6" fmla="*/ 16070155 w 19982300"/>
                <a:gd name="connsiteY6" fmla="*/ 9937808 h 15035524"/>
                <a:gd name="connsiteX7" fmla="*/ 15805690 w 19982300"/>
                <a:gd name="connsiteY7" fmla="*/ 10431999 h 15035524"/>
                <a:gd name="connsiteX8" fmla="*/ 15195097 w 19982300"/>
                <a:gd name="connsiteY8" fmla="*/ 10093742 h 15035524"/>
                <a:gd name="connsiteX9" fmla="*/ 15011380 w 19982300"/>
                <a:gd name="connsiteY9" fmla="*/ 11048592 h 15035524"/>
                <a:gd name="connsiteX10" fmla="*/ 14908430 w 19982300"/>
                <a:gd name="connsiteY10" fmla="*/ 11937487 h 15035524"/>
                <a:gd name="connsiteX11" fmla="*/ 14904684 w 19982300"/>
                <a:gd name="connsiteY11" fmla="*/ 12760926 h 15035524"/>
                <a:gd name="connsiteX12" fmla="*/ 14929927 w 19982300"/>
                <a:gd name="connsiteY12" fmla="*/ 14391846 h 15035524"/>
                <a:gd name="connsiteX13" fmla="*/ 12952786 w 19982300"/>
                <a:gd name="connsiteY13" fmla="*/ 14842599 h 15035524"/>
                <a:gd name="connsiteX14" fmla="*/ 11934663 w 19982300"/>
                <a:gd name="connsiteY14" fmla="*/ 14890849 h 15035524"/>
                <a:gd name="connsiteX15" fmla="*/ 8506848 w 19982300"/>
                <a:gd name="connsiteY15" fmla="*/ 15035524 h 15035524"/>
                <a:gd name="connsiteX16" fmla="*/ 7985095 w 19982300"/>
                <a:gd name="connsiteY16" fmla="*/ 14390442 h 15035524"/>
                <a:gd name="connsiteX17" fmla="*/ 7400308 w 19982300"/>
                <a:gd name="connsiteY17" fmla="*/ 14360297 h 15035524"/>
                <a:gd name="connsiteX18" fmla="*/ 6972273 w 19982300"/>
                <a:gd name="connsiteY18" fmla="*/ 14631594 h 15035524"/>
                <a:gd name="connsiteX19" fmla="*/ 5181729 w 19982300"/>
                <a:gd name="connsiteY19" fmla="*/ 14547195 h 15035524"/>
                <a:gd name="connsiteX20" fmla="*/ 4397998 w 19982300"/>
                <a:gd name="connsiteY20" fmla="*/ 13914178 h 15035524"/>
                <a:gd name="connsiteX21" fmla="*/ 2908896 w 19982300"/>
                <a:gd name="connsiteY21" fmla="*/ 13106324 h 15035524"/>
                <a:gd name="connsiteX22" fmla="*/ 1263043 w 19982300"/>
                <a:gd name="connsiteY22" fmla="*/ 12394931 h 15035524"/>
                <a:gd name="connsiteX23" fmla="*/ 485320 w 19982300"/>
                <a:gd name="connsiteY23" fmla="*/ 11942774 h 15035524"/>
                <a:gd name="connsiteX24" fmla="*/ 0 w 19982300"/>
                <a:gd name="connsiteY24" fmla="*/ 11649662 h 15035524"/>
                <a:gd name="connsiteX25" fmla="*/ 1003686 w 19982300"/>
                <a:gd name="connsiteY25" fmla="*/ 10903697 h 15035524"/>
                <a:gd name="connsiteX26" fmla="*/ 2902551 w 19982300"/>
                <a:gd name="connsiteY26" fmla="*/ 9719298 h 15035524"/>
                <a:gd name="connsiteX27" fmla="*/ 2558940 w 19982300"/>
                <a:gd name="connsiteY27" fmla="*/ 9185867 h 15035524"/>
                <a:gd name="connsiteX28" fmla="*/ 2402508 w 19982300"/>
                <a:gd name="connsiteY28" fmla="*/ 8498784 h 15035524"/>
                <a:gd name="connsiteX29" fmla="*/ 2730740 w 19982300"/>
                <a:gd name="connsiteY29" fmla="*/ 8471613 h 15035524"/>
                <a:gd name="connsiteX30" fmla="*/ 2947754 w 19982300"/>
                <a:gd name="connsiteY30" fmla="*/ 8001468 h 15035524"/>
                <a:gd name="connsiteX31" fmla="*/ 3499325 w 19982300"/>
                <a:gd name="connsiteY31" fmla="*/ 7558451 h 15035524"/>
                <a:gd name="connsiteX32" fmla="*/ 3680166 w 19982300"/>
                <a:gd name="connsiteY32" fmla="*/ 6681453 h 15035524"/>
                <a:gd name="connsiteX33" fmla="*/ 4186528 w 19982300"/>
                <a:gd name="connsiteY33" fmla="*/ 6690489 h 15035524"/>
                <a:gd name="connsiteX34" fmla="*/ 4837569 w 19982300"/>
                <a:gd name="connsiteY34" fmla="*/ 7160639 h 15035524"/>
                <a:gd name="connsiteX35" fmla="*/ 5352976 w 19982300"/>
                <a:gd name="connsiteY35" fmla="*/ 7079272 h 15035524"/>
                <a:gd name="connsiteX36" fmla="*/ 5741786 w 19982300"/>
                <a:gd name="connsiteY36" fmla="*/ 6708577 h 15035524"/>
                <a:gd name="connsiteX37" fmla="*/ 6157723 w 19982300"/>
                <a:gd name="connsiteY37" fmla="*/ 6545836 h 15035524"/>
                <a:gd name="connsiteX38" fmla="*/ 6745471 w 19982300"/>
                <a:gd name="connsiteY38" fmla="*/ 5976243 h 15035524"/>
                <a:gd name="connsiteX39" fmla="*/ 6890140 w 19982300"/>
                <a:gd name="connsiteY39" fmla="*/ 5126367 h 15035524"/>
                <a:gd name="connsiteX40" fmla="*/ 7568305 w 19982300"/>
                <a:gd name="connsiteY40" fmla="*/ 4556773 h 15035524"/>
                <a:gd name="connsiteX41" fmla="*/ 8137967 w 19982300"/>
                <a:gd name="connsiteY41" fmla="*/ 4113752 h 15035524"/>
                <a:gd name="connsiteX42" fmla="*/ 8463480 w 19982300"/>
                <a:gd name="connsiteY42" fmla="*/ 3309085 h 15035524"/>
                <a:gd name="connsiteX43" fmla="*/ 9024093 w 19982300"/>
                <a:gd name="connsiteY43" fmla="*/ 2956478 h 15035524"/>
                <a:gd name="connsiteX44" fmla="*/ 9675138 w 19982300"/>
                <a:gd name="connsiteY44" fmla="*/ 2603876 h 15035524"/>
                <a:gd name="connsiteX45" fmla="*/ 9558580 w 19982300"/>
                <a:gd name="connsiteY45" fmla="*/ 2055592 h 15035524"/>
                <a:gd name="connsiteX46" fmla="*/ 10353296 w 19982300"/>
                <a:gd name="connsiteY46" fmla="*/ 1383308 h 15035524"/>
                <a:gd name="connsiteX47" fmla="*/ 10832530 w 19982300"/>
                <a:gd name="connsiteY47" fmla="*/ 1310974 h 15035524"/>
                <a:gd name="connsiteX48" fmla="*/ 11058585 w 19982300"/>
                <a:gd name="connsiteY48" fmla="*/ 1763043 h 15035524"/>
                <a:gd name="connsiteX49" fmla="*/ 11411229 w 19982300"/>
                <a:gd name="connsiteY49" fmla="*/ 2142774 h 15035524"/>
                <a:gd name="connsiteX50" fmla="*/ 11998974 w 19982300"/>
                <a:gd name="connsiteY50" fmla="*/ 2224144 h 15035524"/>
                <a:gd name="connsiteX51" fmla="*/ 12315449 w 19982300"/>
                <a:gd name="connsiteY51" fmla="*/ 2884156 h 15035524"/>
                <a:gd name="connsiteX52" fmla="*/ 12785642 w 19982300"/>
                <a:gd name="connsiteY52" fmla="*/ 2703327 h 15035524"/>
                <a:gd name="connsiteX53" fmla="*/ 13671776 w 19982300"/>
                <a:gd name="connsiteY53" fmla="*/ 3155388 h 15035524"/>
                <a:gd name="connsiteX54" fmla="*/ 14123886 w 19982300"/>
                <a:gd name="connsiteY54" fmla="*/ 2857035 h 15035524"/>
                <a:gd name="connsiteX55" fmla="*/ 14259509 w 19982300"/>
                <a:gd name="connsiteY55" fmla="*/ 2287434 h 15035524"/>
                <a:gd name="connsiteX56" fmla="*/ 14892468 w 19982300"/>
                <a:gd name="connsiteY56" fmla="*/ 1645503 h 15035524"/>
                <a:gd name="connsiteX57" fmla="*/ 15778605 w 19982300"/>
                <a:gd name="connsiteY57" fmla="*/ 1093983 h 15035524"/>
                <a:gd name="connsiteX58" fmla="*/ 16022739 w 19982300"/>
                <a:gd name="connsiteY58" fmla="*/ 1564133 h 15035524"/>
                <a:gd name="connsiteX59" fmla="*/ 16556232 w 19982300"/>
                <a:gd name="connsiteY59" fmla="*/ 2142785 h 15035524"/>
                <a:gd name="connsiteX60" fmla="*/ 17406193 w 19982300"/>
                <a:gd name="connsiteY60" fmla="*/ 1292897 h 15035524"/>
                <a:gd name="connsiteX61" fmla="*/ 18120524 w 19982300"/>
                <a:gd name="connsiteY61" fmla="*/ 714260 h 15035524"/>
                <a:gd name="connsiteX62" fmla="*/ 18744437 w 19982300"/>
                <a:gd name="connsiteY62" fmla="*/ -1 h 15035524"/>
                <a:gd name="connsiteX63" fmla="*/ 19982300 w 19982300"/>
                <a:gd name="connsiteY63" fmla="*/ 343465 h 15035524"/>
                <a:gd name="connsiteX64" fmla="*/ 19837609 w 19982300"/>
                <a:gd name="connsiteY64" fmla="*/ 1121173 h 15035524"/>
                <a:gd name="connsiteX65" fmla="*/ 11717061 w 19982300"/>
                <a:gd name="connsiteY65" fmla="*/ 9643106 h 15035524"/>
                <a:gd name="connsiteX66" fmla="*/ 13844296 w 19982300"/>
                <a:gd name="connsiteY66" fmla="*/ 6156232 h 15035524"/>
                <a:gd name="connsiteX67" fmla="*/ 13886291 w 19982300"/>
                <a:gd name="connsiteY67" fmla="*/ 5321864 h 15035524"/>
                <a:gd name="connsiteX68" fmla="*/ 14370431 w 19982300"/>
                <a:gd name="connsiteY68" fmla="*/ 5830216 h 15035524"/>
                <a:gd name="connsiteX69" fmla="*/ 15323320 w 19982300"/>
                <a:gd name="connsiteY69" fmla="*/ 5928489 h 15035524"/>
                <a:gd name="connsiteX70" fmla="*/ 16350939 w 19982300"/>
                <a:gd name="connsiteY70" fmla="*/ 6053348 h 15035524"/>
                <a:gd name="connsiteX71" fmla="*/ 16362364 w 19982300"/>
                <a:gd name="connsiteY71" fmla="*/ 6360628 h 15035524"/>
                <a:gd name="connsiteX72" fmla="*/ 16682563 w 19982300"/>
                <a:gd name="connsiteY72" fmla="*/ 6798531 h 15035524"/>
                <a:gd name="connsiteX0" fmla="*/ 16682563 w 19982300"/>
                <a:gd name="connsiteY0" fmla="*/ 6798531 h 15035524"/>
                <a:gd name="connsiteX1" fmla="*/ 16432262 w 19982300"/>
                <a:gd name="connsiteY1" fmla="*/ 7825917 h 15035524"/>
                <a:gd name="connsiteX2" fmla="*/ 16106317 w 19982300"/>
                <a:gd name="connsiteY2" fmla="*/ 8367221 h 15035524"/>
                <a:gd name="connsiteX3" fmla="*/ 16305649 w 19982300"/>
                <a:gd name="connsiteY3" fmla="*/ 8754550 h 15035524"/>
                <a:gd name="connsiteX4" fmla="*/ 16287189 w 19982300"/>
                <a:gd name="connsiteY4" fmla="*/ 9151157 h 15035524"/>
                <a:gd name="connsiteX5" fmla="*/ 16372801 w 19982300"/>
                <a:gd name="connsiteY5" fmla="*/ 9717422 h 15035524"/>
                <a:gd name="connsiteX6" fmla="*/ 16070155 w 19982300"/>
                <a:gd name="connsiteY6" fmla="*/ 9937808 h 15035524"/>
                <a:gd name="connsiteX7" fmla="*/ 15805690 w 19982300"/>
                <a:gd name="connsiteY7" fmla="*/ 10431999 h 15035524"/>
                <a:gd name="connsiteX8" fmla="*/ 15195097 w 19982300"/>
                <a:gd name="connsiteY8" fmla="*/ 10093742 h 15035524"/>
                <a:gd name="connsiteX9" fmla="*/ 15011380 w 19982300"/>
                <a:gd name="connsiteY9" fmla="*/ 11048592 h 15035524"/>
                <a:gd name="connsiteX10" fmla="*/ 14908430 w 19982300"/>
                <a:gd name="connsiteY10" fmla="*/ 11937487 h 15035524"/>
                <a:gd name="connsiteX11" fmla="*/ 14904684 w 19982300"/>
                <a:gd name="connsiteY11" fmla="*/ 12760926 h 15035524"/>
                <a:gd name="connsiteX12" fmla="*/ 14929927 w 19982300"/>
                <a:gd name="connsiteY12" fmla="*/ 14391846 h 15035524"/>
                <a:gd name="connsiteX13" fmla="*/ 12952786 w 19982300"/>
                <a:gd name="connsiteY13" fmla="*/ 14842599 h 15035524"/>
                <a:gd name="connsiteX14" fmla="*/ 11934663 w 19982300"/>
                <a:gd name="connsiteY14" fmla="*/ 14890849 h 15035524"/>
                <a:gd name="connsiteX15" fmla="*/ 8506848 w 19982300"/>
                <a:gd name="connsiteY15" fmla="*/ 15035524 h 15035524"/>
                <a:gd name="connsiteX16" fmla="*/ 7985095 w 19982300"/>
                <a:gd name="connsiteY16" fmla="*/ 14390442 h 15035524"/>
                <a:gd name="connsiteX17" fmla="*/ 7400308 w 19982300"/>
                <a:gd name="connsiteY17" fmla="*/ 14360297 h 15035524"/>
                <a:gd name="connsiteX18" fmla="*/ 6972273 w 19982300"/>
                <a:gd name="connsiteY18" fmla="*/ 14631594 h 15035524"/>
                <a:gd name="connsiteX19" fmla="*/ 5181729 w 19982300"/>
                <a:gd name="connsiteY19" fmla="*/ 14547195 h 15035524"/>
                <a:gd name="connsiteX20" fmla="*/ 4397998 w 19982300"/>
                <a:gd name="connsiteY20" fmla="*/ 13914178 h 15035524"/>
                <a:gd name="connsiteX21" fmla="*/ 2908896 w 19982300"/>
                <a:gd name="connsiteY21" fmla="*/ 13106324 h 15035524"/>
                <a:gd name="connsiteX22" fmla="*/ 1263043 w 19982300"/>
                <a:gd name="connsiteY22" fmla="*/ 12394931 h 15035524"/>
                <a:gd name="connsiteX23" fmla="*/ 485320 w 19982300"/>
                <a:gd name="connsiteY23" fmla="*/ 11942774 h 15035524"/>
                <a:gd name="connsiteX24" fmla="*/ 0 w 19982300"/>
                <a:gd name="connsiteY24" fmla="*/ 11649662 h 15035524"/>
                <a:gd name="connsiteX25" fmla="*/ 1003686 w 19982300"/>
                <a:gd name="connsiteY25" fmla="*/ 10903697 h 15035524"/>
                <a:gd name="connsiteX26" fmla="*/ 2902551 w 19982300"/>
                <a:gd name="connsiteY26" fmla="*/ 9719298 h 15035524"/>
                <a:gd name="connsiteX27" fmla="*/ 2558940 w 19982300"/>
                <a:gd name="connsiteY27" fmla="*/ 9185867 h 15035524"/>
                <a:gd name="connsiteX28" fmla="*/ 2402508 w 19982300"/>
                <a:gd name="connsiteY28" fmla="*/ 8498784 h 15035524"/>
                <a:gd name="connsiteX29" fmla="*/ 2730740 w 19982300"/>
                <a:gd name="connsiteY29" fmla="*/ 8471613 h 15035524"/>
                <a:gd name="connsiteX30" fmla="*/ 2947754 w 19982300"/>
                <a:gd name="connsiteY30" fmla="*/ 8001468 h 15035524"/>
                <a:gd name="connsiteX31" fmla="*/ 3499325 w 19982300"/>
                <a:gd name="connsiteY31" fmla="*/ 7558451 h 15035524"/>
                <a:gd name="connsiteX32" fmla="*/ 3680166 w 19982300"/>
                <a:gd name="connsiteY32" fmla="*/ 6681453 h 15035524"/>
                <a:gd name="connsiteX33" fmla="*/ 4186528 w 19982300"/>
                <a:gd name="connsiteY33" fmla="*/ 6690489 h 15035524"/>
                <a:gd name="connsiteX34" fmla="*/ 4837569 w 19982300"/>
                <a:gd name="connsiteY34" fmla="*/ 7160639 h 15035524"/>
                <a:gd name="connsiteX35" fmla="*/ 5352976 w 19982300"/>
                <a:gd name="connsiteY35" fmla="*/ 7079272 h 15035524"/>
                <a:gd name="connsiteX36" fmla="*/ 5741786 w 19982300"/>
                <a:gd name="connsiteY36" fmla="*/ 6708577 h 15035524"/>
                <a:gd name="connsiteX37" fmla="*/ 6157723 w 19982300"/>
                <a:gd name="connsiteY37" fmla="*/ 6545836 h 15035524"/>
                <a:gd name="connsiteX38" fmla="*/ 6745471 w 19982300"/>
                <a:gd name="connsiteY38" fmla="*/ 5976243 h 15035524"/>
                <a:gd name="connsiteX39" fmla="*/ 6890140 w 19982300"/>
                <a:gd name="connsiteY39" fmla="*/ 5126367 h 15035524"/>
                <a:gd name="connsiteX40" fmla="*/ 7568305 w 19982300"/>
                <a:gd name="connsiteY40" fmla="*/ 4556773 h 15035524"/>
                <a:gd name="connsiteX41" fmla="*/ 8137967 w 19982300"/>
                <a:gd name="connsiteY41" fmla="*/ 4113752 h 15035524"/>
                <a:gd name="connsiteX42" fmla="*/ 8463480 w 19982300"/>
                <a:gd name="connsiteY42" fmla="*/ 3309085 h 15035524"/>
                <a:gd name="connsiteX43" fmla="*/ 9024093 w 19982300"/>
                <a:gd name="connsiteY43" fmla="*/ 2956478 h 15035524"/>
                <a:gd name="connsiteX44" fmla="*/ 9675138 w 19982300"/>
                <a:gd name="connsiteY44" fmla="*/ 2603876 h 15035524"/>
                <a:gd name="connsiteX45" fmla="*/ 9558580 w 19982300"/>
                <a:gd name="connsiteY45" fmla="*/ 2055592 h 15035524"/>
                <a:gd name="connsiteX46" fmla="*/ 10353296 w 19982300"/>
                <a:gd name="connsiteY46" fmla="*/ 1383308 h 15035524"/>
                <a:gd name="connsiteX47" fmla="*/ 10832530 w 19982300"/>
                <a:gd name="connsiteY47" fmla="*/ 1310974 h 15035524"/>
                <a:gd name="connsiteX48" fmla="*/ 11058585 w 19982300"/>
                <a:gd name="connsiteY48" fmla="*/ 1763043 h 15035524"/>
                <a:gd name="connsiteX49" fmla="*/ 11411229 w 19982300"/>
                <a:gd name="connsiteY49" fmla="*/ 2142774 h 15035524"/>
                <a:gd name="connsiteX50" fmla="*/ 11998974 w 19982300"/>
                <a:gd name="connsiteY50" fmla="*/ 2224144 h 15035524"/>
                <a:gd name="connsiteX51" fmla="*/ 12315449 w 19982300"/>
                <a:gd name="connsiteY51" fmla="*/ 2884156 h 15035524"/>
                <a:gd name="connsiteX52" fmla="*/ 12785642 w 19982300"/>
                <a:gd name="connsiteY52" fmla="*/ 2703327 h 15035524"/>
                <a:gd name="connsiteX53" fmla="*/ 13671776 w 19982300"/>
                <a:gd name="connsiteY53" fmla="*/ 3155388 h 15035524"/>
                <a:gd name="connsiteX54" fmla="*/ 14123886 w 19982300"/>
                <a:gd name="connsiteY54" fmla="*/ 2857035 h 15035524"/>
                <a:gd name="connsiteX55" fmla="*/ 14259509 w 19982300"/>
                <a:gd name="connsiteY55" fmla="*/ 2287434 h 15035524"/>
                <a:gd name="connsiteX56" fmla="*/ 14892468 w 19982300"/>
                <a:gd name="connsiteY56" fmla="*/ 1645503 h 15035524"/>
                <a:gd name="connsiteX57" fmla="*/ 15778605 w 19982300"/>
                <a:gd name="connsiteY57" fmla="*/ 1093983 h 15035524"/>
                <a:gd name="connsiteX58" fmla="*/ 16022739 w 19982300"/>
                <a:gd name="connsiteY58" fmla="*/ 1564133 h 15035524"/>
                <a:gd name="connsiteX59" fmla="*/ 16556232 w 19982300"/>
                <a:gd name="connsiteY59" fmla="*/ 2142785 h 15035524"/>
                <a:gd name="connsiteX60" fmla="*/ 17406193 w 19982300"/>
                <a:gd name="connsiteY60" fmla="*/ 1292897 h 15035524"/>
                <a:gd name="connsiteX61" fmla="*/ 18120524 w 19982300"/>
                <a:gd name="connsiteY61" fmla="*/ 714260 h 15035524"/>
                <a:gd name="connsiteX62" fmla="*/ 18744437 w 19982300"/>
                <a:gd name="connsiteY62" fmla="*/ -1 h 15035524"/>
                <a:gd name="connsiteX63" fmla="*/ 19982300 w 19982300"/>
                <a:gd name="connsiteY63" fmla="*/ 343465 h 15035524"/>
                <a:gd name="connsiteX64" fmla="*/ 19837609 w 19982300"/>
                <a:gd name="connsiteY64" fmla="*/ 1121173 h 15035524"/>
                <a:gd name="connsiteX65" fmla="*/ 12531332 w 19982300"/>
                <a:gd name="connsiteY65" fmla="*/ 10399372 h 15035524"/>
                <a:gd name="connsiteX66" fmla="*/ 13844296 w 19982300"/>
                <a:gd name="connsiteY66" fmla="*/ 6156232 h 15035524"/>
                <a:gd name="connsiteX67" fmla="*/ 13886291 w 19982300"/>
                <a:gd name="connsiteY67" fmla="*/ 5321864 h 15035524"/>
                <a:gd name="connsiteX68" fmla="*/ 14370431 w 19982300"/>
                <a:gd name="connsiteY68" fmla="*/ 5830216 h 15035524"/>
                <a:gd name="connsiteX69" fmla="*/ 15323320 w 19982300"/>
                <a:gd name="connsiteY69" fmla="*/ 5928489 h 15035524"/>
                <a:gd name="connsiteX70" fmla="*/ 16350939 w 19982300"/>
                <a:gd name="connsiteY70" fmla="*/ 6053348 h 15035524"/>
                <a:gd name="connsiteX71" fmla="*/ 16362364 w 19982300"/>
                <a:gd name="connsiteY71" fmla="*/ 6360628 h 15035524"/>
                <a:gd name="connsiteX72" fmla="*/ 16682563 w 19982300"/>
                <a:gd name="connsiteY72" fmla="*/ 6798531 h 15035524"/>
                <a:gd name="connsiteX0" fmla="*/ 16682563 w 19982300"/>
                <a:gd name="connsiteY0" fmla="*/ 6798531 h 15035524"/>
                <a:gd name="connsiteX1" fmla="*/ 16432262 w 19982300"/>
                <a:gd name="connsiteY1" fmla="*/ 7825917 h 15035524"/>
                <a:gd name="connsiteX2" fmla="*/ 16106317 w 19982300"/>
                <a:gd name="connsiteY2" fmla="*/ 8367221 h 15035524"/>
                <a:gd name="connsiteX3" fmla="*/ 16305649 w 19982300"/>
                <a:gd name="connsiteY3" fmla="*/ 8754550 h 15035524"/>
                <a:gd name="connsiteX4" fmla="*/ 16287189 w 19982300"/>
                <a:gd name="connsiteY4" fmla="*/ 9151157 h 15035524"/>
                <a:gd name="connsiteX5" fmla="*/ 16372801 w 19982300"/>
                <a:gd name="connsiteY5" fmla="*/ 9717422 h 15035524"/>
                <a:gd name="connsiteX6" fmla="*/ 16070155 w 19982300"/>
                <a:gd name="connsiteY6" fmla="*/ 9937808 h 15035524"/>
                <a:gd name="connsiteX7" fmla="*/ 15805690 w 19982300"/>
                <a:gd name="connsiteY7" fmla="*/ 10431999 h 15035524"/>
                <a:gd name="connsiteX8" fmla="*/ 15195097 w 19982300"/>
                <a:gd name="connsiteY8" fmla="*/ 10093742 h 15035524"/>
                <a:gd name="connsiteX9" fmla="*/ 15011380 w 19982300"/>
                <a:gd name="connsiteY9" fmla="*/ 11048592 h 15035524"/>
                <a:gd name="connsiteX10" fmla="*/ 14908430 w 19982300"/>
                <a:gd name="connsiteY10" fmla="*/ 11937487 h 15035524"/>
                <a:gd name="connsiteX11" fmla="*/ 14904684 w 19982300"/>
                <a:gd name="connsiteY11" fmla="*/ 12760926 h 15035524"/>
                <a:gd name="connsiteX12" fmla="*/ 14929927 w 19982300"/>
                <a:gd name="connsiteY12" fmla="*/ 14391846 h 15035524"/>
                <a:gd name="connsiteX13" fmla="*/ 12952786 w 19982300"/>
                <a:gd name="connsiteY13" fmla="*/ 14842599 h 15035524"/>
                <a:gd name="connsiteX14" fmla="*/ 11934663 w 19982300"/>
                <a:gd name="connsiteY14" fmla="*/ 14890849 h 15035524"/>
                <a:gd name="connsiteX15" fmla="*/ 8506848 w 19982300"/>
                <a:gd name="connsiteY15" fmla="*/ 15035524 h 15035524"/>
                <a:gd name="connsiteX16" fmla="*/ 7985095 w 19982300"/>
                <a:gd name="connsiteY16" fmla="*/ 14390442 h 15035524"/>
                <a:gd name="connsiteX17" fmla="*/ 7400308 w 19982300"/>
                <a:gd name="connsiteY17" fmla="*/ 14360297 h 15035524"/>
                <a:gd name="connsiteX18" fmla="*/ 6972273 w 19982300"/>
                <a:gd name="connsiteY18" fmla="*/ 14631594 h 15035524"/>
                <a:gd name="connsiteX19" fmla="*/ 5181729 w 19982300"/>
                <a:gd name="connsiteY19" fmla="*/ 14547195 h 15035524"/>
                <a:gd name="connsiteX20" fmla="*/ 4397998 w 19982300"/>
                <a:gd name="connsiteY20" fmla="*/ 13914178 h 15035524"/>
                <a:gd name="connsiteX21" fmla="*/ 2908896 w 19982300"/>
                <a:gd name="connsiteY21" fmla="*/ 13106324 h 15035524"/>
                <a:gd name="connsiteX22" fmla="*/ 1263043 w 19982300"/>
                <a:gd name="connsiteY22" fmla="*/ 12394931 h 15035524"/>
                <a:gd name="connsiteX23" fmla="*/ 485320 w 19982300"/>
                <a:gd name="connsiteY23" fmla="*/ 11942774 h 15035524"/>
                <a:gd name="connsiteX24" fmla="*/ 0 w 19982300"/>
                <a:gd name="connsiteY24" fmla="*/ 11649662 h 15035524"/>
                <a:gd name="connsiteX25" fmla="*/ 1003686 w 19982300"/>
                <a:gd name="connsiteY25" fmla="*/ 10903697 h 15035524"/>
                <a:gd name="connsiteX26" fmla="*/ 2902551 w 19982300"/>
                <a:gd name="connsiteY26" fmla="*/ 9719298 h 15035524"/>
                <a:gd name="connsiteX27" fmla="*/ 2558940 w 19982300"/>
                <a:gd name="connsiteY27" fmla="*/ 9185867 h 15035524"/>
                <a:gd name="connsiteX28" fmla="*/ 2402508 w 19982300"/>
                <a:gd name="connsiteY28" fmla="*/ 8498784 h 15035524"/>
                <a:gd name="connsiteX29" fmla="*/ 2730740 w 19982300"/>
                <a:gd name="connsiteY29" fmla="*/ 8471613 h 15035524"/>
                <a:gd name="connsiteX30" fmla="*/ 2947754 w 19982300"/>
                <a:gd name="connsiteY30" fmla="*/ 8001468 h 15035524"/>
                <a:gd name="connsiteX31" fmla="*/ 3499325 w 19982300"/>
                <a:gd name="connsiteY31" fmla="*/ 7558451 h 15035524"/>
                <a:gd name="connsiteX32" fmla="*/ 3680166 w 19982300"/>
                <a:gd name="connsiteY32" fmla="*/ 6681453 h 15035524"/>
                <a:gd name="connsiteX33" fmla="*/ 4186528 w 19982300"/>
                <a:gd name="connsiteY33" fmla="*/ 6690489 h 15035524"/>
                <a:gd name="connsiteX34" fmla="*/ 4837569 w 19982300"/>
                <a:gd name="connsiteY34" fmla="*/ 7160639 h 15035524"/>
                <a:gd name="connsiteX35" fmla="*/ 5352976 w 19982300"/>
                <a:gd name="connsiteY35" fmla="*/ 7079272 h 15035524"/>
                <a:gd name="connsiteX36" fmla="*/ 5741786 w 19982300"/>
                <a:gd name="connsiteY36" fmla="*/ 6708577 h 15035524"/>
                <a:gd name="connsiteX37" fmla="*/ 6157723 w 19982300"/>
                <a:gd name="connsiteY37" fmla="*/ 6545836 h 15035524"/>
                <a:gd name="connsiteX38" fmla="*/ 6745471 w 19982300"/>
                <a:gd name="connsiteY38" fmla="*/ 5976243 h 15035524"/>
                <a:gd name="connsiteX39" fmla="*/ 6890140 w 19982300"/>
                <a:gd name="connsiteY39" fmla="*/ 5126367 h 15035524"/>
                <a:gd name="connsiteX40" fmla="*/ 7568305 w 19982300"/>
                <a:gd name="connsiteY40" fmla="*/ 4556773 h 15035524"/>
                <a:gd name="connsiteX41" fmla="*/ 8137967 w 19982300"/>
                <a:gd name="connsiteY41" fmla="*/ 4113752 h 15035524"/>
                <a:gd name="connsiteX42" fmla="*/ 8463480 w 19982300"/>
                <a:gd name="connsiteY42" fmla="*/ 3309085 h 15035524"/>
                <a:gd name="connsiteX43" fmla="*/ 9024093 w 19982300"/>
                <a:gd name="connsiteY43" fmla="*/ 2956478 h 15035524"/>
                <a:gd name="connsiteX44" fmla="*/ 9675138 w 19982300"/>
                <a:gd name="connsiteY44" fmla="*/ 2603876 h 15035524"/>
                <a:gd name="connsiteX45" fmla="*/ 9558580 w 19982300"/>
                <a:gd name="connsiteY45" fmla="*/ 2055592 h 15035524"/>
                <a:gd name="connsiteX46" fmla="*/ 10353296 w 19982300"/>
                <a:gd name="connsiteY46" fmla="*/ 1383308 h 15035524"/>
                <a:gd name="connsiteX47" fmla="*/ 10832530 w 19982300"/>
                <a:gd name="connsiteY47" fmla="*/ 1310974 h 15035524"/>
                <a:gd name="connsiteX48" fmla="*/ 11058585 w 19982300"/>
                <a:gd name="connsiteY48" fmla="*/ 1763043 h 15035524"/>
                <a:gd name="connsiteX49" fmla="*/ 11411229 w 19982300"/>
                <a:gd name="connsiteY49" fmla="*/ 2142774 h 15035524"/>
                <a:gd name="connsiteX50" fmla="*/ 11998974 w 19982300"/>
                <a:gd name="connsiteY50" fmla="*/ 2224144 h 15035524"/>
                <a:gd name="connsiteX51" fmla="*/ 12315449 w 19982300"/>
                <a:gd name="connsiteY51" fmla="*/ 2884156 h 15035524"/>
                <a:gd name="connsiteX52" fmla="*/ 12785642 w 19982300"/>
                <a:gd name="connsiteY52" fmla="*/ 2703327 h 15035524"/>
                <a:gd name="connsiteX53" fmla="*/ 13671776 w 19982300"/>
                <a:gd name="connsiteY53" fmla="*/ 3155388 h 15035524"/>
                <a:gd name="connsiteX54" fmla="*/ 14123886 w 19982300"/>
                <a:gd name="connsiteY54" fmla="*/ 2857035 h 15035524"/>
                <a:gd name="connsiteX55" fmla="*/ 14259509 w 19982300"/>
                <a:gd name="connsiteY55" fmla="*/ 2287434 h 15035524"/>
                <a:gd name="connsiteX56" fmla="*/ 14892468 w 19982300"/>
                <a:gd name="connsiteY56" fmla="*/ 1645503 h 15035524"/>
                <a:gd name="connsiteX57" fmla="*/ 15778605 w 19982300"/>
                <a:gd name="connsiteY57" fmla="*/ 1093983 h 15035524"/>
                <a:gd name="connsiteX58" fmla="*/ 16022739 w 19982300"/>
                <a:gd name="connsiteY58" fmla="*/ 1564133 h 15035524"/>
                <a:gd name="connsiteX59" fmla="*/ 16556232 w 19982300"/>
                <a:gd name="connsiteY59" fmla="*/ 2142785 h 15035524"/>
                <a:gd name="connsiteX60" fmla="*/ 17406193 w 19982300"/>
                <a:gd name="connsiteY60" fmla="*/ 1292897 h 15035524"/>
                <a:gd name="connsiteX61" fmla="*/ 18120524 w 19982300"/>
                <a:gd name="connsiteY61" fmla="*/ 714260 h 15035524"/>
                <a:gd name="connsiteX62" fmla="*/ 18744437 w 19982300"/>
                <a:gd name="connsiteY62" fmla="*/ -1 h 15035524"/>
                <a:gd name="connsiteX63" fmla="*/ 19982300 w 19982300"/>
                <a:gd name="connsiteY63" fmla="*/ 343465 h 15035524"/>
                <a:gd name="connsiteX64" fmla="*/ 19837609 w 19982300"/>
                <a:gd name="connsiteY64" fmla="*/ 1121173 h 15035524"/>
                <a:gd name="connsiteX65" fmla="*/ 11239741 w 19982300"/>
                <a:gd name="connsiteY65" fmla="*/ 10035244 h 15035524"/>
                <a:gd name="connsiteX66" fmla="*/ 13844296 w 19982300"/>
                <a:gd name="connsiteY66" fmla="*/ 6156232 h 15035524"/>
                <a:gd name="connsiteX67" fmla="*/ 13886291 w 19982300"/>
                <a:gd name="connsiteY67" fmla="*/ 5321864 h 15035524"/>
                <a:gd name="connsiteX68" fmla="*/ 14370431 w 19982300"/>
                <a:gd name="connsiteY68" fmla="*/ 5830216 h 15035524"/>
                <a:gd name="connsiteX69" fmla="*/ 15323320 w 19982300"/>
                <a:gd name="connsiteY69" fmla="*/ 5928489 h 15035524"/>
                <a:gd name="connsiteX70" fmla="*/ 16350939 w 19982300"/>
                <a:gd name="connsiteY70" fmla="*/ 6053348 h 15035524"/>
                <a:gd name="connsiteX71" fmla="*/ 16362364 w 19982300"/>
                <a:gd name="connsiteY71" fmla="*/ 6360628 h 15035524"/>
                <a:gd name="connsiteX72" fmla="*/ 16682563 w 19982300"/>
                <a:gd name="connsiteY72" fmla="*/ 6798531 h 15035524"/>
                <a:gd name="connsiteX0" fmla="*/ 16682563 w 19982300"/>
                <a:gd name="connsiteY0" fmla="*/ 6798531 h 15035524"/>
                <a:gd name="connsiteX1" fmla="*/ 16432262 w 19982300"/>
                <a:gd name="connsiteY1" fmla="*/ 7825917 h 15035524"/>
                <a:gd name="connsiteX2" fmla="*/ 16106317 w 19982300"/>
                <a:gd name="connsiteY2" fmla="*/ 8367221 h 15035524"/>
                <a:gd name="connsiteX3" fmla="*/ 16305649 w 19982300"/>
                <a:gd name="connsiteY3" fmla="*/ 8754550 h 15035524"/>
                <a:gd name="connsiteX4" fmla="*/ 16287189 w 19982300"/>
                <a:gd name="connsiteY4" fmla="*/ 9151157 h 15035524"/>
                <a:gd name="connsiteX5" fmla="*/ 16372801 w 19982300"/>
                <a:gd name="connsiteY5" fmla="*/ 9717422 h 15035524"/>
                <a:gd name="connsiteX6" fmla="*/ 16070155 w 19982300"/>
                <a:gd name="connsiteY6" fmla="*/ 9937808 h 15035524"/>
                <a:gd name="connsiteX7" fmla="*/ 15805690 w 19982300"/>
                <a:gd name="connsiteY7" fmla="*/ 10431999 h 15035524"/>
                <a:gd name="connsiteX8" fmla="*/ 15195097 w 19982300"/>
                <a:gd name="connsiteY8" fmla="*/ 10093742 h 15035524"/>
                <a:gd name="connsiteX9" fmla="*/ 15011380 w 19982300"/>
                <a:gd name="connsiteY9" fmla="*/ 11048592 h 15035524"/>
                <a:gd name="connsiteX10" fmla="*/ 14908430 w 19982300"/>
                <a:gd name="connsiteY10" fmla="*/ 11937487 h 15035524"/>
                <a:gd name="connsiteX11" fmla="*/ 14904684 w 19982300"/>
                <a:gd name="connsiteY11" fmla="*/ 12760926 h 15035524"/>
                <a:gd name="connsiteX12" fmla="*/ 14929927 w 19982300"/>
                <a:gd name="connsiteY12" fmla="*/ 14391846 h 15035524"/>
                <a:gd name="connsiteX13" fmla="*/ 12952786 w 19982300"/>
                <a:gd name="connsiteY13" fmla="*/ 14842599 h 15035524"/>
                <a:gd name="connsiteX14" fmla="*/ 11934663 w 19982300"/>
                <a:gd name="connsiteY14" fmla="*/ 14890849 h 15035524"/>
                <a:gd name="connsiteX15" fmla="*/ 8506848 w 19982300"/>
                <a:gd name="connsiteY15" fmla="*/ 15035524 h 15035524"/>
                <a:gd name="connsiteX16" fmla="*/ 7985095 w 19982300"/>
                <a:gd name="connsiteY16" fmla="*/ 14390442 h 15035524"/>
                <a:gd name="connsiteX17" fmla="*/ 7400308 w 19982300"/>
                <a:gd name="connsiteY17" fmla="*/ 14360297 h 15035524"/>
                <a:gd name="connsiteX18" fmla="*/ 6972273 w 19982300"/>
                <a:gd name="connsiteY18" fmla="*/ 14631594 h 15035524"/>
                <a:gd name="connsiteX19" fmla="*/ 5181729 w 19982300"/>
                <a:gd name="connsiteY19" fmla="*/ 14547195 h 15035524"/>
                <a:gd name="connsiteX20" fmla="*/ 4397998 w 19982300"/>
                <a:gd name="connsiteY20" fmla="*/ 13914178 h 15035524"/>
                <a:gd name="connsiteX21" fmla="*/ 2908896 w 19982300"/>
                <a:gd name="connsiteY21" fmla="*/ 13106324 h 15035524"/>
                <a:gd name="connsiteX22" fmla="*/ 1263043 w 19982300"/>
                <a:gd name="connsiteY22" fmla="*/ 12394931 h 15035524"/>
                <a:gd name="connsiteX23" fmla="*/ 485320 w 19982300"/>
                <a:gd name="connsiteY23" fmla="*/ 11942774 h 15035524"/>
                <a:gd name="connsiteX24" fmla="*/ 0 w 19982300"/>
                <a:gd name="connsiteY24" fmla="*/ 11649662 h 15035524"/>
                <a:gd name="connsiteX25" fmla="*/ 1003686 w 19982300"/>
                <a:gd name="connsiteY25" fmla="*/ 10903697 h 15035524"/>
                <a:gd name="connsiteX26" fmla="*/ 2902551 w 19982300"/>
                <a:gd name="connsiteY26" fmla="*/ 9719298 h 15035524"/>
                <a:gd name="connsiteX27" fmla="*/ 2558940 w 19982300"/>
                <a:gd name="connsiteY27" fmla="*/ 9185867 h 15035524"/>
                <a:gd name="connsiteX28" fmla="*/ 2402508 w 19982300"/>
                <a:gd name="connsiteY28" fmla="*/ 8498784 h 15035524"/>
                <a:gd name="connsiteX29" fmla="*/ 2730740 w 19982300"/>
                <a:gd name="connsiteY29" fmla="*/ 8471613 h 15035524"/>
                <a:gd name="connsiteX30" fmla="*/ 2947754 w 19982300"/>
                <a:gd name="connsiteY30" fmla="*/ 8001468 h 15035524"/>
                <a:gd name="connsiteX31" fmla="*/ 3499325 w 19982300"/>
                <a:gd name="connsiteY31" fmla="*/ 7558451 h 15035524"/>
                <a:gd name="connsiteX32" fmla="*/ 3680166 w 19982300"/>
                <a:gd name="connsiteY32" fmla="*/ 6681453 h 15035524"/>
                <a:gd name="connsiteX33" fmla="*/ 4186528 w 19982300"/>
                <a:gd name="connsiteY33" fmla="*/ 6690489 h 15035524"/>
                <a:gd name="connsiteX34" fmla="*/ 4837569 w 19982300"/>
                <a:gd name="connsiteY34" fmla="*/ 7160639 h 15035524"/>
                <a:gd name="connsiteX35" fmla="*/ 5352976 w 19982300"/>
                <a:gd name="connsiteY35" fmla="*/ 7079272 h 15035524"/>
                <a:gd name="connsiteX36" fmla="*/ 5741786 w 19982300"/>
                <a:gd name="connsiteY36" fmla="*/ 6708577 h 15035524"/>
                <a:gd name="connsiteX37" fmla="*/ 6157723 w 19982300"/>
                <a:gd name="connsiteY37" fmla="*/ 6545836 h 15035524"/>
                <a:gd name="connsiteX38" fmla="*/ 6745471 w 19982300"/>
                <a:gd name="connsiteY38" fmla="*/ 5976243 h 15035524"/>
                <a:gd name="connsiteX39" fmla="*/ 6890140 w 19982300"/>
                <a:gd name="connsiteY39" fmla="*/ 5126367 h 15035524"/>
                <a:gd name="connsiteX40" fmla="*/ 7568305 w 19982300"/>
                <a:gd name="connsiteY40" fmla="*/ 4556773 h 15035524"/>
                <a:gd name="connsiteX41" fmla="*/ 8137967 w 19982300"/>
                <a:gd name="connsiteY41" fmla="*/ 4113752 h 15035524"/>
                <a:gd name="connsiteX42" fmla="*/ 8463480 w 19982300"/>
                <a:gd name="connsiteY42" fmla="*/ 3309085 h 15035524"/>
                <a:gd name="connsiteX43" fmla="*/ 9024093 w 19982300"/>
                <a:gd name="connsiteY43" fmla="*/ 2956478 h 15035524"/>
                <a:gd name="connsiteX44" fmla="*/ 9675138 w 19982300"/>
                <a:gd name="connsiteY44" fmla="*/ 2603876 h 15035524"/>
                <a:gd name="connsiteX45" fmla="*/ 9558580 w 19982300"/>
                <a:gd name="connsiteY45" fmla="*/ 2055592 h 15035524"/>
                <a:gd name="connsiteX46" fmla="*/ 10353296 w 19982300"/>
                <a:gd name="connsiteY46" fmla="*/ 1383308 h 15035524"/>
                <a:gd name="connsiteX47" fmla="*/ 10832530 w 19982300"/>
                <a:gd name="connsiteY47" fmla="*/ 1310974 h 15035524"/>
                <a:gd name="connsiteX48" fmla="*/ 11058585 w 19982300"/>
                <a:gd name="connsiteY48" fmla="*/ 1763043 h 15035524"/>
                <a:gd name="connsiteX49" fmla="*/ 11411229 w 19982300"/>
                <a:gd name="connsiteY49" fmla="*/ 2142774 h 15035524"/>
                <a:gd name="connsiteX50" fmla="*/ 11998974 w 19982300"/>
                <a:gd name="connsiteY50" fmla="*/ 2224144 h 15035524"/>
                <a:gd name="connsiteX51" fmla="*/ 12315449 w 19982300"/>
                <a:gd name="connsiteY51" fmla="*/ 2884156 h 15035524"/>
                <a:gd name="connsiteX52" fmla="*/ 12785642 w 19982300"/>
                <a:gd name="connsiteY52" fmla="*/ 2703327 h 15035524"/>
                <a:gd name="connsiteX53" fmla="*/ 13671776 w 19982300"/>
                <a:gd name="connsiteY53" fmla="*/ 3155388 h 15035524"/>
                <a:gd name="connsiteX54" fmla="*/ 14123886 w 19982300"/>
                <a:gd name="connsiteY54" fmla="*/ 2857035 h 15035524"/>
                <a:gd name="connsiteX55" fmla="*/ 14259509 w 19982300"/>
                <a:gd name="connsiteY55" fmla="*/ 2287434 h 15035524"/>
                <a:gd name="connsiteX56" fmla="*/ 14892468 w 19982300"/>
                <a:gd name="connsiteY56" fmla="*/ 1645503 h 15035524"/>
                <a:gd name="connsiteX57" fmla="*/ 15778605 w 19982300"/>
                <a:gd name="connsiteY57" fmla="*/ 1093983 h 15035524"/>
                <a:gd name="connsiteX58" fmla="*/ 16022739 w 19982300"/>
                <a:gd name="connsiteY58" fmla="*/ 1564133 h 15035524"/>
                <a:gd name="connsiteX59" fmla="*/ 16556232 w 19982300"/>
                <a:gd name="connsiteY59" fmla="*/ 2142785 h 15035524"/>
                <a:gd name="connsiteX60" fmla="*/ 17406193 w 19982300"/>
                <a:gd name="connsiteY60" fmla="*/ 1292897 h 15035524"/>
                <a:gd name="connsiteX61" fmla="*/ 18120524 w 19982300"/>
                <a:gd name="connsiteY61" fmla="*/ 714260 h 15035524"/>
                <a:gd name="connsiteX62" fmla="*/ 18744437 w 19982300"/>
                <a:gd name="connsiteY62" fmla="*/ -1 h 15035524"/>
                <a:gd name="connsiteX63" fmla="*/ 19982300 w 19982300"/>
                <a:gd name="connsiteY63" fmla="*/ 343465 h 15035524"/>
                <a:gd name="connsiteX64" fmla="*/ 19837609 w 19982300"/>
                <a:gd name="connsiteY64" fmla="*/ 1121173 h 15035524"/>
                <a:gd name="connsiteX65" fmla="*/ 10537783 w 19982300"/>
                <a:gd name="connsiteY65" fmla="*/ 9419026 h 15035524"/>
                <a:gd name="connsiteX66" fmla="*/ 13844296 w 19982300"/>
                <a:gd name="connsiteY66" fmla="*/ 6156232 h 15035524"/>
                <a:gd name="connsiteX67" fmla="*/ 13886291 w 19982300"/>
                <a:gd name="connsiteY67" fmla="*/ 5321864 h 15035524"/>
                <a:gd name="connsiteX68" fmla="*/ 14370431 w 19982300"/>
                <a:gd name="connsiteY68" fmla="*/ 5830216 h 15035524"/>
                <a:gd name="connsiteX69" fmla="*/ 15323320 w 19982300"/>
                <a:gd name="connsiteY69" fmla="*/ 5928489 h 15035524"/>
                <a:gd name="connsiteX70" fmla="*/ 16350939 w 19982300"/>
                <a:gd name="connsiteY70" fmla="*/ 6053348 h 15035524"/>
                <a:gd name="connsiteX71" fmla="*/ 16362364 w 19982300"/>
                <a:gd name="connsiteY71" fmla="*/ 6360628 h 15035524"/>
                <a:gd name="connsiteX72" fmla="*/ 16682563 w 19982300"/>
                <a:gd name="connsiteY72" fmla="*/ 6798531 h 15035524"/>
                <a:gd name="connsiteX0" fmla="*/ 16682563 w 19982300"/>
                <a:gd name="connsiteY0" fmla="*/ 6798531 h 15035524"/>
                <a:gd name="connsiteX1" fmla="*/ 16432262 w 19982300"/>
                <a:gd name="connsiteY1" fmla="*/ 7825917 h 15035524"/>
                <a:gd name="connsiteX2" fmla="*/ 16106317 w 19982300"/>
                <a:gd name="connsiteY2" fmla="*/ 8367221 h 15035524"/>
                <a:gd name="connsiteX3" fmla="*/ 16305649 w 19982300"/>
                <a:gd name="connsiteY3" fmla="*/ 8754550 h 15035524"/>
                <a:gd name="connsiteX4" fmla="*/ 16287189 w 19982300"/>
                <a:gd name="connsiteY4" fmla="*/ 9151157 h 15035524"/>
                <a:gd name="connsiteX5" fmla="*/ 16372801 w 19982300"/>
                <a:gd name="connsiteY5" fmla="*/ 9717422 h 15035524"/>
                <a:gd name="connsiteX6" fmla="*/ 16070155 w 19982300"/>
                <a:gd name="connsiteY6" fmla="*/ 9937808 h 15035524"/>
                <a:gd name="connsiteX7" fmla="*/ 15805690 w 19982300"/>
                <a:gd name="connsiteY7" fmla="*/ 10431999 h 15035524"/>
                <a:gd name="connsiteX8" fmla="*/ 15195097 w 19982300"/>
                <a:gd name="connsiteY8" fmla="*/ 10093742 h 15035524"/>
                <a:gd name="connsiteX9" fmla="*/ 15011380 w 19982300"/>
                <a:gd name="connsiteY9" fmla="*/ 11048592 h 15035524"/>
                <a:gd name="connsiteX10" fmla="*/ 14908430 w 19982300"/>
                <a:gd name="connsiteY10" fmla="*/ 11937487 h 15035524"/>
                <a:gd name="connsiteX11" fmla="*/ 14904684 w 19982300"/>
                <a:gd name="connsiteY11" fmla="*/ 12760926 h 15035524"/>
                <a:gd name="connsiteX12" fmla="*/ 14929927 w 19982300"/>
                <a:gd name="connsiteY12" fmla="*/ 14391846 h 15035524"/>
                <a:gd name="connsiteX13" fmla="*/ 12952786 w 19982300"/>
                <a:gd name="connsiteY13" fmla="*/ 14842599 h 15035524"/>
                <a:gd name="connsiteX14" fmla="*/ 11934663 w 19982300"/>
                <a:gd name="connsiteY14" fmla="*/ 14890849 h 15035524"/>
                <a:gd name="connsiteX15" fmla="*/ 8506848 w 19982300"/>
                <a:gd name="connsiteY15" fmla="*/ 15035524 h 15035524"/>
                <a:gd name="connsiteX16" fmla="*/ 7985095 w 19982300"/>
                <a:gd name="connsiteY16" fmla="*/ 14390442 h 15035524"/>
                <a:gd name="connsiteX17" fmla="*/ 7400308 w 19982300"/>
                <a:gd name="connsiteY17" fmla="*/ 14360297 h 15035524"/>
                <a:gd name="connsiteX18" fmla="*/ 6972273 w 19982300"/>
                <a:gd name="connsiteY18" fmla="*/ 14631594 h 15035524"/>
                <a:gd name="connsiteX19" fmla="*/ 5181729 w 19982300"/>
                <a:gd name="connsiteY19" fmla="*/ 14547195 h 15035524"/>
                <a:gd name="connsiteX20" fmla="*/ 4397998 w 19982300"/>
                <a:gd name="connsiteY20" fmla="*/ 13914178 h 15035524"/>
                <a:gd name="connsiteX21" fmla="*/ 2908896 w 19982300"/>
                <a:gd name="connsiteY21" fmla="*/ 13106324 h 15035524"/>
                <a:gd name="connsiteX22" fmla="*/ 1263043 w 19982300"/>
                <a:gd name="connsiteY22" fmla="*/ 12394931 h 15035524"/>
                <a:gd name="connsiteX23" fmla="*/ 485320 w 19982300"/>
                <a:gd name="connsiteY23" fmla="*/ 11942774 h 15035524"/>
                <a:gd name="connsiteX24" fmla="*/ 0 w 19982300"/>
                <a:gd name="connsiteY24" fmla="*/ 11649662 h 15035524"/>
                <a:gd name="connsiteX25" fmla="*/ 1003686 w 19982300"/>
                <a:gd name="connsiteY25" fmla="*/ 10903697 h 15035524"/>
                <a:gd name="connsiteX26" fmla="*/ 2902551 w 19982300"/>
                <a:gd name="connsiteY26" fmla="*/ 9719298 h 15035524"/>
                <a:gd name="connsiteX27" fmla="*/ 2558940 w 19982300"/>
                <a:gd name="connsiteY27" fmla="*/ 9185867 h 15035524"/>
                <a:gd name="connsiteX28" fmla="*/ 2402508 w 19982300"/>
                <a:gd name="connsiteY28" fmla="*/ 8498784 h 15035524"/>
                <a:gd name="connsiteX29" fmla="*/ 2730740 w 19982300"/>
                <a:gd name="connsiteY29" fmla="*/ 8471613 h 15035524"/>
                <a:gd name="connsiteX30" fmla="*/ 2947754 w 19982300"/>
                <a:gd name="connsiteY30" fmla="*/ 8001468 h 15035524"/>
                <a:gd name="connsiteX31" fmla="*/ 3499325 w 19982300"/>
                <a:gd name="connsiteY31" fmla="*/ 7558451 h 15035524"/>
                <a:gd name="connsiteX32" fmla="*/ 3680166 w 19982300"/>
                <a:gd name="connsiteY32" fmla="*/ 6681453 h 15035524"/>
                <a:gd name="connsiteX33" fmla="*/ 4186528 w 19982300"/>
                <a:gd name="connsiteY33" fmla="*/ 6690489 h 15035524"/>
                <a:gd name="connsiteX34" fmla="*/ 4837569 w 19982300"/>
                <a:gd name="connsiteY34" fmla="*/ 7160639 h 15035524"/>
                <a:gd name="connsiteX35" fmla="*/ 5352976 w 19982300"/>
                <a:gd name="connsiteY35" fmla="*/ 7079272 h 15035524"/>
                <a:gd name="connsiteX36" fmla="*/ 5741786 w 19982300"/>
                <a:gd name="connsiteY36" fmla="*/ 6708577 h 15035524"/>
                <a:gd name="connsiteX37" fmla="*/ 6157723 w 19982300"/>
                <a:gd name="connsiteY37" fmla="*/ 6545836 h 15035524"/>
                <a:gd name="connsiteX38" fmla="*/ 6745471 w 19982300"/>
                <a:gd name="connsiteY38" fmla="*/ 5976243 h 15035524"/>
                <a:gd name="connsiteX39" fmla="*/ 6890140 w 19982300"/>
                <a:gd name="connsiteY39" fmla="*/ 5126367 h 15035524"/>
                <a:gd name="connsiteX40" fmla="*/ 7568305 w 19982300"/>
                <a:gd name="connsiteY40" fmla="*/ 4556773 h 15035524"/>
                <a:gd name="connsiteX41" fmla="*/ 8137967 w 19982300"/>
                <a:gd name="connsiteY41" fmla="*/ 4113752 h 15035524"/>
                <a:gd name="connsiteX42" fmla="*/ 8463480 w 19982300"/>
                <a:gd name="connsiteY42" fmla="*/ 3309085 h 15035524"/>
                <a:gd name="connsiteX43" fmla="*/ 9024093 w 19982300"/>
                <a:gd name="connsiteY43" fmla="*/ 2956478 h 15035524"/>
                <a:gd name="connsiteX44" fmla="*/ 9675138 w 19982300"/>
                <a:gd name="connsiteY44" fmla="*/ 2603876 h 15035524"/>
                <a:gd name="connsiteX45" fmla="*/ 9558580 w 19982300"/>
                <a:gd name="connsiteY45" fmla="*/ 2055592 h 15035524"/>
                <a:gd name="connsiteX46" fmla="*/ 10353296 w 19982300"/>
                <a:gd name="connsiteY46" fmla="*/ 1383308 h 15035524"/>
                <a:gd name="connsiteX47" fmla="*/ 10832530 w 19982300"/>
                <a:gd name="connsiteY47" fmla="*/ 1310974 h 15035524"/>
                <a:gd name="connsiteX48" fmla="*/ 11058585 w 19982300"/>
                <a:gd name="connsiteY48" fmla="*/ 1763043 h 15035524"/>
                <a:gd name="connsiteX49" fmla="*/ 11411229 w 19982300"/>
                <a:gd name="connsiteY49" fmla="*/ 2142774 h 15035524"/>
                <a:gd name="connsiteX50" fmla="*/ 11998974 w 19982300"/>
                <a:gd name="connsiteY50" fmla="*/ 2224144 h 15035524"/>
                <a:gd name="connsiteX51" fmla="*/ 12315449 w 19982300"/>
                <a:gd name="connsiteY51" fmla="*/ 2884156 h 15035524"/>
                <a:gd name="connsiteX52" fmla="*/ 12785642 w 19982300"/>
                <a:gd name="connsiteY52" fmla="*/ 2703327 h 15035524"/>
                <a:gd name="connsiteX53" fmla="*/ 13671776 w 19982300"/>
                <a:gd name="connsiteY53" fmla="*/ 3155388 h 15035524"/>
                <a:gd name="connsiteX54" fmla="*/ 14123886 w 19982300"/>
                <a:gd name="connsiteY54" fmla="*/ 2857035 h 15035524"/>
                <a:gd name="connsiteX55" fmla="*/ 14259509 w 19982300"/>
                <a:gd name="connsiteY55" fmla="*/ 2287434 h 15035524"/>
                <a:gd name="connsiteX56" fmla="*/ 14892468 w 19982300"/>
                <a:gd name="connsiteY56" fmla="*/ 1645503 h 15035524"/>
                <a:gd name="connsiteX57" fmla="*/ 15778605 w 19982300"/>
                <a:gd name="connsiteY57" fmla="*/ 1093983 h 15035524"/>
                <a:gd name="connsiteX58" fmla="*/ 16022739 w 19982300"/>
                <a:gd name="connsiteY58" fmla="*/ 1564133 h 15035524"/>
                <a:gd name="connsiteX59" fmla="*/ 16556232 w 19982300"/>
                <a:gd name="connsiteY59" fmla="*/ 2142785 h 15035524"/>
                <a:gd name="connsiteX60" fmla="*/ 17406193 w 19982300"/>
                <a:gd name="connsiteY60" fmla="*/ 1292897 h 15035524"/>
                <a:gd name="connsiteX61" fmla="*/ 18120524 w 19982300"/>
                <a:gd name="connsiteY61" fmla="*/ 714260 h 15035524"/>
                <a:gd name="connsiteX62" fmla="*/ 18744437 w 19982300"/>
                <a:gd name="connsiteY62" fmla="*/ -1 h 15035524"/>
                <a:gd name="connsiteX63" fmla="*/ 19982300 w 19982300"/>
                <a:gd name="connsiteY63" fmla="*/ 343465 h 15035524"/>
                <a:gd name="connsiteX64" fmla="*/ 19837609 w 19982300"/>
                <a:gd name="connsiteY64" fmla="*/ 1121173 h 15035524"/>
                <a:gd name="connsiteX65" fmla="*/ 9358504 w 19982300"/>
                <a:gd name="connsiteY65" fmla="*/ 12556148 h 15035524"/>
                <a:gd name="connsiteX66" fmla="*/ 13844296 w 19982300"/>
                <a:gd name="connsiteY66" fmla="*/ 6156232 h 15035524"/>
                <a:gd name="connsiteX67" fmla="*/ 13886291 w 19982300"/>
                <a:gd name="connsiteY67" fmla="*/ 5321864 h 15035524"/>
                <a:gd name="connsiteX68" fmla="*/ 14370431 w 19982300"/>
                <a:gd name="connsiteY68" fmla="*/ 5830216 h 15035524"/>
                <a:gd name="connsiteX69" fmla="*/ 15323320 w 19982300"/>
                <a:gd name="connsiteY69" fmla="*/ 5928489 h 15035524"/>
                <a:gd name="connsiteX70" fmla="*/ 16350939 w 19982300"/>
                <a:gd name="connsiteY70" fmla="*/ 6053348 h 15035524"/>
                <a:gd name="connsiteX71" fmla="*/ 16362364 w 19982300"/>
                <a:gd name="connsiteY71" fmla="*/ 6360628 h 15035524"/>
                <a:gd name="connsiteX72" fmla="*/ 16682563 w 19982300"/>
                <a:gd name="connsiteY72" fmla="*/ 6798531 h 15035524"/>
                <a:gd name="connsiteX0" fmla="*/ 16682563 w 19982300"/>
                <a:gd name="connsiteY0" fmla="*/ 6798531 h 15035524"/>
                <a:gd name="connsiteX1" fmla="*/ 16432262 w 19982300"/>
                <a:gd name="connsiteY1" fmla="*/ 7825917 h 15035524"/>
                <a:gd name="connsiteX2" fmla="*/ 16106317 w 19982300"/>
                <a:gd name="connsiteY2" fmla="*/ 8367221 h 15035524"/>
                <a:gd name="connsiteX3" fmla="*/ 16305649 w 19982300"/>
                <a:gd name="connsiteY3" fmla="*/ 8754550 h 15035524"/>
                <a:gd name="connsiteX4" fmla="*/ 16287189 w 19982300"/>
                <a:gd name="connsiteY4" fmla="*/ 9151157 h 15035524"/>
                <a:gd name="connsiteX5" fmla="*/ 16372801 w 19982300"/>
                <a:gd name="connsiteY5" fmla="*/ 9717422 h 15035524"/>
                <a:gd name="connsiteX6" fmla="*/ 16070155 w 19982300"/>
                <a:gd name="connsiteY6" fmla="*/ 9937808 h 15035524"/>
                <a:gd name="connsiteX7" fmla="*/ 15805690 w 19982300"/>
                <a:gd name="connsiteY7" fmla="*/ 10431999 h 15035524"/>
                <a:gd name="connsiteX8" fmla="*/ 15195097 w 19982300"/>
                <a:gd name="connsiteY8" fmla="*/ 10093742 h 15035524"/>
                <a:gd name="connsiteX9" fmla="*/ 15011380 w 19982300"/>
                <a:gd name="connsiteY9" fmla="*/ 11048592 h 15035524"/>
                <a:gd name="connsiteX10" fmla="*/ 14908430 w 19982300"/>
                <a:gd name="connsiteY10" fmla="*/ 11937487 h 15035524"/>
                <a:gd name="connsiteX11" fmla="*/ 14904684 w 19982300"/>
                <a:gd name="connsiteY11" fmla="*/ 12760926 h 15035524"/>
                <a:gd name="connsiteX12" fmla="*/ 14929927 w 19982300"/>
                <a:gd name="connsiteY12" fmla="*/ 14391846 h 15035524"/>
                <a:gd name="connsiteX13" fmla="*/ 12952786 w 19982300"/>
                <a:gd name="connsiteY13" fmla="*/ 14842599 h 15035524"/>
                <a:gd name="connsiteX14" fmla="*/ 11934663 w 19982300"/>
                <a:gd name="connsiteY14" fmla="*/ 14890849 h 15035524"/>
                <a:gd name="connsiteX15" fmla="*/ 8506848 w 19982300"/>
                <a:gd name="connsiteY15" fmla="*/ 15035524 h 15035524"/>
                <a:gd name="connsiteX16" fmla="*/ 7985095 w 19982300"/>
                <a:gd name="connsiteY16" fmla="*/ 14390442 h 15035524"/>
                <a:gd name="connsiteX17" fmla="*/ 7400308 w 19982300"/>
                <a:gd name="connsiteY17" fmla="*/ 14360297 h 15035524"/>
                <a:gd name="connsiteX18" fmla="*/ 6972273 w 19982300"/>
                <a:gd name="connsiteY18" fmla="*/ 14631594 h 15035524"/>
                <a:gd name="connsiteX19" fmla="*/ 5181729 w 19982300"/>
                <a:gd name="connsiteY19" fmla="*/ 14547195 h 15035524"/>
                <a:gd name="connsiteX20" fmla="*/ 4397998 w 19982300"/>
                <a:gd name="connsiteY20" fmla="*/ 13914178 h 15035524"/>
                <a:gd name="connsiteX21" fmla="*/ 2908896 w 19982300"/>
                <a:gd name="connsiteY21" fmla="*/ 13106324 h 15035524"/>
                <a:gd name="connsiteX22" fmla="*/ 1263043 w 19982300"/>
                <a:gd name="connsiteY22" fmla="*/ 12394931 h 15035524"/>
                <a:gd name="connsiteX23" fmla="*/ 485320 w 19982300"/>
                <a:gd name="connsiteY23" fmla="*/ 11942774 h 15035524"/>
                <a:gd name="connsiteX24" fmla="*/ 0 w 19982300"/>
                <a:gd name="connsiteY24" fmla="*/ 11649662 h 15035524"/>
                <a:gd name="connsiteX25" fmla="*/ 1003686 w 19982300"/>
                <a:gd name="connsiteY25" fmla="*/ 10903697 h 15035524"/>
                <a:gd name="connsiteX26" fmla="*/ 2902551 w 19982300"/>
                <a:gd name="connsiteY26" fmla="*/ 9719298 h 15035524"/>
                <a:gd name="connsiteX27" fmla="*/ 2558940 w 19982300"/>
                <a:gd name="connsiteY27" fmla="*/ 9185867 h 15035524"/>
                <a:gd name="connsiteX28" fmla="*/ 2402508 w 19982300"/>
                <a:gd name="connsiteY28" fmla="*/ 8498784 h 15035524"/>
                <a:gd name="connsiteX29" fmla="*/ 2730740 w 19982300"/>
                <a:gd name="connsiteY29" fmla="*/ 8471613 h 15035524"/>
                <a:gd name="connsiteX30" fmla="*/ 2947754 w 19982300"/>
                <a:gd name="connsiteY30" fmla="*/ 8001468 h 15035524"/>
                <a:gd name="connsiteX31" fmla="*/ 3499325 w 19982300"/>
                <a:gd name="connsiteY31" fmla="*/ 7558451 h 15035524"/>
                <a:gd name="connsiteX32" fmla="*/ 3680166 w 19982300"/>
                <a:gd name="connsiteY32" fmla="*/ 6681453 h 15035524"/>
                <a:gd name="connsiteX33" fmla="*/ 4186528 w 19982300"/>
                <a:gd name="connsiteY33" fmla="*/ 6690489 h 15035524"/>
                <a:gd name="connsiteX34" fmla="*/ 4837569 w 19982300"/>
                <a:gd name="connsiteY34" fmla="*/ 7160639 h 15035524"/>
                <a:gd name="connsiteX35" fmla="*/ 5352976 w 19982300"/>
                <a:gd name="connsiteY35" fmla="*/ 7079272 h 15035524"/>
                <a:gd name="connsiteX36" fmla="*/ 5741786 w 19982300"/>
                <a:gd name="connsiteY36" fmla="*/ 6708577 h 15035524"/>
                <a:gd name="connsiteX37" fmla="*/ 6157723 w 19982300"/>
                <a:gd name="connsiteY37" fmla="*/ 6545836 h 15035524"/>
                <a:gd name="connsiteX38" fmla="*/ 6745471 w 19982300"/>
                <a:gd name="connsiteY38" fmla="*/ 5976243 h 15035524"/>
                <a:gd name="connsiteX39" fmla="*/ 6890140 w 19982300"/>
                <a:gd name="connsiteY39" fmla="*/ 5126367 h 15035524"/>
                <a:gd name="connsiteX40" fmla="*/ 7568305 w 19982300"/>
                <a:gd name="connsiteY40" fmla="*/ 4556773 h 15035524"/>
                <a:gd name="connsiteX41" fmla="*/ 8137967 w 19982300"/>
                <a:gd name="connsiteY41" fmla="*/ 4113752 h 15035524"/>
                <a:gd name="connsiteX42" fmla="*/ 8463480 w 19982300"/>
                <a:gd name="connsiteY42" fmla="*/ 3309085 h 15035524"/>
                <a:gd name="connsiteX43" fmla="*/ 9024093 w 19982300"/>
                <a:gd name="connsiteY43" fmla="*/ 2956478 h 15035524"/>
                <a:gd name="connsiteX44" fmla="*/ 9675138 w 19982300"/>
                <a:gd name="connsiteY44" fmla="*/ 2603876 h 15035524"/>
                <a:gd name="connsiteX45" fmla="*/ 9558580 w 19982300"/>
                <a:gd name="connsiteY45" fmla="*/ 2055592 h 15035524"/>
                <a:gd name="connsiteX46" fmla="*/ 10353296 w 19982300"/>
                <a:gd name="connsiteY46" fmla="*/ 1383308 h 15035524"/>
                <a:gd name="connsiteX47" fmla="*/ 10832530 w 19982300"/>
                <a:gd name="connsiteY47" fmla="*/ 1310974 h 15035524"/>
                <a:gd name="connsiteX48" fmla="*/ 11058585 w 19982300"/>
                <a:gd name="connsiteY48" fmla="*/ 1763043 h 15035524"/>
                <a:gd name="connsiteX49" fmla="*/ 11411229 w 19982300"/>
                <a:gd name="connsiteY49" fmla="*/ 2142774 h 15035524"/>
                <a:gd name="connsiteX50" fmla="*/ 11998974 w 19982300"/>
                <a:gd name="connsiteY50" fmla="*/ 2224144 h 15035524"/>
                <a:gd name="connsiteX51" fmla="*/ 12315449 w 19982300"/>
                <a:gd name="connsiteY51" fmla="*/ 2884156 h 15035524"/>
                <a:gd name="connsiteX52" fmla="*/ 12785642 w 19982300"/>
                <a:gd name="connsiteY52" fmla="*/ 2703327 h 15035524"/>
                <a:gd name="connsiteX53" fmla="*/ 13671776 w 19982300"/>
                <a:gd name="connsiteY53" fmla="*/ 3155388 h 15035524"/>
                <a:gd name="connsiteX54" fmla="*/ 14123886 w 19982300"/>
                <a:gd name="connsiteY54" fmla="*/ 2857035 h 15035524"/>
                <a:gd name="connsiteX55" fmla="*/ 14259509 w 19982300"/>
                <a:gd name="connsiteY55" fmla="*/ 2287434 h 15035524"/>
                <a:gd name="connsiteX56" fmla="*/ 14892468 w 19982300"/>
                <a:gd name="connsiteY56" fmla="*/ 1645503 h 15035524"/>
                <a:gd name="connsiteX57" fmla="*/ 15778605 w 19982300"/>
                <a:gd name="connsiteY57" fmla="*/ 1093983 h 15035524"/>
                <a:gd name="connsiteX58" fmla="*/ 16022739 w 19982300"/>
                <a:gd name="connsiteY58" fmla="*/ 1564133 h 15035524"/>
                <a:gd name="connsiteX59" fmla="*/ 16556232 w 19982300"/>
                <a:gd name="connsiteY59" fmla="*/ 2142785 h 15035524"/>
                <a:gd name="connsiteX60" fmla="*/ 17406193 w 19982300"/>
                <a:gd name="connsiteY60" fmla="*/ 1292897 h 15035524"/>
                <a:gd name="connsiteX61" fmla="*/ 18120524 w 19982300"/>
                <a:gd name="connsiteY61" fmla="*/ 714260 h 15035524"/>
                <a:gd name="connsiteX62" fmla="*/ 18744437 w 19982300"/>
                <a:gd name="connsiteY62" fmla="*/ -1 h 15035524"/>
                <a:gd name="connsiteX63" fmla="*/ 19982300 w 19982300"/>
                <a:gd name="connsiteY63" fmla="*/ 343465 h 15035524"/>
                <a:gd name="connsiteX64" fmla="*/ 19837609 w 19982300"/>
                <a:gd name="connsiteY64" fmla="*/ 1121173 h 15035524"/>
                <a:gd name="connsiteX65" fmla="*/ 5820656 w 19982300"/>
                <a:gd name="connsiteY65" fmla="*/ 12276045 h 15035524"/>
                <a:gd name="connsiteX66" fmla="*/ 13844296 w 19982300"/>
                <a:gd name="connsiteY66" fmla="*/ 6156232 h 15035524"/>
                <a:gd name="connsiteX67" fmla="*/ 13886291 w 19982300"/>
                <a:gd name="connsiteY67" fmla="*/ 5321864 h 15035524"/>
                <a:gd name="connsiteX68" fmla="*/ 14370431 w 19982300"/>
                <a:gd name="connsiteY68" fmla="*/ 5830216 h 15035524"/>
                <a:gd name="connsiteX69" fmla="*/ 15323320 w 19982300"/>
                <a:gd name="connsiteY69" fmla="*/ 5928489 h 15035524"/>
                <a:gd name="connsiteX70" fmla="*/ 16350939 w 19982300"/>
                <a:gd name="connsiteY70" fmla="*/ 6053348 h 15035524"/>
                <a:gd name="connsiteX71" fmla="*/ 16362364 w 19982300"/>
                <a:gd name="connsiteY71" fmla="*/ 6360628 h 15035524"/>
                <a:gd name="connsiteX72" fmla="*/ 16682563 w 19982300"/>
                <a:gd name="connsiteY72" fmla="*/ 6798531 h 15035524"/>
                <a:gd name="connsiteX0" fmla="*/ 16682563 w 19982300"/>
                <a:gd name="connsiteY0" fmla="*/ 6798531 h 15035524"/>
                <a:gd name="connsiteX1" fmla="*/ 16432262 w 19982300"/>
                <a:gd name="connsiteY1" fmla="*/ 7825917 h 15035524"/>
                <a:gd name="connsiteX2" fmla="*/ 16106317 w 19982300"/>
                <a:gd name="connsiteY2" fmla="*/ 8367221 h 15035524"/>
                <a:gd name="connsiteX3" fmla="*/ 16305649 w 19982300"/>
                <a:gd name="connsiteY3" fmla="*/ 8754550 h 15035524"/>
                <a:gd name="connsiteX4" fmla="*/ 16287189 w 19982300"/>
                <a:gd name="connsiteY4" fmla="*/ 9151157 h 15035524"/>
                <a:gd name="connsiteX5" fmla="*/ 16372801 w 19982300"/>
                <a:gd name="connsiteY5" fmla="*/ 9717422 h 15035524"/>
                <a:gd name="connsiteX6" fmla="*/ 16070155 w 19982300"/>
                <a:gd name="connsiteY6" fmla="*/ 9937808 h 15035524"/>
                <a:gd name="connsiteX7" fmla="*/ 15805690 w 19982300"/>
                <a:gd name="connsiteY7" fmla="*/ 10431999 h 15035524"/>
                <a:gd name="connsiteX8" fmla="*/ 15195097 w 19982300"/>
                <a:gd name="connsiteY8" fmla="*/ 10093742 h 15035524"/>
                <a:gd name="connsiteX9" fmla="*/ 15011380 w 19982300"/>
                <a:gd name="connsiteY9" fmla="*/ 11048592 h 15035524"/>
                <a:gd name="connsiteX10" fmla="*/ 14908430 w 19982300"/>
                <a:gd name="connsiteY10" fmla="*/ 11937487 h 15035524"/>
                <a:gd name="connsiteX11" fmla="*/ 14904684 w 19982300"/>
                <a:gd name="connsiteY11" fmla="*/ 12760926 h 15035524"/>
                <a:gd name="connsiteX12" fmla="*/ 14929927 w 19982300"/>
                <a:gd name="connsiteY12" fmla="*/ 14391846 h 15035524"/>
                <a:gd name="connsiteX13" fmla="*/ 12952786 w 19982300"/>
                <a:gd name="connsiteY13" fmla="*/ 14842599 h 15035524"/>
                <a:gd name="connsiteX14" fmla="*/ 11934663 w 19982300"/>
                <a:gd name="connsiteY14" fmla="*/ 14890849 h 15035524"/>
                <a:gd name="connsiteX15" fmla="*/ 8506848 w 19982300"/>
                <a:gd name="connsiteY15" fmla="*/ 15035524 h 15035524"/>
                <a:gd name="connsiteX16" fmla="*/ 7985095 w 19982300"/>
                <a:gd name="connsiteY16" fmla="*/ 14390442 h 15035524"/>
                <a:gd name="connsiteX17" fmla="*/ 7400308 w 19982300"/>
                <a:gd name="connsiteY17" fmla="*/ 14360297 h 15035524"/>
                <a:gd name="connsiteX18" fmla="*/ 6972273 w 19982300"/>
                <a:gd name="connsiteY18" fmla="*/ 14631594 h 15035524"/>
                <a:gd name="connsiteX19" fmla="*/ 5181729 w 19982300"/>
                <a:gd name="connsiteY19" fmla="*/ 14547195 h 15035524"/>
                <a:gd name="connsiteX20" fmla="*/ 4397998 w 19982300"/>
                <a:gd name="connsiteY20" fmla="*/ 13914178 h 15035524"/>
                <a:gd name="connsiteX21" fmla="*/ 2908896 w 19982300"/>
                <a:gd name="connsiteY21" fmla="*/ 13106324 h 15035524"/>
                <a:gd name="connsiteX22" fmla="*/ 1263043 w 19982300"/>
                <a:gd name="connsiteY22" fmla="*/ 12394931 h 15035524"/>
                <a:gd name="connsiteX23" fmla="*/ 485320 w 19982300"/>
                <a:gd name="connsiteY23" fmla="*/ 11942774 h 15035524"/>
                <a:gd name="connsiteX24" fmla="*/ 0 w 19982300"/>
                <a:gd name="connsiteY24" fmla="*/ 11649662 h 15035524"/>
                <a:gd name="connsiteX25" fmla="*/ 1003686 w 19982300"/>
                <a:gd name="connsiteY25" fmla="*/ 10903697 h 15035524"/>
                <a:gd name="connsiteX26" fmla="*/ 2902551 w 19982300"/>
                <a:gd name="connsiteY26" fmla="*/ 9719298 h 15035524"/>
                <a:gd name="connsiteX27" fmla="*/ 2558940 w 19982300"/>
                <a:gd name="connsiteY27" fmla="*/ 9185867 h 15035524"/>
                <a:gd name="connsiteX28" fmla="*/ 2402508 w 19982300"/>
                <a:gd name="connsiteY28" fmla="*/ 8498784 h 15035524"/>
                <a:gd name="connsiteX29" fmla="*/ 2730740 w 19982300"/>
                <a:gd name="connsiteY29" fmla="*/ 8471613 h 15035524"/>
                <a:gd name="connsiteX30" fmla="*/ 2947754 w 19982300"/>
                <a:gd name="connsiteY30" fmla="*/ 8001468 h 15035524"/>
                <a:gd name="connsiteX31" fmla="*/ 3499325 w 19982300"/>
                <a:gd name="connsiteY31" fmla="*/ 7558451 h 15035524"/>
                <a:gd name="connsiteX32" fmla="*/ 3680166 w 19982300"/>
                <a:gd name="connsiteY32" fmla="*/ 6681453 h 15035524"/>
                <a:gd name="connsiteX33" fmla="*/ 4186528 w 19982300"/>
                <a:gd name="connsiteY33" fmla="*/ 6690489 h 15035524"/>
                <a:gd name="connsiteX34" fmla="*/ 4837569 w 19982300"/>
                <a:gd name="connsiteY34" fmla="*/ 7160639 h 15035524"/>
                <a:gd name="connsiteX35" fmla="*/ 5352976 w 19982300"/>
                <a:gd name="connsiteY35" fmla="*/ 7079272 h 15035524"/>
                <a:gd name="connsiteX36" fmla="*/ 5741786 w 19982300"/>
                <a:gd name="connsiteY36" fmla="*/ 6708577 h 15035524"/>
                <a:gd name="connsiteX37" fmla="*/ 6157723 w 19982300"/>
                <a:gd name="connsiteY37" fmla="*/ 6545836 h 15035524"/>
                <a:gd name="connsiteX38" fmla="*/ 6745471 w 19982300"/>
                <a:gd name="connsiteY38" fmla="*/ 5976243 h 15035524"/>
                <a:gd name="connsiteX39" fmla="*/ 6890140 w 19982300"/>
                <a:gd name="connsiteY39" fmla="*/ 5126367 h 15035524"/>
                <a:gd name="connsiteX40" fmla="*/ 7568305 w 19982300"/>
                <a:gd name="connsiteY40" fmla="*/ 4556773 h 15035524"/>
                <a:gd name="connsiteX41" fmla="*/ 8137967 w 19982300"/>
                <a:gd name="connsiteY41" fmla="*/ 4113752 h 15035524"/>
                <a:gd name="connsiteX42" fmla="*/ 8463480 w 19982300"/>
                <a:gd name="connsiteY42" fmla="*/ 3309085 h 15035524"/>
                <a:gd name="connsiteX43" fmla="*/ 9024093 w 19982300"/>
                <a:gd name="connsiteY43" fmla="*/ 2956478 h 15035524"/>
                <a:gd name="connsiteX44" fmla="*/ 9675138 w 19982300"/>
                <a:gd name="connsiteY44" fmla="*/ 2603876 h 15035524"/>
                <a:gd name="connsiteX45" fmla="*/ 9558580 w 19982300"/>
                <a:gd name="connsiteY45" fmla="*/ 2055592 h 15035524"/>
                <a:gd name="connsiteX46" fmla="*/ 10353296 w 19982300"/>
                <a:gd name="connsiteY46" fmla="*/ 1383308 h 15035524"/>
                <a:gd name="connsiteX47" fmla="*/ 10832530 w 19982300"/>
                <a:gd name="connsiteY47" fmla="*/ 1310974 h 15035524"/>
                <a:gd name="connsiteX48" fmla="*/ 11058585 w 19982300"/>
                <a:gd name="connsiteY48" fmla="*/ 1763043 h 15035524"/>
                <a:gd name="connsiteX49" fmla="*/ 11411229 w 19982300"/>
                <a:gd name="connsiteY49" fmla="*/ 2142774 h 15035524"/>
                <a:gd name="connsiteX50" fmla="*/ 11998974 w 19982300"/>
                <a:gd name="connsiteY50" fmla="*/ 2224144 h 15035524"/>
                <a:gd name="connsiteX51" fmla="*/ 12315449 w 19982300"/>
                <a:gd name="connsiteY51" fmla="*/ 2884156 h 15035524"/>
                <a:gd name="connsiteX52" fmla="*/ 12785642 w 19982300"/>
                <a:gd name="connsiteY52" fmla="*/ 2703327 h 15035524"/>
                <a:gd name="connsiteX53" fmla="*/ 13671776 w 19982300"/>
                <a:gd name="connsiteY53" fmla="*/ 3155388 h 15035524"/>
                <a:gd name="connsiteX54" fmla="*/ 14123886 w 19982300"/>
                <a:gd name="connsiteY54" fmla="*/ 2857035 h 15035524"/>
                <a:gd name="connsiteX55" fmla="*/ 14259509 w 19982300"/>
                <a:gd name="connsiteY55" fmla="*/ 2287434 h 15035524"/>
                <a:gd name="connsiteX56" fmla="*/ 14892468 w 19982300"/>
                <a:gd name="connsiteY56" fmla="*/ 1645503 h 15035524"/>
                <a:gd name="connsiteX57" fmla="*/ 15778605 w 19982300"/>
                <a:gd name="connsiteY57" fmla="*/ 1093983 h 15035524"/>
                <a:gd name="connsiteX58" fmla="*/ 16022739 w 19982300"/>
                <a:gd name="connsiteY58" fmla="*/ 1564133 h 15035524"/>
                <a:gd name="connsiteX59" fmla="*/ 16556232 w 19982300"/>
                <a:gd name="connsiteY59" fmla="*/ 2142785 h 15035524"/>
                <a:gd name="connsiteX60" fmla="*/ 17406193 w 19982300"/>
                <a:gd name="connsiteY60" fmla="*/ 1292897 h 15035524"/>
                <a:gd name="connsiteX61" fmla="*/ 18120524 w 19982300"/>
                <a:gd name="connsiteY61" fmla="*/ 714260 h 15035524"/>
                <a:gd name="connsiteX62" fmla="*/ 18744437 w 19982300"/>
                <a:gd name="connsiteY62" fmla="*/ -1 h 15035524"/>
                <a:gd name="connsiteX63" fmla="*/ 19982300 w 19982300"/>
                <a:gd name="connsiteY63" fmla="*/ 343465 h 15035524"/>
                <a:gd name="connsiteX64" fmla="*/ 19837609 w 19982300"/>
                <a:gd name="connsiteY64" fmla="*/ 1121173 h 15035524"/>
                <a:gd name="connsiteX65" fmla="*/ 12868275 w 19982300"/>
                <a:gd name="connsiteY65" fmla="*/ 6758067 h 15035524"/>
                <a:gd name="connsiteX66" fmla="*/ 13844296 w 19982300"/>
                <a:gd name="connsiteY66" fmla="*/ 6156232 h 15035524"/>
                <a:gd name="connsiteX67" fmla="*/ 13886291 w 19982300"/>
                <a:gd name="connsiteY67" fmla="*/ 5321864 h 15035524"/>
                <a:gd name="connsiteX68" fmla="*/ 14370431 w 19982300"/>
                <a:gd name="connsiteY68" fmla="*/ 5830216 h 15035524"/>
                <a:gd name="connsiteX69" fmla="*/ 15323320 w 19982300"/>
                <a:gd name="connsiteY69" fmla="*/ 5928489 h 15035524"/>
                <a:gd name="connsiteX70" fmla="*/ 16350939 w 19982300"/>
                <a:gd name="connsiteY70" fmla="*/ 6053348 h 15035524"/>
                <a:gd name="connsiteX71" fmla="*/ 16362364 w 19982300"/>
                <a:gd name="connsiteY71" fmla="*/ 6360628 h 15035524"/>
                <a:gd name="connsiteX72" fmla="*/ 16682563 w 19982300"/>
                <a:gd name="connsiteY72" fmla="*/ 6798531 h 15035524"/>
                <a:gd name="connsiteX0" fmla="*/ 16682563 w 19982300"/>
                <a:gd name="connsiteY0" fmla="*/ 6798531 h 15035524"/>
                <a:gd name="connsiteX1" fmla="*/ 16432262 w 19982300"/>
                <a:gd name="connsiteY1" fmla="*/ 7825917 h 15035524"/>
                <a:gd name="connsiteX2" fmla="*/ 16106317 w 19982300"/>
                <a:gd name="connsiteY2" fmla="*/ 8367221 h 15035524"/>
                <a:gd name="connsiteX3" fmla="*/ 16305649 w 19982300"/>
                <a:gd name="connsiteY3" fmla="*/ 8754550 h 15035524"/>
                <a:gd name="connsiteX4" fmla="*/ 16287189 w 19982300"/>
                <a:gd name="connsiteY4" fmla="*/ 9151157 h 15035524"/>
                <a:gd name="connsiteX5" fmla="*/ 16372801 w 19982300"/>
                <a:gd name="connsiteY5" fmla="*/ 9717422 h 15035524"/>
                <a:gd name="connsiteX6" fmla="*/ 16070155 w 19982300"/>
                <a:gd name="connsiteY6" fmla="*/ 9937808 h 15035524"/>
                <a:gd name="connsiteX7" fmla="*/ 15805690 w 19982300"/>
                <a:gd name="connsiteY7" fmla="*/ 10431999 h 15035524"/>
                <a:gd name="connsiteX8" fmla="*/ 15195097 w 19982300"/>
                <a:gd name="connsiteY8" fmla="*/ 10093742 h 15035524"/>
                <a:gd name="connsiteX9" fmla="*/ 15011380 w 19982300"/>
                <a:gd name="connsiteY9" fmla="*/ 11048592 h 15035524"/>
                <a:gd name="connsiteX10" fmla="*/ 14908430 w 19982300"/>
                <a:gd name="connsiteY10" fmla="*/ 11937487 h 15035524"/>
                <a:gd name="connsiteX11" fmla="*/ 14904684 w 19982300"/>
                <a:gd name="connsiteY11" fmla="*/ 12760926 h 15035524"/>
                <a:gd name="connsiteX12" fmla="*/ 14929927 w 19982300"/>
                <a:gd name="connsiteY12" fmla="*/ 14391846 h 15035524"/>
                <a:gd name="connsiteX13" fmla="*/ 12952786 w 19982300"/>
                <a:gd name="connsiteY13" fmla="*/ 14842599 h 15035524"/>
                <a:gd name="connsiteX14" fmla="*/ 11934663 w 19982300"/>
                <a:gd name="connsiteY14" fmla="*/ 14890849 h 15035524"/>
                <a:gd name="connsiteX15" fmla="*/ 8506848 w 19982300"/>
                <a:gd name="connsiteY15" fmla="*/ 15035524 h 15035524"/>
                <a:gd name="connsiteX16" fmla="*/ 7985095 w 19982300"/>
                <a:gd name="connsiteY16" fmla="*/ 14390442 h 15035524"/>
                <a:gd name="connsiteX17" fmla="*/ 7400308 w 19982300"/>
                <a:gd name="connsiteY17" fmla="*/ 14360297 h 15035524"/>
                <a:gd name="connsiteX18" fmla="*/ 6972273 w 19982300"/>
                <a:gd name="connsiteY18" fmla="*/ 14631594 h 15035524"/>
                <a:gd name="connsiteX19" fmla="*/ 5181729 w 19982300"/>
                <a:gd name="connsiteY19" fmla="*/ 14547195 h 15035524"/>
                <a:gd name="connsiteX20" fmla="*/ 4397998 w 19982300"/>
                <a:gd name="connsiteY20" fmla="*/ 13914178 h 15035524"/>
                <a:gd name="connsiteX21" fmla="*/ 2908896 w 19982300"/>
                <a:gd name="connsiteY21" fmla="*/ 13106324 h 15035524"/>
                <a:gd name="connsiteX22" fmla="*/ 1263043 w 19982300"/>
                <a:gd name="connsiteY22" fmla="*/ 12394931 h 15035524"/>
                <a:gd name="connsiteX23" fmla="*/ 485320 w 19982300"/>
                <a:gd name="connsiteY23" fmla="*/ 11942774 h 15035524"/>
                <a:gd name="connsiteX24" fmla="*/ 0 w 19982300"/>
                <a:gd name="connsiteY24" fmla="*/ 11649662 h 15035524"/>
                <a:gd name="connsiteX25" fmla="*/ 1003686 w 19982300"/>
                <a:gd name="connsiteY25" fmla="*/ 10903697 h 15035524"/>
                <a:gd name="connsiteX26" fmla="*/ 2902551 w 19982300"/>
                <a:gd name="connsiteY26" fmla="*/ 9719298 h 15035524"/>
                <a:gd name="connsiteX27" fmla="*/ 2558940 w 19982300"/>
                <a:gd name="connsiteY27" fmla="*/ 9185867 h 15035524"/>
                <a:gd name="connsiteX28" fmla="*/ 2402508 w 19982300"/>
                <a:gd name="connsiteY28" fmla="*/ 8498784 h 15035524"/>
                <a:gd name="connsiteX29" fmla="*/ 2730740 w 19982300"/>
                <a:gd name="connsiteY29" fmla="*/ 8471613 h 15035524"/>
                <a:gd name="connsiteX30" fmla="*/ 2947754 w 19982300"/>
                <a:gd name="connsiteY30" fmla="*/ 8001468 h 15035524"/>
                <a:gd name="connsiteX31" fmla="*/ 3499325 w 19982300"/>
                <a:gd name="connsiteY31" fmla="*/ 7558451 h 15035524"/>
                <a:gd name="connsiteX32" fmla="*/ 3680166 w 19982300"/>
                <a:gd name="connsiteY32" fmla="*/ 6681453 h 15035524"/>
                <a:gd name="connsiteX33" fmla="*/ 4186528 w 19982300"/>
                <a:gd name="connsiteY33" fmla="*/ 6690489 h 15035524"/>
                <a:gd name="connsiteX34" fmla="*/ 4837569 w 19982300"/>
                <a:gd name="connsiteY34" fmla="*/ 7160639 h 15035524"/>
                <a:gd name="connsiteX35" fmla="*/ 5352976 w 19982300"/>
                <a:gd name="connsiteY35" fmla="*/ 7079272 h 15035524"/>
                <a:gd name="connsiteX36" fmla="*/ 5741786 w 19982300"/>
                <a:gd name="connsiteY36" fmla="*/ 6708577 h 15035524"/>
                <a:gd name="connsiteX37" fmla="*/ 6157723 w 19982300"/>
                <a:gd name="connsiteY37" fmla="*/ 6545836 h 15035524"/>
                <a:gd name="connsiteX38" fmla="*/ 6745471 w 19982300"/>
                <a:gd name="connsiteY38" fmla="*/ 5976243 h 15035524"/>
                <a:gd name="connsiteX39" fmla="*/ 6890140 w 19982300"/>
                <a:gd name="connsiteY39" fmla="*/ 5126367 h 15035524"/>
                <a:gd name="connsiteX40" fmla="*/ 7568305 w 19982300"/>
                <a:gd name="connsiteY40" fmla="*/ 4556773 h 15035524"/>
                <a:gd name="connsiteX41" fmla="*/ 8137967 w 19982300"/>
                <a:gd name="connsiteY41" fmla="*/ 4113752 h 15035524"/>
                <a:gd name="connsiteX42" fmla="*/ 8463480 w 19982300"/>
                <a:gd name="connsiteY42" fmla="*/ 3309085 h 15035524"/>
                <a:gd name="connsiteX43" fmla="*/ 9024093 w 19982300"/>
                <a:gd name="connsiteY43" fmla="*/ 2956478 h 15035524"/>
                <a:gd name="connsiteX44" fmla="*/ 9675138 w 19982300"/>
                <a:gd name="connsiteY44" fmla="*/ 2603876 h 15035524"/>
                <a:gd name="connsiteX45" fmla="*/ 9558580 w 19982300"/>
                <a:gd name="connsiteY45" fmla="*/ 2055592 h 15035524"/>
                <a:gd name="connsiteX46" fmla="*/ 10353296 w 19982300"/>
                <a:gd name="connsiteY46" fmla="*/ 1383308 h 15035524"/>
                <a:gd name="connsiteX47" fmla="*/ 10832530 w 19982300"/>
                <a:gd name="connsiteY47" fmla="*/ 1310974 h 15035524"/>
                <a:gd name="connsiteX48" fmla="*/ 11058585 w 19982300"/>
                <a:gd name="connsiteY48" fmla="*/ 1763043 h 15035524"/>
                <a:gd name="connsiteX49" fmla="*/ 11411229 w 19982300"/>
                <a:gd name="connsiteY49" fmla="*/ 2142774 h 15035524"/>
                <a:gd name="connsiteX50" fmla="*/ 11998974 w 19982300"/>
                <a:gd name="connsiteY50" fmla="*/ 2224144 h 15035524"/>
                <a:gd name="connsiteX51" fmla="*/ 12315449 w 19982300"/>
                <a:gd name="connsiteY51" fmla="*/ 2884156 h 15035524"/>
                <a:gd name="connsiteX52" fmla="*/ 12785642 w 19982300"/>
                <a:gd name="connsiteY52" fmla="*/ 2703327 h 15035524"/>
                <a:gd name="connsiteX53" fmla="*/ 13671776 w 19982300"/>
                <a:gd name="connsiteY53" fmla="*/ 3155388 h 15035524"/>
                <a:gd name="connsiteX54" fmla="*/ 14123886 w 19982300"/>
                <a:gd name="connsiteY54" fmla="*/ 2857035 h 15035524"/>
                <a:gd name="connsiteX55" fmla="*/ 14259509 w 19982300"/>
                <a:gd name="connsiteY55" fmla="*/ 2287434 h 15035524"/>
                <a:gd name="connsiteX56" fmla="*/ 14892468 w 19982300"/>
                <a:gd name="connsiteY56" fmla="*/ 1645503 h 15035524"/>
                <a:gd name="connsiteX57" fmla="*/ 15778605 w 19982300"/>
                <a:gd name="connsiteY57" fmla="*/ 1093983 h 15035524"/>
                <a:gd name="connsiteX58" fmla="*/ 16022739 w 19982300"/>
                <a:gd name="connsiteY58" fmla="*/ 1564133 h 15035524"/>
                <a:gd name="connsiteX59" fmla="*/ 16556232 w 19982300"/>
                <a:gd name="connsiteY59" fmla="*/ 2142785 h 15035524"/>
                <a:gd name="connsiteX60" fmla="*/ 17406193 w 19982300"/>
                <a:gd name="connsiteY60" fmla="*/ 1292897 h 15035524"/>
                <a:gd name="connsiteX61" fmla="*/ 18120524 w 19982300"/>
                <a:gd name="connsiteY61" fmla="*/ 714260 h 15035524"/>
                <a:gd name="connsiteX62" fmla="*/ 18744437 w 19982300"/>
                <a:gd name="connsiteY62" fmla="*/ -1 h 15035524"/>
                <a:gd name="connsiteX63" fmla="*/ 19982300 w 19982300"/>
                <a:gd name="connsiteY63" fmla="*/ 343465 h 15035524"/>
                <a:gd name="connsiteX64" fmla="*/ 9926023 w 19982300"/>
                <a:gd name="connsiteY64" fmla="*/ 5238645 h 15035524"/>
                <a:gd name="connsiteX65" fmla="*/ 12868275 w 19982300"/>
                <a:gd name="connsiteY65" fmla="*/ 6758067 h 15035524"/>
                <a:gd name="connsiteX66" fmla="*/ 13844296 w 19982300"/>
                <a:gd name="connsiteY66" fmla="*/ 6156232 h 15035524"/>
                <a:gd name="connsiteX67" fmla="*/ 13886291 w 19982300"/>
                <a:gd name="connsiteY67" fmla="*/ 5321864 h 15035524"/>
                <a:gd name="connsiteX68" fmla="*/ 14370431 w 19982300"/>
                <a:gd name="connsiteY68" fmla="*/ 5830216 h 15035524"/>
                <a:gd name="connsiteX69" fmla="*/ 15323320 w 19982300"/>
                <a:gd name="connsiteY69" fmla="*/ 5928489 h 15035524"/>
                <a:gd name="connsiteX70" fmla="*/ 16350939 w 19982300"/>
                <a:gd name="connsiteY70" fmla="*/ 6053348 h 15035524"/>
                <a:gd name="connsiteX71" fmla="*/ 16362364 w 19982300"/>
                <a:gd name="connsiteY71" fmla="*/ 6360628 h 15035524"/>
                <a:gd name="connsiteX72" fmla="*/ 16682563 w 19982300"/>
                <a:gd name="connsiteY72" fmla="*/ 6798531 h 15035524"/>
                <a:gd name="connsiteX0" fmla="*/ 16682563 w 19982300"/>
                <a:gd name="connsiteY0" fmla="*/ 6798531 h 15035524"/>
                <a:gd name="connsiteX1" fmla="*/ 16432262 w 19982300"/>
                <a:gd name="connsiteY1" fmla="*/ 7825917 h 15035524"/>
                <a:gd name="connsiteX2" fmla="*/ 16106317 w 19982300"/>
                <a:gd name="connsiteY2" fmla="*/ 8367221 h 15035524"/>
                <a:gd name="connsiteX3" fmla="*/ 16305649 w 19982300"/>
                <a:gd name="connsiteY3" fmla="*/ 8754550 h 15035524"/>
                <a:gd name="connsiteX4" fmla="*/ 16287189 w 19982300"/>
                <a:gd name="connsiteY4" fmla="*/ 9151157 h 15035524"/>
                <a:gd name="connsiteX5" fmla="*/ 16372801 w 19982300"/>
                <a:gd name="connsiteY5" fmla="*/ 9717422 h 15035524"/>
                <a:gd name="connsiteX6" fmla="*/ 16070155 w 19982300"/>
                <a:gd name="connsiteY6" fmla="*/ 9937808 h 15035524"/>
                <a:gd name="connsiteX7" fmla="*/ 15805690 w 19982300"/>
                <a:gd name="connsiteY7" fmla="*/ 10431999 h 15035524"/>
                <a:gd name="connsiteX8" fmla="*/ 15195097 w 19982300"/>
                <a:gd name="connsiteY8" fmla="*/ 10093742 h 15035524"/>
                <a:gd name="connsiteX9" fmla="*/ 15011380 w 19982300"/>
                <a:gd name="connsiteY9" fmla="*/ 11048592 h 15035524"/>
                <a:gd name="connsiteX10" fmla="*/ 14908430 w 19982300"/>
                <a:gd name="connsiteY10" fmla="*/ 11937487 h 15035524"/>
                <a:gd name="connsiteX11" fmla="*/ 14904684 w 19982300"/>
                <a:gd name="connsiteY11" fmla="*/ 12760926 h 15035524"/>
                <a:gd name="connsiteX12" fmla="*/ 14929927 w 19982300"/>
                <a:gd name="connsiteY12" fmla="*/ 14391846 h 15035524"/>
                <a:gd name="connsiteX13" fmla="*/ 12952786 w 19982300"/>
                <a:gd name="connsiteY13" fmla="*/ 14842599 h 15035524"/>
                <a:gd name="connsiteX14" fmla="*/ 11934663 w 19982300"/>
                <a:gd name="connsiteY14" fmla="*/ 14890849 h 15035524"/>
                <a:gd name="connsiteX15" fmla="*/ 8506848 w 19982300"/>
                <a:gd name="connsiteY15" fmla="*/ 15035524 h 15035524"/>
                <a:gd name="connsiteX16" fmla="*/ 7985095 w 19982300"/>
                <a:gd name="connsiteY16" fmla="*/ 14390442 h 15035524"/>
                <a:gd name="connsiteX17" fmla="*/ 7400308 w 19982300"/>
                <a:gd name="connsiteY17" fmla="*/ 14360297 h 15035524"/>
                <a:gd name="connsiteX18" fmla="*/ 6972273 w 19982300"/>
                <a:gd name="connsiteY18" fmla="*/ 14631594 h 15035524"/>
                <a:gd name="connsiteX19" fmla="*/ 5181729 w 19982300"/>
                <a:gd name="connsiteY19" fmla="*/ 14547195 h 15035524"/>
                <a:gd name="connsiteX20" fmla="*/ 4397998 w 19982300"/>
                <a:gd name="connsiteY20" fmla="*/ 13914178 h 15035524"/>
                <a:gd name="connsiteX21" fmla="*/ 2908896 w 19982300"/>
                <a:gd name="connsiteY21" fmla="*/ 13106324 h 15035524"/>
                <a:gd name="connsiteX22" fmla="*/ 1263043 w 19982300"/>
                <a:gd name="connsiteY22" fmla="*/ 12394931 h 15035524"/>
                <a:gd name="connsiteX23" fmla="*/ 485320 w 19982300"/>
                <a:gd name="connsiteY23" fmla="*/ 11942774 h 15035524"/>
                <a:gd name="connsiteX24" fmla="*/ 0 w 19982300"/>
                <a:gd name="connsiteY24" fmla="*/ 11649662 h 15035524"/>
                <a:gd name="connsiteX25" fmla="*/ 1003686 w 19982300"/>
                <a:gd name="connsiteY25" fmla="*/ 10903697 h 15035524"/>
                <a:gd name="connsiteX26" fmla="*/ 2902551 w 19982300"/>
                <a:gd name="connsiteY26" fmla="*/ 9719298 h 15035524"/>
                <a:gd name="connsiteX27" fmla="*/ 2558940 w 19982300"/>
                <a:gd name="connsiteY27" fmla="*/ 9185867 h 15035524"/>
                <a:gd name="connsiteX28" fmla="*/ 2402508 w 19982300"/>
                <a:gd name="connsiteY28" fmla="*/ 8498784 h 15035524"/>
                <a:gd name="connsiteX29" fmla="*/ 2730740 w 19982300"/>
                <a:gd name="connsiteY29" fmla="*/ 8471613 h 15035524"/>
                <a:gd name="connsiteX30" fmla="*/ 2947754 w 19982300"/>
                <a:gd name="connsiteY30" fmla="*/ 8001468 h 15035524"/>
                <a:gd name="connsiteX31" fmla="*/ 3499325 w 19982300"/>
                <a:gd name="connsiteY31" fmla="*/ 7558451 h 15035524"/>
                <a:gd name="connsiteX32" fmla="*/ 3680166 w 19982300"/>
                <a:gd name="connsiteY32" fmla="*/ 6681453 h 15035524"/>
                <a:gd name="connsiteX33" fmla="*/ 4186528 w 19982300"/>
                <a:gd name="connsiteY33" fmla="*/ 6690489 h 15035524"/>
                <a:gd name="connsiteX34" fmla="*/ 4837569 w 19982300"/>
                <a:gd name="connsiteY34" fmla="*/ 7160639 h 15035524"/>
                <a:gd name="connsiteX35" fmla="*/ 5352976 w 19982300"/>
                <a:gd name="connsiteY35" fmla="*/ 7079272 h 15035524"/>
                <a:gd name="connsiteX36" fmla="*/ 5741786 w 19982300"/>
                <a:gd name="connsiteY36" fmla="*/ 6708577 h 15035524"/>
                <a:gd name="connsiteX37" fmla="*/ 6157723 w 19982300"/>
                <a:gd name="connsiteY37" fmla="*/ 6545836 h 15035524"/>
                <a:gd name="connsiteX38" fmla="*/ 6745471 w 19982300"/>
                <a:gd name="connsiteY38" fmla="*/ 5976243 h 15035524"/>
                <a:gd name="connsiteX39" fmla="*/ 6890140 w 19982300"/>
                <a:gd name="connsiteY39" fmla="*/ 5126367 h 15035524"/>
                <a:gd name="connsiteX40" fmla="*/ 7568305 w 19982300"/>
                <a:gd name="connsiteY40" fmla="*/ 4556773 h 15035524"/>
                <a:gd name="connsiteX41" fmla="*/ 8137967 w 19982300"/>
                <a:gd name="connsiteY41" fmla="*/ 4113752 h 15035524"/>
                <a:gd name="connsiteX42" fmla="*/ 8463480 w 19982300"/>
                <a:gd name="connsiteY42" fmla="*/ 3309085 h 15035524"/>
                <a:gd name="connsiteX43" fmla="*/ 9024093 w 19982300"/>
                <a:gd name="connsiteY43" fmla="*/ 2956478 h 15035524"/>
                <a:gd name="connsiteX44" fmla="*/ 9675138 w 19982300"/>
                <a:gd name="connsiteY44" fmla="*/ 2603876 h 15035524"/>
                <a:gd name="connsiteX45" fmla="*/ 9558580 w 19982300"/>
                <a:gd name="connsiteY45" fmla="*/ 2055592 h 15035524"/>
                <a:gd name="connsiteX46" fmla="*/ 10353296 w 19982300"/>
                <a:gd name="connsiteY46" fmla="*/ 1383308 h 15035524"/>
                <a:gd name="connsiteX47" fmla="*/ 10832530 w 19982300"/>
                <a:gd name="connsiteY47" fmla="*/ 1310974 h 15035524"/>
                <a:gd name="connsiteX48" fmla="*/ 11058585 w 19982300"/>
                <a:gd name="connsiteY48" fmla="*/ 1763043 h 15035524"/>
                <a:gd name="connsiteX49" fmla="*/ 11411229 w 19982300"/>
                <a:gd name="connsiteY49" fmla="*/ 2142774 h 15035524"/>
                <a:gd name="connsiteX50" fmla="*/ 11998974 w 19982300"/>
                <a:gd name="connsiteY50" fmla="*/ 2224144 h 15035524"/>
                <a:gd name="connsiteX51" fmla="*/ 12315449 w 19982300"/>
                <a:gd name="connsiteY51" fmla="*/ 2884156 h 15035524"/>
                <a:gd name="connsiteX52" fmla="*/ 12785642 w 19982300"/>
                <a:gd name="connsiteY52" fmla="*/ 2703327 h 15035524"/>
                <a:gd name="connsiteX53" fmla="*/ 13671776 w 19982300"/>
                <a:gd name="connsiteY53" fmla="*/ 3155388 h 15035524"/>
                <a:gd name="connsiteX54" fmla="*/ 14123886 w 19982300"/>
                <a:gd name="connsiteY54" fmla="*/ 2857035 h 15035524"/>
                <a:gd name="connsiteX55" fmla="*/ 14259509 w 19982300"/>
                <a:gd name="connsiteY55" fmla="*/ 2287434 h 15035524"/>
                <a:gd name="connsiteX56" fmla="*/ 14892468 w 19982300"/>
                <a:gd name="connsiteY56" fmla="*/ 1645503 h 15035524"/>
                <a:gd name="connsiteX57" fmla="*/ 15778605 w 19982300"/>
                <a:gd name="connsiteY57" fmla="*/ 1093983 h 15035524"/>
                <a:gd name="connsiteX58" fmla="*/ 16022739 w 19982300"/>
                <a:gd name="connsiteY58" fmla="*/ 1564133 h 15035524"/>
                <a:gd name="connsiteX59" fmla="*/ 16556232 w 19982300"/>
                <a:gd name="connsiteY59" fmla="*/ 2142785 h 15035524"/>
                <a:gd name="connsiteX60" fmla="*/ 17406193 w 19982300"/>
                <a:gd name="connsiteY60" fmla="*/ 1292897 h 15035524"/>
                <a:gd name="connsiteX61" fmla="*/ 18120524 w 19982300"/>
                <a:gd name="connsiteY61" fmla="*/ 714260 h 15035524"/>
                <a:gd name="connsiteX62" fmla="*/ 18744437 w 19982300"/>
                <a:gd name="connsiteY62" fmla="*/ -1 h 15035524"/>
                <a:gd name="connsiteX63" fmla="*/ 19982300 w 19982300"/>
                <a:gd name="connsiteY63" fmla="*/ 343465 h 15035524"/>
                <a:gd name="connsiteX64" fmla="*/ 8353647 w 19982300"/>
                <a:gd name="connsiteY64" fmla="*/ 9412143 h 15035524"/>
                <a:gd name="connsiteX65" fmla="*/ 12868275 w 19982300"/>
                <a:gd name="connsiteY65" fmla="*/ 6758067 h 15035524"/>
                <a:gd name="connsiteX66" fmla="*/ 13844296 w 19982300"/>
                <a:gd name="connsiteY66" fmla="*/ 6156232 h 15035524"/>
                <a:gd name="connsiteX67" fmla="*/ 13886291 w 19982300"/>
                <a:gd name="connsiteY67" fmla="*/ 5321864 h 15035524"/>
                <a:gd name="connsiteX68" fmla="*/ 14370431 w 19982300"/>
                <a:gd name="connsiteY68" fmla="*/ 5830216 h 15035524"/>
                <a:gd name="connsiteX69" fmla="*/ 15323320 w 19982300"/>
                <a:gd name="connsiteY69" fmla="*/ 5928489 h 15035524"/>
                <a:gd name="connsiteX70" fmla="*/ 16350939 w 19982300"/>
                <a:gd name="connsiteY70" fmla="*/ 6053348 h 15035524"/>
                <a:gd name="connsiteX71" fmla="*/ 16362364 w 19982300"/>
                <a:gd name="connsiteY71" fmla="*/ 6360628 h 15035524"/>
                <a:gd name="connsiteX72" fmla="*/ 16682563 w 19982300"/>
                <a:gd name="connsiteY72" fmla="*/ 6798531 h 15035524"/>
                <a:gd name="connsiteX0" fmla="*/ 16682563 w 19982300"/>
                <a:gd name="connsiteY0" fmla="*/ 6798531 h 15035524"/>
                <a:gd name="connsiteX1" fmla="*/ 16432262 w 19982300"/>
                <a:gd name="connsiteY1" fmla="*/ 7825917 h 15035524"/>
                <a:gd name="connsiteX2" fmla="*/ 16106317 w 19982300"/>
                <a:gd name="connsiteY2" fmla="*/ 8367221 h 15035524"/>
                <a:gd name="connsiteX3" fmla="*/ 16305649 w 19982300"/>
                <a:gd name="connsiteY3" fmla="*/ 8754550 h 15035524"/>
                <a:gd name="connsiteX4" fmla="*/ 16287189 w 19982300"/>
                <a:gd name="connsiteY4" fmla="*/ 9151157 h 15035524"/>
                <a:gd name="connsiteX5" fmla="*/ 16372801 w 19982300"/>
                <a:gd name="connsiteY5" fmla="*/ 9717422 h 15035524"/>
                <a:gd name="connsiteX6" fmla="*/ 16070155 w 19982300"/>
                <a:gd name="connsiteY6" fmla="*/ 9937808 h 15035524"/>
                <a:gd name="connsiteX7" fmla="*/ 15805690 w 19982300"/>
                <a:gd name="connsiteY7" fmla="*/ 10431999 h 15035524"/>
                <a:gd name="connsiteX8" fmla="*/ 15195097 w 19982300"/>
                <a:gd name="connsiteY8" fmla="*/ 10093742 h 15035524"/>
                <a:gd name="connsiteX9" fmla="*/ 15011380 w 19982300"/>
                <a:gd name="connsiteY9" fmla="*/ 11048592 h 15035524"/>
                <a:gd name="connsiteX10" fmla="*/ 14908430 w 19982300"/>
                <a:gd name="connsiteY10" fmla="*/ 11937487 h 15035524"/>
                <a:gd name="connsiteX11" fmla="*/ 14904684 w 19982300"/>
                <a:gd name="connsiteY11" fmla="*/ 12760926 h 15035524"/>
                <a:gd name="connsiteX12" fmla="*/ 14929927 w 19982300"/>
                <a:gd name="connsiteY12" fmla="*/ 14391846 h 15035524"/>
                <a:gd name="connsiteX13" fmla="*/ 12952786 w 19982300"/>
                <a:gd name="connsiteY13" fmla="*/ 14842599 h 15035524"/>
                <a:gd name="connsiteX14" fmla="*/ 11934663 w 19982300"/>
                <a:gd name="connsiteY14" fmla="*/ 14890849 h 15035524"/>
                <a:gd name="connsiteX15" fmla="*/ 8506848 w 19982300"/>
                <a:gd name="connsiteY15" fmla="*/ 15035524 h 15035524"/>
                <a:gd name="connsiteX16" fmla="*/ 7985095 w 19982300"/>
                <a:gd name="connsiteY16" fmla="*/ 14390442 h 15035524"/>
                <a:gd name="connsiteX17" fmla="*/ 7400308 w 19982300"/>
                <a:gd name="connsiteY17" fmla="*/ 14360297 h 15035524"/>
                <a:gd name="connsiteX18" fmla="*/ 6972273 w 19982300"/>
                <a:gd name="connsiteY18" fmla="*/ 14631594 h 15035524"/>
                <a:gd name="connsiteX19" fmla="*/ 5181729 w 19982300"/>
                <a:gd name="connsiteY19" fmla="*/ 14547195 h 15035524"/>
                <a:gd name="connsiteX20" fmla="*/ 4397998 w 19982300"/>
                <a:gd name="connsiteY20" fmla="*/ 13914178 h 15035524"/>
                <a:gd name="connsiteX21" fmla="*/ 2908896 w 19982300"/>
                <a:gd name="connsiteY21" fmla="*/ 13106324 h 15035524"/>
                <a:gd name="connsiteX22" fmla="*/ 1263043 w 19982300"/>
                <a:gd name="connsiteY22" fmla="*/ 12394931 h 15035524"/>
                <a:gd name="connsiteX23" fmla="*/ 485320 w 19982300"/>
                <a:gd name="connsiteY23" fmla="*/ 11942774 h 15035524"/>
                <a:gd name="connsiteX24" fmla="*/ 0 w 19982300"/>
                <a:gd name="connsiteY24" fmla="*/ 11649662 h 15035524"/>
                <a:gd name="connsiteX25" fmla="*/ 1003686 w 19982300"/>
                <a:gd name="connsiteY25" fmla="*/ 10903697 h 15035524"/>
                <a:gd name="connsiteX26" fmla="*/ 2902551 w 19982300"/>
                <a:gd name="connsiteY26" fmla="*/ 9719298 h 15035524"/>
                <a:gd name="connsiteX27" fmla="*/ 2558940 w 19982300"/>
                <a:gd name="connsiteY27" fmla="*/ 9185867 h 15035524"/>
                <a:gd name="connsiteX28" fmla="*/ 2402508 w 19982300"/>
                <a:gd name="connsiteY28" fmla="*/ 8498784 h 15035524"/>
                <a:gd name="connsiteX29" fmla="*/ 2730740 w 19982300"/>
                <a:gd name="connsiteY29" fmla="*/ 8471613 h 15035524"/>
                <a:gd name="connsiteX30" fmla="*/ 2947754 w 19982300"/>
                <a:gd name="connsiteY30" fmla="*/ 8001468 h 15035524"/>
                <a:gd name="connsiteX31" fmla="*/ 3499325 w 19982300"/>
                <a:gd name="connsiteY31" fmla="*/ 7558451 h 15035524"/>
                <a:gd name="connsiteX32" fmla="*/ 3680166 w 19982300"/>
                <a:gd name="connsiteY32" fmla="*/ 6681453 h 15035524"/>
                <a:gd name="connsiteX33" fmla="*/ 4186528 w 19982300"/>
                <a:gd name="connsiteY33" fmla="*/ 6690489 h 15035524"/>
                <a:gd name="connsiteX34" fmla="*/ 4837569 w 19982300"/>
                <a:gd name="connsiteY34" fmla="*/ 7160639 h 15035524"/>
                <a:gd name="connsiteX35" fmla="*/ 5352976 w 19982300"/>
                <a:gd name="connsiteY35" fmla="*/ 7079272 h 15035524"/>
                <a:gd name="connsiteX36" fmla="*/ 5741786 w 19982300"/>
                <a:gd name="connsiteY36" fmla="*/ 6708577 h 15035524"/>
                <a:gd name="connsiteX37" fmla="*/ 6157723 w 19982300"/>
                <a:gd name="connsiteY37" fmla="*/ 6545836 h 15035524"/>
                <a:gd name="connsiteX38" fmla="*/ 6745471 w 19982300"/>
                <a:gd name="connsiteY38" fmla="*/ 5976243 h 15035524"/>
                <a:gd name="connsiteX39" fmla="*/ 6890140 w 19982300"/>
                <a:gd name="connsiteY39" fmla="*/ 5126367 h 15035524"/>
                <a:gd name="connsiteX40" fmla="*/ 7568305 w 19982300"/>
                <a:gd name="connsiteY40" fmla="*/ 4556773 h 15035524"/>
                <a:gd name="connsiteX41" fmla="*/ 8137967 w 19982300"/>
                <a:gd name="connsiteY41" fmla="*/ 4113752 h 15035524"/>
                <a:gd name="connsiteX42" fmla="*/ 8463480 w 19982300"/>
                <a:gd name="connsiteY42" fmla="*/ 3309085 h 15035524"/>
                <a:gd name="connsiteX43" fmla="*/ 9024093 w 19982300"/>
                <a:gd name="connsiteY43" fmla="*/ 2956478 h 15035524"/>
                <a:gd name="connsiteX44" fmla="*/ 9675138 w 19982300"/>
                <a:gd name="connsiteY44" fmla="*/ 2603876 h 15035524"/>
                <a:gd name="connsiteX45" fmla="*/ 9558580 w 19982300"/>
                <a:gd name="connsiteY45" fmla="*/ 2055592 h 15035524"/>
                <a:gd name="connsiteX46" fmla="*/ 10353296 w 19982300"/>
                <a:gd name="connsiteY46" fmla="*/ 1383308 h 15035524"/>
                <a:gd name="connsiteX47" fmla="*/ 10832530 w 19982300"/>
                <a:gd name="connsiteY47" fmla="*/ 1310974 h 15035524"/>
                <a:gd name="connsiteX48" fmla="*/ 11058585 w 19982300"/>
                <a:gd name="connsiteY48" fmla="*/ 1763043 h 15035524"/>
                <a:gd name="connsiteX49" fmla="*/ 11411229 w 19982300"/>
                <a:gd name="connsiteY49" fmla="*/ 2142774 h 15035524"/>
                <a:gd name="connsiteX50" fmla="*/ 11998974 w 19982300"/>
                <a:gd name="connsiteY50" fmla="*/ 2224144 h 15035524"/>
                <a:gd name="connsiteX51" fmla="*/ 12315449 w 19982300"/>
                <a:gd name="connsiteY51" fmla="*/ 2884156 h 15035524"/>
                <a:gd name="connsiteX52" fmla="*/ 12785642 w 19982300"/>
                <a:gd name="connsiteY52" fmla="*/ 2703327 h 15035524"/>
                <a:gd name="connsiteX53" fmla="*/ 13671776 w 19982300"/>
                <a:gd name="connsiteY53" fmla="*/ 3155388 h 15035524"/>
                <a:gd name="connsiteX54" fmla="*/ 14123886 w 19982300"/>
                <a:gd name="connsiteY54" fmla="*/ 2857035 h 15035524"/>
                <a:gd name="connsiteX55" fmla="*/ 14259509 w 19982300"/>
                <a:gd name="connsiteY55" fmla="*/ 2287434 h 15035524"/>
                <a:gd name="connsiteX56" fmla="*/ 14892468 w 19982300"/>
                <a:gd name="connsiteY56" fmla="*/ 1645503 h 15035524"/>
                <a:gd name="connsiteX57" fmla="*/ 15778605 w 19982300"/>
                <a:gd name="connsiteY57" fmla="*/ 1093983 h 15035524"/>
                <a:gd name="connsiteX58" fmla="*/ 16022739 w 19982300"/>
                <a:gd name="connsiteY58" fmla="*/ 1564133 h 15035524"/>
                <a:gd name="connsiteX59" fmla="*/ 16556232 w 19982300"/>
                <a:gd name="connsiteY59" fmla="*/ 2142785 h 15035524"/>
                <a:gd name="connsiteX60" fmla="*/ 17406193 w 19982300"/>
                <a:gd name="connsiteY60" fmla="*/ 1292897 h 15035524"/>
                <a:gd name="connsiteX61" fmla="*/ 18120524 w 19982300"/>
                <a:gd name="connsiteY61" fmla="*/ 714260 h 15035524"/>
                <a:gd name="connsiteX62" fmla="*/ 18744437 w 19982300"/>
                <a:gd name="connsiteY62" fmla="*/ -1 h 15035524"/>
                <a:gd name="connsiteX63" fmla="*/ 19982300 w 19982300"/>
                <a:gd name="connsiteY63" fmla="*/ 343465 h 15035524"/>
                <a:gd name="connsiteX64" fmla="*/ 11919572 w 19982300"/>
                <a:gd name="connsiteY64" fmla="*/ 7003278 h 15035524"/>
                <a:gd name="connsiteX65" fmla="*/ 12868275 w 19982300"/>
                <a:gd name="connsiteY65" fmla="*/ 6758067 h 15035524"/>
                <a:gd name="connsiteX66" fmla="*/ 13844296 w 19982300"/>
                <a:gd name="connsiteY66" fmla="*/ 6156232 h 15035524"/>
                <a:gd name="connsiteX67" fmla="*/ 13886291 w 19982300"/>
                <a:gd name="connsiteY67" fmla="*/ 5321864 h 15035524"/>
                <a:gd name="connsiteX68" fmla="*/ 14370431 w 19982300"/>
                <a:gd name="connsiteY68" fmla="*/ 5830216 h 15035524"/>
                <a:gd name="connsiteX69" fmla="*/ 15323320 w 19982300"/>
                <a:gd name="connsiteY69" fmla="*/ 5928489 h 15035524"/>
                <a:gd name="connsiteX70" fmla="*/ 16350939 w 19982300"/>
                <a:gd name="connsiteY70" fmla="*/ 6053348 h 15035524"/>
                <a:gd name="connsiteX71" fmla="*/ 16362364 w 19982300"/>
                <a:gd name="connsiteY71" fmla="*/ 6360628 h 15035524"/>
                <a:gd name="connsiteX72" fmla="*/ 16682563 w 19982300"/>
                <a:gd name="connsiteY72" fmla="*/ 6798531 h 15035524"/>
                <a:gd name="connsiteX0" fmla="*/ 16682563 w 18744436"/>
                <a:gd name="connsiteY0" fmla="*/ 6798531 h 15035524"/>
                <a:gd name="connsiteX1" fmla="*/ 16432262 w 18744436"/>
                <a:gd name="connsiteY1" fmla="*/ 7825917 h 15035524"/>
                <a:gd name="connsiteX2" fmla="*/ 16106317 w 18744436"/>
                <a:gd name="connsiteY2" fmla="*/ 8367221 h 15035524"/>
                <a:gd name="connsiteX3" fmla="*/ 16305649 w 18744436"/>
                <a:gd name="connsiteY3" fmla="*/ 8754550 h 15035524"/>
                <a:gd name="connsiteX4" fmla="*/ 16287189 w 18744436"/>
                <a:gd name="connsiteY4" fmla="*/ 9151157 h 15035524"/>
                <a:gd name="connsiteX5" fmla="*/ 16372801 w 18744436"/>
                <a:gd name="connsiteY5" fmla="*/ 9717422 h 15035524"/>
                <a:gd name="connsiteX6" fmla="*/ 16070155 w 18744436"/>
                <a:gd name="connsiteY6" fmla="*/ 9937808 h 15035524"/>
                <a:gd name="connsiteX7" fmla="*/ 15805690 w 18744436"/>
                <a:gd name="connsiteY7" fmla="*/ 10431999 h 15035524"/>
                <a:gd name="connsiteX8" fmla="*/ 15195097 w 18744436"/>
                <a:gd name="connsiteY8" fmla="*/ 10093742 h 15035524"/>
                <a:gd name="connsiteX9" fmla="*/ 15011380 w 18744436"/>
                <a:gd name="connsiteY9" fmla="*/ 11048592 h 15035524"/>
                <a:gd name="connsiteX10" fmla="*/ 14908430 w 18744436"/>
                <a:gd name="connsiteY10" fmla="*/ 11937487 h 15035524"/>
                <a:gd name="connsiteX11" fmla="*/ 14904684 w 18744436"/>
                <a:gd name="connsiteY11" fmla="*/ 12760926 h 15035524"/>
                <a:gd name="connsiteX12" fmla="*/ 14929927 w 18744436"/>
                <a:gd name="connsiteY12" fmla="*/ 14391846 h 15035524"/>
                <a:gd name="connsiteX13" fmla="*/ 12952786 w 18744436"/>
                <a:gd name="connsiteY13" fmla="*/ 14842599 h 15035524"/>
                <a:gd name="connsiteX14" fmla="*/ 11934663 w 18744436"/>
                <a:gd name="connsiteY14" fmla="*/ 14890849 h 15035524"/>
                <a:gd name="connsiteX15" fmla="*/ 8506848 w 18744436"/>
                <a:gd name="connsiteY15" fmla="*/ 15035524 h 15035524"/>
                <a:gd name="connsiteX16" fmla="*/ 7985095 w 18744436"/>
                <a:gd name="connsiteY16" fmla="*/ 14390442 h 15035524"/>
                <a:gd name="connsiteX17" fmla="*/ 7400308 w 18744436"/>
                <a:gd name="connsiteY17" fmla="*/ 14360297 h 15035524"/>
                <a:gd name="connsiteX18" fmla="*/ 6972273 w 18744436"/>
                <a:gd name="connsiteY18" fmla="*/ 14631594 h 15035524"/>
                <a:gd name="connsiteX19" fmla="*/ 5181729 w 18744436"/>
                <a:gd name="connsiteY19" fmla="*/ 14547195 h 15035524"/>
                <a:gd name="connsiteX20" fmla="*/ 4397998 w 18744436"/>
                <a:gd name="connsiteY20" fmla="*/ 13914178 h 15035524"/>
                <a:gd name="connsiteX21" fmla="*/ 2908896 w 18744436"/>
                <a:gd name="connsiteY21" fmla="*/ 13106324 h 15035524"/>
                <a:gd name="connsiteX22" fmla="*/ 1263043 w 18744436"/>
                <a:gd name="connsiteY22" fmla="*/ 12394931 h 15035524"/>
                <a:gd name="connsiteX23" fmla="*/ 485320 w 18744436"/>
                <a:gd name="connsiteY23" fmla="*/ 11942774 h 15035524"/>
                <a:gd name="connsiteX24" fmla="*/ 0 w 18744436"/>
                <a:gd name="connsiteY24" fmla="*/ 11649662 h 15035524"/>
                <a:gd name="connsiteX25" fmla="*/ 1003686 w 18744436"/>
                <a:gd name="connsiteY25" fmla="*/ 10903697 h 15035524"/>
                <a:gd name="connsiteX26" fmla="*/ 2902551 w 18744436"/>
                <a:gd name="connsiteY26" fmla="*/ 9719298 h 15035524"/>
                <a:gd name="connsiteX27" fmla="*/ 2558940 w 18744436"/>
                <a:gd name="connsiteY27" fmla="*/ 9185867 h 15035524"/>
                <a:gd name="connsiteX28" fmla="*/ 2402508 w 18744436"/>
                <a:gd name="connsiteY28" fmla="*/ 8498784 h 15035524"/>
                <a:gd name="connsiteX29" fmla="*/ 2730740 w 18744436"/>
                <a:gd name="connsiteY29" fmla="*/ 8471613 h 15035524"/>
                <a:gd name="connsiteX30" fmla="*/ 2947754 w 18744436"/>
                <a:gd name="connsiteY30" fmla="*/ 8001468 h 15035524"/>
                <a:gd name="connsiteX31" fmla="*/ 3499325 w 18744436"/>
                <a:gd name="connsiteY31" fmla="*/ 7558451 h 15035524"/>
                <a:gd name="connsiteX32" fmla="*/ 3680166 w 18744436"/>
                <a:gd name="connsiteY32" fmla="*/ 6681453 h 15035524"/>
                <a:gd name="connsiteX33" fmla="*/ 4186528 w 18744436"/>
                <a:gd name="connsiteY33" fmla="*/ 6690489 h 15035524"/>
                <a:gd name="connsiteX34" fmla="*/ 4837569 w 18744436"/>
                <a:gd name="connsiteY34" fmla="*/ 7160639 h 15035524"/>
                <a:gd name="connsiteX35" fmla="*/ 5352976 w 18744436"/>
                <a:gd name="connsiteY35" fmla="*/ 7079272 h 15035524"/>
                <a:gd name="connsiteX36" fmla="*/ 5741786 w 18744436"/>
                <a:gd name="connsiteY36" fmla="*/ 6708577 h 15035524"/>
                <a:gd name="connsiteX37" fmla="*/ 6157723 w 18744436"/>
                <a:gd name="connsiteY37" fmla="*/ 6545836 h 15035524"/>
                <a:gd name="connsiteX38" fmla="*/ 6745471 w 18744436"/>
                <a:gd name="connsiteY38" fmla="*/ 5976243 h 15035524"/>
                <a:gd name="connsiteX39" fmla="*/ 6890140 w 18744436"/>
                <a:gd name="connsiteY39" fmla="*/ 5126367 h 15035524"/>
                <a:gd name="connsiteX40" fmla="*/ 7568305 w 18744436"/>
                <a:gd name="connsiteY40" fmla="*/ 4556773 h 15035524"/>
                <a:gd name="connsiteX41" fmla="*/ 8137967 w 18744436"/>
                <a:gd name="connsiteY41" fmla="*/ 4113752 h 15035524"/>
                <a:gd name="connsiteX42" fmla="*/ 8463480 w 18744436"/>
                <a:gd name="connsiteY42" fmla="*/ 3309085 h 15035524"/>
                <a:gd name="connsiteX43" fmla="*/ 9024093 w 18744436"/>
                <a:gd name="connsiteY43" fmla="*/ 2956478 h 15035524"/>
                <a:gd name="connsiteX44" fmla="*/ 9675138 w 18744436"/>
                <a:gd name="connsiteY44" fmla="*/ 2603876 h 15035524"/>
                <a:gd name="connsiteX45" fmla="*/ 9558580 w 18744436"/>
                <a:gd name="connsiteY45" fmla="*/ 2055592 h 15035524"/>
                <a:gd name="connsiteX46" fmla="*/ 10353296 w 18744436"/>
                <a:gd name="connsiteY46" fmla="*/ 1383308 h 15035524"/>
                <a:gd name="connsiteX47" fmla="*/ 10832530 w 18744436"/>
                <a:gd name="connsiteY47" fmla="*/ 1310974 h 15035524"/>
                <a:gd name="connsiteX48" fmla="*/ 11058585 w 18744436"/>
                <a:gd name="connsiteY48" fmla="*/ 1763043 h 15035524"/>
                <a:gd name="connsiteX49" fmla="*/ 11411229 w 18744436"/>
                <a:gd name="connsiteY49" fmla="*/ 2142774 h 15035524"/>
                <a:gd name="connsiteX50" fmla="*/ 11998974 w 18744436"/>
                <a:gd name="connsiteY50" fmla="*/ 2224144 h 15035524"/>
                <a:gd name="connsiteX51" fmla="*/ 12315449 w 18744436"/>
                <a:gd name="connsiteY51" fmla="*/ 2884156 h 15035524"/>
                <a:gd name="connsiteX52" fmla="*/ 12785642 w 18744436"/>
                <a:gd name="connsiteY52" fmla="*/ 2703327 h 15035524"/>
                <a:gd name="connsiteX53" fmla="*/ 13671776 w 18744436"/>
                <a:gd name="connsiteY53" fmla="*/ 3155388 h 15035524"/>
                <a:gd name="connsiteX54" fmla="*/ 14123886 w 18744436"/>
                <a:gd name="connsiteY54" fmla="*/ 2857035 h 15035524"/>
                <a:gd name="connsiteX55" fmla="*/ 14259509 w 18744436"/>
                <a:gd name="connsiteY55" fmla="*/ 2287434 h 15035524"/>
                <a:gd name="connsiteX56" fmla="*/ 14892468 w 18744436"/>
                <a:gd name="connsiteY56" fmla="*/ 1645503 h 15035524"/>
                <a:gd name="connsiteX57" fmla="*/ 15778605 w 18744436"/>
                <a:gd name="connsiteY57" fmla="*/ 1093983 h 15035524"/>
                <a:gd name="connsiteX58" fmla="*/ 16022739 w 18744436"/>
                <a:gd name="connsiteY58" fmla="*/ 1564133 h 15035524"/>
                <a:gd name="connsiteX59" fmla="*/ 16556232 w 18744436"/>
                <a:gd name="connsiteY59" fmla="*/ 2142785 h 15035524"/>
                <a:gd name="connsiteX60" fmla="*/ 17406193 w 18744436"/>
                <a:gd name="connsiteY60" fmla="*/ 1292897 h 15035524"/>
                <a:gd name="connsiteX61" fmla="*/ 18120524 w 18744436"/>
                <a:gd name="connsiteY61" fmla="*/ 714260 h 15035524"/>
                <a:gd name="connsiteX62" fmla="*/ 18744437 w 18744436"/>
                <a:gd name="connsiteY62" fmla="*/ -1 h 15035524"/>
                <a:gd name="connsiteX63" fmla="*/ 3500421 w 18744436"/>
                <a:gd name="connsiteY63" fmla="*/ 4096811 h 15035524"/>
                <a:gd name="connsiteX64" fmla="*/ 11919572 w 18744436"/>
                <a:gd name="connsiteY64" fmla="*/ 7003278 h 15035524"/>
                <a:gd name="connsiteX65" fmla="*/ 12868275 w 18744436"/>
                <a:gd name="connsiteY65" fmla="*/ 6758067 h 15035524"/>
                <a:gd name="connsiteX66" fmla="*/ 13844296 w 18744436"/>
                <a:gd name="connsiteY66" fmla="*/ 6156232 h 15035524"/>
                <a:gd name="connsiteX67" fmla="*/ 13886291 w 18744436"/>
                <a:gd name="connsiteY67" fmla="*/ 5321864 h 15035524"/>
                <a:gd name="connsiteX68" fmla="*/ 14370431 w 18744436"/>
                <a:gd name="connsiteY68" fmla="*/ 5830216 h 15035524"/>
                <a:gd name="connsiteX69" fmla="*/ 15323320 w 18744436"/>
                <a:gd name="connsiteY69" fmla="*/ 5928489 h 15035524"/>
                <a:gd name="connsiteX70" fmla="*/ 16350939 w 18744436"/>
                <a:gd name="connsiteY70" fmla="*/ 6053348 h 15035524"/>
                <a:gd name="connsiteX71" fmla="*/ 16362364 w 18744436"/>
                <a:gd name="connsiteY71" fmla="*/ 6360628 h 15035524"/>
                <a:gd name="connsiteX72" fmla="*/ 16682563 w 18744436"/>
                <a:gd name="connsiteY72" fmla="*/ 6798531 h 15035524"/>
                <a:gd name="connsiteX0" fmla="*/ 16682563 w 18744436"/>
                <a:gd name="connsiteY0" fmla="*/ 6798531 h 15035524"/>
                <a:gd name="connsiteX1" fmla="*/ 16432262 w 18744436"/>
                <a:gd name="connsiteY1" fmla="*/ 7825917 h 15035524"/>
                <a:gd name="connsiteX2" fmla="*/ 16106317 w 18744436"/>
                <a:gd name="connsiteY2" fmla="*/ 8367221 h 15035524"/>
                <a:gd name="connsiteX3" fmla="*/ 16305649 w 18744436"/>
                <a:gd name="connsiteY3" fmla="*/ 8754550 h 15035524"/>
                <a:gd name="connsiteX4" fmla="*/ 16287189 w 18744436"/>
                <a:gd name="connsiteY4" fmla="*/ 9151157 h 15035524"/>
                <a:gd name="connsiteX5" fmla="*/ 16372801 w 18744436"/>
                <a:gd name="connsiteY5" fmla="*/ 9717422 h 15035524"/>
                <a:gd name="connsiteX6" fmla="*/ 16070155 w 18744436"/>
                <a:gd name="connsiteY6" fmla="*/ 9937808 h 15035524"/>
                <a:gd name="connsiteX7" fmla="*/ 15805690 w 18744436"/>
                <a:gd name="connsiteY7" fmla="*/ 10431999 h 15035524"/>
                <a:gd name="connsiteX8" fmla="*/ 15195097 w 18744436"/>
                <a:gd name="connsiteY8" fmla="*/ 10093742 h 15035524"/>
                <a:gd name="connsiteX9" fmla="*/ 15011380 w 18744436"/>
                <a:gd name="connsiteY9" fmla="*/ 11048592 h 15035524"/>
                <a:gd name="connsiteX10" fmla="*/ 14908430 w 18744436"/>
                <a:gd name="connsiteY10" fmla="*/ 11937487 h 15035524"/>
                <a:gd name="connsiteX11" fmla="*/ 14904684 w 18744436"/>
                <a:gd name="connsiteY11" fmla="*/ 12760926 h 15035524"/>
                <a:gd name="connsiteX12" fmla="*/ 14929927 w 18744436"/>
                <a:gd name="connsiteY12" fmla="*/ 14391846 h 15035524"/>
                <a:gd name="connsiteX13" fmla="*/ 12952786 w 18744436"/>
                <a:gd name="connsiteY13" fmla="*/ 14842599 h 15035524"/>
                <a:gd name="connsiteX14" fmla="*/ 11934663 w 18744436"/>
                <a:gd name="connsiteY14" fmla="*/ 14890849 h 15035524"/>
                <a:gd name="connsiteX15" fmla="*/ 8506848 w 18744436"/>
                <a:gd name="connsiteY15" fmla="*/ 15035524 h 15035524"/>
                <a:gd name="connsiteX16" fmla="*/ 7985095 w 18744436"/>
                <a:gd name="connsiteY16" fmla="*/ 14390442 h 15035524"/>
                <a:gd name="connsiteX17" fmla="*/ 7400308 w 18744436"/>
                <a:gd name="connsiteY17" fmla="*/ 14360297 h 15035524"/>
                <a:gd name="connsiteX18" fmla="*/ 6972273 w 18744436"/>
                <a:gd name="connsiteY18" fmla="*/ 14631594 h 15035524"/>
                <a:gd name="connsiteX19" fmla="*/ 5181729 w 18744436"/>
                <a:gd name="connsiteY19" fmla="*/ 14547195 h 15035524"/>
                <a:gd name="connsiteX20" fmla="*/ 4397998 w 18744436"/>
                <a:gd name="connsiteY20" fmla="*/ 13914178 h 15035524"/>
                <a:gd name="connsiteX21" fmla="*/ 2908896 w 18744436"/>
                <a:gd name="connsiteY21" fmla="*/ 13106324 h 15035524"/>
                <a:gd name="connsiteX22" fmla="*/ 1263043 w 18744436"/>
                <a:gd name="connsiteY22" fmla="*/ 12394931 h 15035524"/>
                <a:gd name="connsiteX23" fmla="*/ 485320 w 18744436"/>
                <a:gd name="connsiteY23" fmla="*/ 11942774 h 15035524"/>
                <a:gd name="connsiteX24" fmla="*/ 0 w 18744436"/>
                <a:gd name="connsiteY24" fmla="*/ 11649662 h 15035524"/>
                <a:gd name="connsiteX25" fmla="*/ 1003686 w 18744436"/>
                <a:gd name="connsiteY25" fmla="*/ 10903697 h 15035524"/>
                <a:gd name="connsiteX26" fmla="*/ 2902551 w 18744436"/>
                <a:gd name="connsiteY26" fmla="*/ 9719298 h 15035524"/>
                <a:gd name="connsiteX27" fmla="*/ 2558940 w 18744436"/>
                <a:gd name="connsiteY27" fmla="*/ 9185867 h 15035524"/>
                <a:gd name="connsiteX28" fmla="*/ 2402508 w 18744436"/>
                <a:gd name="connsiteY28" fmla="*/ 8498784 h 15035524"/>
                <a:gd name="connsiteX29" fmla="*/ 2730740 w 18744436"/>
                <a:gd name="connsiteY29" fmla="*/ 8471613 h 15035524"/>
                <a:gd name="connsiteX30" fmla="*/ 2947754 w 18744436"/>
                <a:gd name="connsiteY30" fmla="*/ 8001468 h 15035524"/>
                <a:gd name="connsiteX31" fmla="*/ 3499325 w 18744436"/>
                <a:gd name="connsiteY31" fmla="*/ 7558451 h 15035524"/>
                <a:gd name="connsiteX32" fmla="*/ 3680166 w 18744436"/>
                <a:gd name="connsiteY32" fmla="*/ 6681453 h 15035524"/>
                <a:gd name="connsiteX33" fmla="*/ 4186528 w 18744436"/>
                <a:gd name="connsiteY33" fmla="*/ 6690489 h 15035524"/>
                <a:gd name="connsiteX34" fmla="*/ 4837569 w 18744436"/>
                <a:gd name="connsiteY34" fmla="*/ 7160639 h 15035524"/>
                <a:gd name="connsiteX35" fmla="*/ 5352976 w 18744436"/>
                <a:gd name="connsiteY35" fmla="*/ 7079272 h 15035524"/>
                <a:gd name="connsiteX36" fmla="*/ 5741786 w 18744436"/>
                <a:gd name="connsiteY36" fmla="*/ 6708577 h 15035524"/>
                <a:gd name="connsiteX37" fmla="*/ 6157723 w 18744436"/>
                <a:gd name="connsiteY37" fmla="*/ 6545836 h 15035524"/>
                <a:gd name="connsiteX38" fmla="*/ 6745471 w 18744436"/>
                <a:gd name="connsiteY38" fmla="*/ 5976243 h 15035524"/>
                <a:gd name="connsiteX39" fmla="*/ 6890140 w 18744436"/>
                <a:gd name="connsiteY39" fmla="*/ 5126367 h 15035524"/>
                <a:gd name="connsiteX40" fmla="*/ 7568305 w 18744436"/>
                <a:gd name="connsiteY40" fmla="*/ 4556773 h 15035524"/>
                <a:gd name="connsiteX41" fmla="*/ 8137967 w 18744436"/>
                <a:gd name="connsiteY41" fmla="*/ 4113752 h 15035524"/>
                <a:gd name="connsiteX42" fmla="*/ 8463480 w 18744436"/>
                <a:gd name="connsiteY42" fmla="*/ 3309085 h 15035524"/>
                <a:gd name="connsiteX43" fmla="*/ 9024093 w 18744436"/>
                <a:gd name="connsiteY43" fmla="*/ 2956478 h 15035524"/>
                <a:gd name="connsiteX44" fmla="*/ 9675138 w 18744436"/>
                <a:gd name="connsiteY44" fmla="*/ 2603876 h 15035524"/>
                <a:gd name="connsiteX45" fmla="*/ 9558580 w 18744436"/>
                <a:gd name="connsiteY45" fmla="*/ 2055592 h 15035524"/>
                <a:gd name="connsiteX46" fmla="*/ 10353296 w 18744436"/>
                <a:gd name="connsiteY46" fmla="*/ 1383308 h 15035524"/>
                <a:gd name="connsiteX47" fmla="*/ 10832530 w 18744436"/>
                <a:gd name="connsiteY47" fmla="*/ 1310974 h 15035524"/>
                <a:gd name="connsiteX48" fmla="*/ 11058585 w 18744436"/>
                <a:gd name="connsiteY48" fmla="*/ 1763043 h 15035524"/>
                <a:gd name="connsiteX49" fmla="*/ 11411229 w 18744436"/>
                <a:gd name="connsiteY49" fmla="*/ 2142774 h 15035524"/>
                <a:gd name="connsiteX50" fmla="*/ 11998974 w 18744436"/>
                <a:gd name="connsiteY50" fmla="*/ 2224144 h 15035524"/>
                <a:gd name="connsiteX51" fmla="*/ 12315449 w 18744436"/>
                <a:gd name="connsiteY51" fmla="*/ 2884156 h 15035524"/>
                <a:gd name="connsiteX52" fmla="*/ 12785642 w 18744436"/>
                <a:gd name="connsiteY52" fmla="*/ 2703327 h 15035524"/>
                <a:gd name="connsiteX53" fmla="*/ 13671776 w 18744436"/>
                <a:gd name="connsiteY53" fmla="*/ 3155388 h 15035524"/>
                <a:gd name="connsiteX54" fmla="*/ 14123886 w 18744436"/>
                <a:gd name="connsiteY54" fmla="*/ 2857035 h 15035524"/>
                <a:gd name="connsiteX55" fmla="*/ 14259509 w 18744436"/>
                <a:gd name="connsiteY55" fmla="*/ 2287434 h 15035524"/>
                <a:gd name="connsiteX56" fmla="*/ 14892468 w 18744436"/>
                <a:gd name="connsiteY56" fmla="*/ 1645503 h 15035524"/>
                <a:gd name="connsiteX57" fmla="*/ 15778605 w 18744436"/>
                <a:gd name="connsiteY57" fmla="*/ 1093983 h 15035524"/>
                <a:gd name="connsiteX58" fmla="*/ 16022739 w 18744436"/>
                <a:gd name="connsiteY58" fmla="*/ 1564133 h 15035524"/>
                <a:gd name="connsiteX59" fmla="*/ 16556232 w 18744436"/>
                <a:gd name="connsiteY59" fmla="*/ 2142785 h 15035524"/>
                <a:gd name="connsiteX60" fmla="*/ 17406193 w 18744436"/>
                <a:gd name="connsiteY60" fmla="*/ 1292897 h 15035524"/>
                <a:gd name="connsiteX61" fmla="*/ 18120524 w 18744436"/>
                <a:gd name="connsiteY61" fmla="*/ 714260 h 15035524"/>
                <a:gd name="connsiteX62" fmla="*/ 18744437 w 18744436"/>
                <a:gd name="connsiteY62" fmla="*/ -1 h 15035524"/>
                <a:gd name="connsiteX63" fmla="*/ 496059 w 18744436"/>
                <a:gd name="connsiteY63" fmla="*/ 6029507 h 15035524"/>
                <a:gd name="connsiteX64" fmla="*/ 11919572 w 18744436"/>
                <a:gd name="connsiteY64" fmla="*/ 7003278 h 15035524"/>
                <a:gd name="connsiteX65" fmla="*/ 12868275 w 18744436"/>
                <a:gd name="connsiteY65" fmla="*/ 6758067 h 15035524"/>
                <a:gd name="connsiteX66" fmla="*/ 13844296 w 18744436"/>
                <a:gd name="connsiteY66" fmla="*/ 6156232 h 15035524"/>
                <a:gd name="connsiteX67" fmla="*/ 13886291 w 18744436"/>
                <a:gd name="connsiteY67" fmla="*/ 5321864 h 15035524"/>
                <a:gd name="connsiteX68" fmla="*/ 14370431 w 18744436"/>
                <a:gd name="connsiteY68" fmla="*/ 5830216 h 15035524"/>
                <a:gd name="connsiteX69" fmla="*/ 15323320 w 18744436"/>
                <a:gd name="connsiteY69" fmla="*/ 5928489 h 15035524"/>
                <a:gd name="connsiteX70" fmla="*/ 16350939 w 18744436"/>
                <a:gd name="connsiteY70" fmla="*/ 6053348 h 15035524"/>
                <a:gd name="connsiteX71" fmla="*/ 16362364 w 18744436"/>
                <a:gd name="connsiteY71" fmla="*/ 6360628 h 15035524"/>
                <a:gd name="connsiteX72" fmla="*/ 16682563 w 18744436"/>
                <a:gd name="connsiteY72" fmla="*/ 6798531 h 15035524"/>
                <a:gd name="connsiteX0" fmla="*/ 16682563 w 18744436"/>
                <a:gd name="connsiteY0" fmla="*/ 6798531 h 15035524"/>
                <a:gd name="connsiteX1" fmla="*/ 16432262 w 18744436"/>
                <a:gd name="connsiteY1" fmla="*/ 7825917 h 15035524"/>
                <a:gd name="connsiteX2" fmla="*/ 16106317 w 18744436"/>
                <a:gd name="connsiteY2" fmla="*/ 8367221 h 15035524"/>
                <a:gd name="connsiteX3" fmla="*/ 16305649 w 18744436"/>
                <a:gd name="connsiteY3" fmla="*/ 8754550 h 15035524"/>
                <a:gd name="connsiteX4" fmla="*/ 16287189 w 18744436"/>
                <a:gd name="connsiteY4" fmla="*/ 9151157 h 15035524"/>
                <a:gd name="connsiteX5" fmla="*/ 16372801 w 18744436"/>
                <a:gd name="connsiteY5" fmla="*/ 9717422 h 15035524"/>
                <a:gd name="connsiteX6" fmla="*/ 16070155 w 18744436"/>
                <a:gd name="connsiteY6" fmla="*/ 9937808 h 15035524"/>
                <a:gd name="connsiteX7" fmla="*/ 15805690 w 18744436"/>
                <a:gd name="connsiteY7" fmla="*/ 10431999 h 15035524"/>
                <a:gd name="connsiteX8" fmla="*/ 15195097 w 18744436"/>
                <a:gd name="connsiteY8" fmla="*/ 10093742 h 15035524"/>
                <a:gd name="connsiteX9" fmla="*/ 15011380 w 18744436"/>
                <a:gd name="connsiteY9" fmla="*/ 11048592 h 15035524"/>
                <a:gd name="connsiteX10" fmla="*/ 14908430 w 18744436"/>
                <a:gd name="connsiteY10" fmla="*/ 11937487 h 15035524"/>
                <a:gd name="connsiteX11" fmla="*/ 14904684 w 18744436"/>
                <a:gd name="connsiteY11" fmla="*/ 12760926 h 15035524"/>
                <a:gd name="connsiteX12" fmla="*/ 14929927 w 18744436"/>
                <a:gd name="connsiteY12" fmla="*/ 14391846 h 15035524"/>
                <a:gd name="connsiteX13" fmla="*/ 12952786 w 18744436"/>
                <a:gd name="connsiteY13" fmla="*/ 14842599 h 15035524"/>
                <a:gd name="connsiteX14" fmla="*/ 11934663 w 18744436"/>
                <a:gd name="connsiteY14" fmla="*/ 14890849 h 15035524"/>
                <a:gd name="connsiteX15" fmla="*/ 8506848 w 18744436"/>
                <a:gd name="connsiteY15" fmla="*/ 15035524 h 15035524"/>
                <a:gd name="connsiteX16" fmla="*/ 7985095 w 18744436"/>
                <a:gd name="connsiteY16" fmla="*/ 14390442 h 15035524"/>
                <a:gd name="connsiteX17" fmla="*/ 7400308 w 18744436"/>
                <a:gd name="connsiteY17" fmla="*/ 14360297 h 15035524"/>
                <a:gd name="connsiteX18" fmla="*/ 6972273 w 18744436"/>
                <a:gd name="connsiteY18" fmla="*/ 14631594 h 15035524"/>
                <a:gd name="connsiteX19" fmla="*/ 5181729 w 18744436"/>
                <a:gd name="connsiteY19" fmla="*/ 14547195 h 15035524"/>
                <a:gd name="connsiteX20" fmla="*/ 4397998 w 18744436"/>
                <a:gd name="connsiteY20" fmla="*/ 13914178 h 15035524"/>
                <a:gd name="connsiteX21" fmla="*/ 2908896 w 18744436"/>
                <a:gd name="connsiteY21" fmla="*/ 13106324 h 15035524"/>
                <a:gd name="connsiteX22" fmla="*/ 1263043 w 18744436"/>
                <a:gd name="connsiteY22" fmla="*/ 12394931 h 15035524"/>
                <a:gd name="connsiteX23" fmla="*/ 485320 w 18744436"/>
                <a:gd name="connsiteY23" fmla="*/ 11942774 h 15035524"/>
                <a:gd name="connsiteX24" fmla="*/ 0 w 18744436"/>
                <a:gd name="connsiteY24" fmla="*/ 11649662 h 15035524"/>
                <a:gd name="connsiteX25" fmla="*/ 1003686 w 18744436"/>
                <a:gd name="connsiteY25" fmla="*/ 10903697 h 15035524"/>
                <a:gd name="connsiteX26" fmla="*/ 2902551 w 18744436"/>
                <a:gd name="connsiteY26" fmla="*/ 9719298 h 15035524"/>
                <a:gd name="connsiteX27" fmla="*/ 2558940 w 18744436"/>
                <a:gd name="connsiteY27" fmla="*/ 9185867 h 15035524"/>
                <a:gd name="connsiteX28" fmla="*/ 2402508 w 18744436"/>
                <a:gd name="connsiteY28" fmla="*/ 8498784 h 15035524"/>
                <a:gd name="connsiteX29" fmla="*/ 2730740 w 18744436"/>
                <a:gd name="connsiteY29" fmla="*/ 8471613 h 15035524"/>
                <a:gd name="connsiteX30" fmla="*/ 2947754 w 18744436"/>
                <a:gd name="connsiteY30" fmla="*/ 8001468 h 15035524"/>
                <a:gd name="connsiteX31" fmla="*/ 3499325 w 18744436"/>
                <a:gd name="connsiteY31" fmla="*/ 7558451 h 15035524"/>
                <a:gd name="connsiteX32" fmla="*/ 3680166 w 18744436"/>
                <a:gd name="connsiteY32" fmla="*/ 6681453 h 15035524"/>
                <a:gd name="connsiteX33" fmla="*/ 4186528 w 18744436"/>
                <a:gd name="connsiteY33" fmla="*/ 6690489 h 15035524"/>
                <a:gd name="connsiteX34" fmla="*/ 4837569 w 18744436"/>
                <a:gd name="connsiteY34" fmla="*/ 7160639 h 15035524"/>
                <a:gd name="connsiteX35" fmla="*/ 5352976 w 18744436"/>
                <a:gd name="connsiteY35" fmla="*/ 7079272 h 15035524"/>
                <a:gd name="connsiteX36" fmla="*/ 5741786 w 18744436"/>
                <a:gd name="connsiteY36" fmla="*/ 6708577 h 15035524"/>
                <a:gd name="connsiteX37" fmla="*/ 6157723 w 18744436"/>
                <a:gd name="connsiteY37" fmla="*/ 6545836 h 15035524"/>
                <a:gd name="connsiteX38" fmla="*/ 6745471 w 18744436"/>
                <a:gd name="connsiteY38" fmla="*/ 5976243 h 15035524"/>
                <a:gd name="connsiteX39" fmla="*/ 6890140 w 18744436"/>
                <a:gd name="connsiteY39" fmla="*/ 5126367 h 15035524"/>
                <a:gd name="connsiteX40" fmla="*/ 7568305 w 18744436"/>
                <a:gd name="connsiteY40" fmla="*/ 4556773 h 15035524"/>
                <a:gd name="connsiteX41" fmla="*/ 8137967 w 18744436"/>
                <a:gd name="connsiteY41" fmla="*/ 4113752 h 15035524"/>
                <a:gd name="connsiteX42" fmla="*/ 8463480 w 18744436"/>
                <a:gd name="connsiteY42" fmla="*/ 3309085 h 15035524"/>
                <a:gd name="connsiteX43" fmla="*/ 9024093 w 18744436"/>
                <a:gd name="connsiteY43" fmla="*/ 2956478 h 15035524"/>
                <a:gd name="connsiteX44" fmla="*/ 9675138 w 18744436"/>
                <a:gd name="connsiteY44" fmla="*/ 2603876 h 15035524"/>
                <a:gd name="connsiteX45" fmla="*/ 9558580 w 18744436"/>
                <a:gd name="connsiteY45" fmla="*/ 2055592 h 15035524"/>
                <a:gd name="connsiteX46" fmla="*/ 10353296 w 18744436"/>
                <a:gd name="connsiteY46" fmla="*/ 1383308 h 15035524"/>
                <a:gd name="connsiteX47" fmla="*/ 10832530 w 18744436"/>
                <a:gd name="connsiteY47" fmla="*/ 1310974 h 15035524"/>
                <a:gd name="connsiteX48" fmla="*/ 11058585 w 18744436"/>
                <a:gd name="connsiteY48" fmla="*/ 1763043 h 15035524"/>
                <a:gd name="connsiteX49" fmla="*/ 11411229 w 18744436"/>
                <a:gd name="connsiteY49" fmla="*/ 2142774 h 15035524"/>
                <a:gd name="connsiteX50" fmla="*/ 11998974 w 18744436"/>
                <a:gd name="connsiteY50" fmla="*/ 2224144 h 15035524"/>
                <a:gd name="connsiteX51" fmla="*/ 12315449 w 18744436"/>
                <a:gd name="connsiteY51" fmla="*/ 2884156 h 15035524"/>
                <a:gd name="connsiteX52" fmla="*/ 12785642 w 18744436"/>
                <a:gd name="connsiteY52" fmla="*/ 2703327 h 15035524"/>
                <a:gd name="connsiteX53" fmla="*/ 13671776 w 18744436"/>
                <a:gd name="connsiteY53" fmla="*/ 3155388 h 15035524"/>
                <a:gd name="connsiteX54" fmla="*/ 14123886 w 18744436"/>
                <a:gd name="connsiteY54" fmla="*/ 2857035 h 15035524"/>
                <a:gd name="connsiteX55" fmla="*/ 14259509 w 18744436"/>
                <a:gd name="connsiteY55" fmla="*/ 2287434 h 15035524"/>
                <a:gd name="connsiteX56" fmla="*/ 14892468 w 18744436"/>
                <a:gd name="connsiteY56" fmla="*/ 1645503 h 15035524"/>
                <a:gd name="connsiteX57" fmla="*/ 15778605 w 18744436"/>
                <a:gd name="connsiteY57" fmla="*/ 1093983 h 15035524"/>
                <a:gd name="connsiteX58" fmla="*/ 16022739 w 18744436"/>
                <a:gd name="connsiteY58" fmla="*/ 1564133 h 15035524"/>
                <a:gd name="connsiteX59" fmla="*/ 16556232 w 18744436"/>
                <a:gd name="connsiteY59" fmla="*/ 2142785 h 15035524"/>
                <a:gd name="connsiteX60" fmla="*/ 17406193 w 18744436"/>
                <a:gd name="connsiteY60" fmla="*/ 1292897 h 15035524"/>
                <a:gd name="connsiteX61" fmla="*/ 18120524 w 18744436"/>
                <a:gd name="connsiteY61" fmla="*/ 714260 h 15035524"/>
                <a:gd name="connsiteX62" fmla="*/ 18744437 w 18744436"/>
                <a:gd name="connsiteY62" fmla="*/ -1 h 15035524"/>
                <a:gd name="connsiteX63" fmla="*/ 271434 w 18744436"/>
                <a:gd name="connsiteY63" fmla="*/ 7065877 h 15035524"/>
                <a:gd name="connsiteX64" fmla="*/ 11919572 w 18744436"/>
                <a:gd name="connsiteY64" fmla="*/ 7003278 h 15035524"/>
                <a:gd name="connsiteX65" fmla="*/ 12868275 w 18744436"/>
                <a:gd name="connsiteY65" fmla="*/ 6758067 h 15035524"/>
                <a:gd name="connsiteX66" fmla="*/ 13844296 w 18744436"/>
                <a:gd name="connsiteY66" fmla="*/ 6156232 h 15035524"/>
                <a:gd name="connsiteX67" fmla="*/ 13886291 w 18744436"/>
                <a:gd name="connsiteY67" fmla="*/ 5321864 h 15035524"/>
                <a:gd name="connsiteX68" fmla="*/ 14370431 w 18744436"/>
                <a:gd name="connsiteY68" fmla="*/ 5830216 h 15035524"/>
                <a:gd name="connsiteX69" fmla="*/ 15323320 w 18744436"/>
                <a:gd name="connsiteY69" fmla="*/ 5928489 h 15035524"/>
                <a:gd name="connsiteX70" fmla="*/ 16350939 w 18744436"/>
                <a:gd name="connsiteY70" fmla="*/ 6053348 h 15035524"/>
                <a:gd name="connsiteX71" fmla="*/ 16362364 w 18744436"/>
                <a:gd name="connsiteY71" fmla="*/ 6360628 h 15035524"/>
                <a:gd name="connsiteX72" fmla="*/ 16682563 w 18744436"/>
                <a:gd name="connsiteY72" fmla="*/ 6798531 h 15035524"/>
                <a:gd name="connsiteX0" fmla="*/ 16682563 w 18744436"/>
                <a:gd name="connsiteY0" fmla="*/ 6798531 h 15035524"/>
                <a:gd name="connsiteX1" fmla="*/ 16432262 w 18744436"/>
                <a:gd name="connsiteY1" fmla="*/ 7825917 h 15035524"/>
                <a:gd name="connsiteX2" fmla="*/ 16106317 w 18744436"/>
                <a:gd name="connsiteY2" fmla="*/ 8367221 h 15035524"/>
                <a:gd name="connsiteX3" fmla="*/ 16305649 w 18744436"/>
                <a:gd name="connsiteY3" fmla="*/ 8754550 h 15035524"/>
                <a:gd name="connsiteX4" fmla="*/ 16287189 w 18744436"/>
                <a:gd name="connsiteY4" fmla="*/ 9151157 h 15035524"/>
                <a:gd name="connsiteX5" fmla="*/ 16372801 w 18744436"/>
                <a:gd name="connsiteY5" fmla="*/ 9717422 h 15035524"/>
                <a:gd name="connsiteX6" fmla="*/ 16070155 w 18744436"/>
                <a:gd name="connsiteY6" fmla="*/ 9937808 h 15035524"/>
                <a:gd name="connsiteX7" fmla="*/ 15805690 w 18744436"/>
                <a:gd name="connsiteY7" fmla="*/ 10431999 h 15035524"/>
                <a:gd name="connsiteX8" fmla="*/ 15195097 w 18744436"/>
                <a:gd name="connsiteY8" fmla="*/ 10093742 h 15035524"/>
                <a:gd name="connsiteX9" fmla="*/ 15011380 w 18744436"/>
                <a:gd name="connsiteY9" fmla="*/ 11048592 h 15035524"/>
                <a:gd name="connsiteX10" fmla="*/ 14908430 w 18744436"/>
                <a:gd name="connsiteY10" fmla="*/ 11937487 h 15035524"/>
                <a:gd name="connsiteX11" fmla="*/ 14904684 w 18744436"/>
                <a:gd name="connsiteY11" fmla="*/ 12760926 h 15035524"/>
                <a:gd name="connsiteX12" fmla="*/ 14929927 w 18744436"/>
                <a:gd name="connsiteY12" fmla="*/ 14391846 h 15035524"/>
                <a:gd name="connsiteX13" fmla="*/ 12952786 w 18744436"/>
                <a:gd name="connsiteY13" fmla="*/ 14842599 h 15035524"/>
                <a:gd name="connsiteX14" fmla="*/ 11934663 w 18744436"/>
                <a:gd name="connsiteY14" fmla="*/ 14890849 h 15035524"/>
                <a:gd name="connsiteX15" fmla="*/ 8506848 w 18744436"/>
                <a:gd name="connsiteY15" fmla="*/ 15035524 h 15035524"/>
                <a:gd name="connsiteX16" fmla="*/ 7985095 w 18744436"/>
                <a:gd name="connsiteY16" fmla="*/ 14390442 h 15035524"/>
                <a:gd name="connsiteX17" fmla="*/ 7400308 w 18744436"/>
                <a:gd name="connsiteY17" fmla="*/ 14360297 h 15035524"/>
                <a:gd name="connsiteX18" fmla="*/ 6972273 w 18744436"/>
                <a:gd name="connsiteY18" fmla="*/ 14631594 h 15035524"/>
                <a:gd name="connsiteX19" fmla="*/ 5181729 w 18744436"/>
                <a:gd name="connsiteY19" fmla="*/ 14547195 h 15035524"/>
                <a:gd name="connsiteX20" fmla="*/ 4397998 w 18744436"/>
                <a:gd name="connsiteY20" fmla="*/ 13914178 h 15035524"/>
                <a:gd name="connsiteX21" fmla="*/ 2908896 w 18744436"/>
                <a:gd name="connsiteY21" fmla="*/ 13106324 h 15035524"/>
                <a:gd name="connsiteX22" fmla="*/ 1263043 w 18744436"/>
                <a:gd name="connsiteY22" fmla="*/ 12394931 h 15035524"/>
                <a:gd name="connsiteX23" fmla="*/ 485320 w 18744436"/>
                <a:gd name="connsiteY23" fmla="*/ 11942774 h 15035524"/>
                <a:gd name="connsiteX24" fmla="*/ 0 w 18744436"/>
                <a:gd name="connsiteY24" fmla="*/ 11649662 h 15035524"/>
                <a:gd name="connsiteX25" fmla="*/ 1003686 w 18744436"/>
                <a:gd name="connsiteY25" fmla="*/ 10903697 h 15035524"/>
                <a:gd name="connsiteX26" fmla="*/ 2902551 w 18744436"/>
                <a:gd name="connsiteY26" fmla="*/ 9719298 h 15035524"/>
                <a:gd name="connsiteX27" fmla="*/ 2558940 w 18744436"/>
                <a:gd name="connsiteY27" fmla="*/ 9185867 h 15035524"/>
                <a:gd name="connsiteX28" fmla="*/ 2402508 w 18744436"/>
                <a:gd name="connsiteY28" fmla="*/ 8498784 h 15035524"/>
                <a:gd name="connsiteX29" fmla="*/ 2730740 w 18744436"/>
                <a:gd name="connsiteY29" fmla="*/ 8471613 h 15035524"/>
                <a:gd name="connsiteX30" fmla="*/ 2947754 w 18744436"/>
                <a:gd name="connsiteY30" fmla="*/ 8001468 h 15035524"/>
                <a:gd name="connsiteX31" fmla="*/ 3499325 w 18744436"/>
                <a:gd name="connsiteY31" fmla="*/ 7558451 h 15035524"/>
                <a:gd name="connsiteX32" fmla="*/ 3680166 w 18744436"/>
                <a:gd name="connsiteY32" fmla="*/ 6681453 h 15035524"/>
                <a:gd name="connsiteX33" fmla="*/ 4186528 w 18744436"/>
                <a:gd name="connsiteY33" fmla="*/ 6690489 h 15035524"/>
                <a:gd name="connsiteX34" fmla="*/ 4837569 w 18744436"/>
                <a:gd name="connsiteY34" fmla="*/ 7160639 h 15035524"/>
                <a:gd name="connsiteX35" fmla="*/ 5352976 w 18744436"/>
                <a:gd name="connsiteY35" fmla="*/ 7079272 h 15035524"/>
                <a:gd name="connsiteX36" fmla="*/ 5741786 w 18744436"/>
                <a:gd name="connsiteY36" fmla="*/ 6708577 h 15035524"/>
                <a:gd name="connsiteX37" fmla="*/ 6157723 w 18744436"/>
                <a:gd name="connsiteY37" fmla="*/ 6545836 h 15035524"/>
                <a:gd name="connsiteX38" fmla="*/ 6745471 w 18744436"/>
                <a:gd name="connsiteY38" fmla="*/ 5976243 h 15035524"/>
                <a:gd name="connsiteX39" fmla="*/ 6890140 w 18744436"/>
                <a:gd name="connsiteY39" fmla="*/ 5126367 h 15035524"/>
                <a:gd name="connsiteX40" fmla="*/ 7568305 w 18744436"/>
                <a:gd name="connsiteY40" fmla="*/ 4556773 h 15035524"/>
                <a:gd name="connsiteX41" fmla="*/ 8137967 w 18744436"/>
                <a:gd name="connsiteY41" fmla="*/ 4113752 h 15035524"/>
                <a:gd name="connsiteX42" fmla="*/ 8463480 w 18744436"/>
                <a:gd name="connsiteY42" fmla="*/ 3309085 h 15035524"/>
                <a:gd name="connsiteX43" fmla="*/ 9024093 w 18744436"/>
                <a:gd name="connsiteY43" fmla="*/ 2956478 h 15035524"/>
                <a:gd name="connsiteX44" fmla="*/ 9675138 w 18744436"/>
                <a:gd name="connsiteY44" fmla="*/ 2603876 h 15035524"/>
                <a:gd name="connsiteX45" fmla="*/ 9558580 w 18744436"/>
                <a:gd name="connsiteY45" fmla="*/ 2055592 h 15035524"/>
                <a:gd name="connsiteX46" fmla="*/ 10353296 w 18744436"/>
                <a:gd name="connsiteY46" fmla="*/ 1383308 h 15035524"/>
                <a:gd name="connsiteX47" fmla="*/ 10832530 w 18744436"/>
                <a:gd name="connsiteY47" fmla="*/ 1310974 h 15035524"/>
                <a:gd name="connsiteX48" fmla="*/ 11058585 w 18744436"/>
                <a:gd name="connsiteY48" fmla="*/ 1763043 h 15035524"/>
                <a:gd name="connsiteX49" fmla="*/ 11411229 w 18744436"/>
                <a:gd name="connsiteY49" fmla="*/ 2142774 h 15035524"/>
                <a:gd name="connsiteX50" fmla="*/ 11998974 w 18744436"/>
                <a:gd name="connsiteY50" fmla="*/ 2224144 h 15035524"/>
                <a:gd name="connsiteX51" fmla="*/ 12315449 w 18744436"/>
                <a:gd name="connsiteY51" fmla="*/ 2884156 h 15035524"/>
                <a:gd name="connsiteX52" fmla="*/ 12785642 w 18744436"/>
                <a:gd name="connsiteY52" fmla="*/ 2703327 h 15035524"/>
                <a:gd name="connsiteX53" fmla="*/ 13671776 w 18744436"/>
                <a:gd name="connsiteY53" fmla="*/ 3155388 h 15035524"/>
                <a:gd name="connsiteX54" fmla="*/ 14123886 w 18744436"/>
                <a:gd name="connsiteY54" fmla="*/ 2857035 h 15035524"/>
                <a:gd name="connsiteX55" fmla="*/ 14259509 w 18744436"/>
                <a:gd name="connsiteY55" fmla="*/ 2287434 h 15035524"/>
                <a:gd name="connsiteX56" fmla="*/ 14892468 w 18744436"/>
                <a:gd name="connsiteY56" fmla="*/ 1645503 h 15035524"/>
                <a:gd name="connsiteX57" fmla="*/ 15778605 w 18744436"/>
                <a:gd name="connsiteY57" fmla="*/ 1093983 h 15035524"/>
                <a:gd name="connsiteX58" fmla="*/ 16022739 w 18744436"/>
                <a:gd name="connsiteY58" fmla="*/ 1564133 h 15035524"/>
                <a:gd name="connsiteX59" fmla="*/ 16556232 w 18744436"/>
                <a:gd name="connsiteY59" fmla="*/ 2142785 h 15035524"/>
                <a:gd name="connsiteX60" fmla="*/ 17406193 w 18744436"/>
                <a:gd name="connsiteY60" fmla="*/ 1292897 h 15035524"/>
                <a:gd name="connsiteX61" fmla="*/ 18120524 w 18744436"/>
                <a:gd name="connsiteY61" fmla="*/ 714260 h 15035524"/>
                <a:gd name="connsiteX62" fmla="*/ 18744437 w 18744436"/>
                <a:gd name="connsiteY62" fmla="*/ -1 h 15035524"/>
                <a:gd name="connsiteX63" fmla="*/ 11109603 w 18744436"/>
                <a:gd name="connsiteY63" fmla="*/ 6729756 h 15035524"/>
                <a:gd name="connsiteX64" fmla="*/ 11919572 w 18744436"/>
                <a:gd name="connsiteY64" fmla="*/ 7003278 h 15035524"/>
                <a:gd name="connsiteX65" fmla="*/ 12868275 w 18744436"/>
                <a:gd name="connsiteY65" fmla="*/ 6758067 h 15035524"/>
                <a:gd name="connsiteX66" fmla="*/ 13844296 w 18744436"/>
                <a:gd name="connsiteY66" fmla="*/ 6156232 h 15035524"/>
                <a:gd name="connsiteX67" fmla="*/ 13886291 w 18744436"/>
                <a:gd name="connsiteY67" fmla="*/ 5321864 h 15035524"/>
                <a:gd name="connsiteX68" fmla="*/ 14370431 w 18744436"/>
                <a:gd name="connsiteY68" fmla="*/ 5830216 h 15035524"/>
                <a:gd name="connsiteX69" fmla="*/ 15323320 w 18744436"/>
                <a:gd name="connsiteY69" fmla="*/ 5928489 h 15035524"/>
                <a:gd name="connsiteX70" fmla="*/ 16350939 w 18744436"/>
                <a:gd name="connsiteY70" fmla="*/ 6053348 h 15035524"/>
                <a:gd name="connsiteX71" fmla="*/ 16362364 w 18744436"/>
                <a:gd name="connsiteY71" fmla="*/ 6360628 h 15035524"/>
                <a:gd name="connsiteX72" fmla="*/ 16682563 w 18744436"/>
                <a:gd name="connsiteY72" fmla="*/ 6798531 h 15035524"/>
                <a:gd name="connsiteX0" fmla="*/ 16682563 w 18120523"/>
                <a:gd name="connsiteY0" fmla="*/ 6084269 h 14321262"/>
                <a:gd name="connsiteX1" fmla="*/ 16432262 w 18120523"/>
                <a:gd name="connsiteY1" fmla="*/ 7111655 h 14321262"/>
                <a:gd name="connsiteX2" fmla="*/ 16106317 w 18120523"/>
                <a:gd name="connsiteY2" fmla="*/ 7652959 h 14321262"/>
                <a:gd name="connsiteX3" fmla="*/ 16305649 w 18120523"/>
                <a:gd name="connsiteY3" fmla="*/ 8040288 h 14321262"/>
                <a:gd name="connsiteX4" fmla="*/ 16287189 w 18120523"/>
                <a:gd name="connsiteY4" fmla="*/ 8436895 h 14321262"/>
                <a:gd name="connsiteX5" fmla="*/ 16372801 w 18120523"/>
                <a:gd name="connsiteY5" fmla="*/ 9003160 h 14321262"/>
                <a:gd name="connsiteX6" fmla="*/ 16070155 w 18120523"/>
                <a:gd name="connsiteY6" fmla="*/ 9223546 h 14321262"/>
                <a:gd name="connsiteX7" fmla="*/ 15805690 w 18120523"/>
                <a:gd name="connsiteY7" fmla="*/ 9717737 h 14321262"/>
                <a:gd name="connsiteX8" fmla="*/ 15195097 w 18120523"/>
                <a:gd name="connsiteY8" fmla="*/ 9379480 h 14321262"/>
                <a:gd name="connsiteX9" fmla="*/ 15011380 w 18120523"/>
                <a:gd name="connsiteY9" fmla="*/ 10334330 h 14321262"/>
                <a:gd name="connsiteX10" fmla="*/ 14908430 w 18120523"/>
                <a:gd name="connsiteY10" fmla="*/ 11223225 h 14321262"/>
                <a:gd name="connsiteX11" fmla="*/ 14904684 w 18120523"/>
                <a:gd name="connsiteY11" fmla="*/ 12046664 h 14321262"/>
                <a:gd name="connsiteX12" fmla="*/ 14929927 w 18120523"/>
                <a:gd name="connsiteY12" fmla="*/ 13677584 h 14321262"/>
                <a:gd name="connsiteX13" fmla="*/ 12952786 w 18120523"/>
                <a:gd name="connsiteY13" fmla="*/ 14128337 h 14321262"/>
                <a:gd name="connsiteX14" fmla="*/ 11934663 w 18120523"/>
                <a:gd name="connsiteY14" fmla="*/ 14176587 h 14321262"/>
                <a:gd name="connsiteX15" fmla="*/ 8506848 w 18120523"/>
                <a:gd name="connsiteY15" fmla="*/ 14321262 h 14321262"/>
                <a:gd name="connsiteX16" fmla="*/ 7985095 w 18120523"/>
                <a:gd name="connsiteY16" fmla="*/ 13676180 h 14321262"/>
                <a:gd name="connsiteX17" fmla="*/ 7400308 w 18120523"/>
                <a:gd name="connsiteY17" fmla="*/ 13646035 h 14321262"/>
                <a:gd name="connsiteX18" fmla="*/ 6972273 w 18120523"/>
                <a:gd name="connsiteY18" fmla="*/ 13917332 h 14321262"/>
                <a:gd name="connsiteX19" fmla="*/ 5181729 w 18120523"/>
                <a:gd name="connsiteY19" fmla="*/ 13832933 h 14321262"/>
                <a:gd name="connsiteX20" fmla="*/ 4397998 w 18120523"/>
                <a:gd name="connsiteY20" fmla="*/ 13199916 h 14321262"/>
                <a:gd name="connsiteX21" fmla="*/ 2908896 w 18120523"/>
                <a:gd name="connsiteY21" fmla="*/ 12392062 h 14321262"/>
                <a:gd name="connsiteX22" fmla="*/ 1263043 w 18120523"/>
                <a:gd name="connsiteY22" fmla="*/ 11680669 h 14321262"/>
                <a:gd name="connsiteX23" fmla="*/ 485320 w 18120523"/>
                <a:gd name="connsiteY23" fmla="*/ 11228512 h 14321262"/>
                <a:gd name="connsiteX24" fmla="*/ 0 w 18120523"/>
                <a:gd name="connsiteY24" fmla="*/ 10935400 h 14321262"/>
                <a:gd name="connsiteX25" fmla="*/ 1003686 w 18120523"/>
                <a:gd name="connsiteY25" fmla="*/ 10189435 h 14321262"/>
                <a:gd name="connsiteX26" fmla="*/ 2902551 w 18120523"/>
                <a:gd name="connsiteY26" fmla="*/ 9005036 h 14321262"/>
                <a:gd name="connsiteX27" fmla="*/ 2558940 w 18120523"/>
                <a:gd name="connsiteY27" fmla="*/ 8471605 h 14321262"/>
                <a:gd name="connsiteX28" fmla="*/ 2402508 w 18120523"/>
                <a:gd name="connsiteY28" fmla="*/ 7784522 h 14321262"/>
                <a:gd name="connsiteX29" fmla="*/ 2730740 w 18120523"/>
                <a:gd name="connsiteY29" fmla="*/ 7757351 h 14321262"/>
                <a:gd name="connsiteX30" fmla="*/ 2947754 w 18120523"/>
                <a:gd name="connsiteY30" fmla="*/ 7287206 h 14321262"/>
                <a:gd name="connsiteX31" fmla="*/ 3499325 w 18120523"/>
                <a:gd name="connsiteY31" fmla="*/ 6844189 h 14321262"/>
                <a:gd name="connsiteX32" fmla="*/ 3680166 w 18120523"/>
                <a:gd name="connsiteY32" fmla="*/ 5967191 h 14321262"/>
                <a:gd name="connsiteX33" fmla="*/ 4186528 w 18120523"/>
                <a:gd name="connsiteY33" fmla="*/ 5976227 h 14321262"/>
                <a:gd name="connsiteX34" fmla="*/ 4837569 w 18120523"/>
                <a:gd name="connsiteY34" fmla="*/ 6446377 h 14321262"/>
                <a:gd name="connsiteX35" fmla="*/ 5352976 w 18120523"/>
                <a:gd name="connsiteY35" fmla="*/ 6365010 h 14321262"/>
                <a:gd name="connsiteX36" fmla="*/ 5741786 w 18120523"/>
                <a:gd name="connsiteY36" fmla="*/ 5994315 h 14321262"/>
                <a:gd name="connsiteX37" fmla="*/ 6157723 w 18120523"/>
                <a:gd name="connsiteY37" fmla="*/ 5831574 h 14321262"/>
                <a:gd name="connsiteX38" fmla="*/ 6745471 w 18120523"/>
                <a:gd name="connsiteY38" fmla="*/ 5261981 h 14321262"/>
                <a:gd name="connsiteX39" fmla="*/ 6890140 w 18120523"/>
                <a:gd name="connsiteY39" fmla="*/ 4412105 h 14321262"/>
                <a:gd name="connsiteX40" fmla="*/ 7568305 w 18120523"/>
                <a:gd name="connsiteY40" fmla="*/ 3842511 h 14321262"/>
                <a:gd name="connsiteX41" fmla="*/ 8137967 w 18120523"/>
                <a:gd name="connsiteY41" fmla="*/ 3399490 h 14321262"/>
                <a:gd name="connsiteX42" fmla="*/ 8463480 w 18120523"/>
                <a:gd name="connsiteY42" fmla="*/ 2594823 h 14321262"/>
                <a:gd name="connsiteX43" fmla="*/ 9024093 w 18120523"/>
                <a:gd name="connsiteY43" fmla="*/ 2242216 h 14321262"/>
                <a:gd name="connsiteX44" fmla="*/ 9675138 w 18120523"/>
                <a:gd name="connsiteY44" fmla="*/ 1889614 h 14321262"/>
                <a:gd name="connsiteX45" fmla="*/ 9558580 w 18120523"/>
                <a:gd name="connsiteY45" fmla="*/ 1341330 h 14321262"/>
                <a:gd name="connsiteX46" fmla="*/ 10353296 w 18120523"/>
                <a:gd name="connsiteY46" fmla="*/ 669046 h 14321262"/>
                <a:gd name="connsiteX47" fmla="*/ 10832530 w 18120523"/>
                <a:gd name="connsiteY47" fmla="*/ 596712 h 14321262"/>
                <a:gd name="connsiteX48" fmla="*/ 11058585 w 18120523"/>
                <a:gd name="connsiteY48" fmla="*/ 1048781 h 14321262"/>
                <a:gd name="connsiteX49" fmla="*/ 11411229 w 18120523"/>
                <a:gd name="connsiteY49" fmla="*/ 1428512 h 14321262"/>
                <a:gd name="connsiteX50" fmla="*/ 11998974 w 18120523"/>
                <a:gd name="connsiteY50" fmla="*/ 1509882 h 14321262"/>
                <a:gd name="connsiteX51" fmla="*/ 12315449 w 18120523"/>
                <a:gd name="connsiteY51" fmla="*/ 2169894 h 14321262"/>
                <a:gd name="connsiteX52" fmla="*/ 12785642 w 18120523"/>
                <a:gd name="connsiteY52" fmla="*/ 1989065 h 14321262"/>
                <a:gd name="connsiteX53" fmla="*/ 13671776 w 18120523"/>
                <a:gd name="connsiteY53" fmla="*/ 2441126 h 14321262"/>
                <a:gd name="connsiteX54" fmla="*/ 14123886 w 18120523"/>
                <a:gd name="connsiteY54" fmla="*/ 2142773 h 14321262"/>
                <a:gd name="connsiteX55" fmla="*/ 14259509 w 18120523"/>
                <a:gd name="connsiteY55" fmla="*/ 1573172 h 14321262"/>
                <a:gd name="connsiteX56" fmla="*/ 14892468 w 18120523"/>
                <a:gd name="connsiteY56" fmla="*/ 931241 h 14321262"/>
                <a:gd name="connsiteX57" fmla="*/ 15778605 w 18120523"/>
                <a:gd name="connsiteY57" fmla="*/ 379721 h 14321262"/>
                <a:gd name="connsiteX58" fmla="*/ 16022739 w 18120523"/>
                <a:gd name="connsiteY58" fmla="*/ 849871 h 14321262"/>
                <a:gd name="connsiteX59" fmla="*/ 16556232 w 18120523"/>
                <a:gd name="connsiteY59" fmla="*/ 1428523 h 14321262"/>
                <a:gd name="connsiteX60" fmla="*/ 17406193 w 18120523"/>
                <a:gd name="connsiteY60" fmla="*/ 578635 h 14321262"/>
                <a:gd name="connsiteX61" fmla="*/ 18120524 w 18120523"/>
                <a:gd name="connsiteY61" fmla="*/ -2 h 14321262"/>
                <a:gd name="connsiteX62" fmla="*/ 7035843 w 18120523"/>
                <a:gd name="connsiteY62" fmla="*/ 6484324 h 14321262"/>
                <a:gd name="connsiteX63" fmla="*/ 11109603 w 18120523"/>
                <a:gd name="connsiteY63" fmla="*/ 6015494 h 14321262"/>
                <a:gd name="connsiteX64" fmla="*/ 11919572 w 18120523"/>
                <a:gd name="connsiteY64" fmla="*/ 6289016 h 14321262"/>
                <a:gd name="connsiteX65" fmla="*/ 12868275 w 18120523"/>
                <a:gd name="connsiteY65" fmla="*/ 6043805 h 14321262"/>
                <a:gd name="connsiteX66" fmla="*/ 13844296 w 18120523"/>
                <a:gd name="connsiteY66" fmla="*/ 5441970 h 14321262"/>
                <a:gd name="connsiteX67" fmla="*/ 13886291 w 18120523"/>
                <a:gd name="connsiteY67" fmla="*/ 4607602 h 14321262"/>
                <a:gd name="connsiteX68" fmla="*/ 14370431 w 18120523"/>
                <a:gd name="connsiteY68" fmla="*/ 5115954 h 14321262"/>
                <a:gd name="connsiteX69" fmla="*/ 15323320 w 18120523"/>
                <a:gd name="connsiteY69" fmla="*/ 5214227 h 14321262"/>
                <a:gd name="connsiteX70" fmla="*/ 16350939 w 18120523"/>
                <a:gd name="connsiteY70" fmla="*/ 5339086 h 14321262"/>
                <a:gd name="connsiteX71" fmla="*/ 16362364 w 18120523"/>
                <a:gd name="connsiteY71" fmla="*/ 5646366 h 14321262"/>
                <a:gd name="connsiteX72" fmla="*/ 16682563 w 18120523"/>
                <a:gd name="connsiteY72" fmla="*/ 6084269 h 14321262"/>
                <a:gd name="connsiteX0" fmla="*/ 16682563 w 18120523"/>
                <a:gd name="connsiteY0" fmla="*/ 6084269 h 14321262"/>
                <a:gd name="connsiteX1" fmla="*/ 16432262 w 18120523"/>
                <a:gd name="connsiteY1" fmla="*/ 7111655 h 14321262"/>
                <a:gd name="connsiteX2" fmla="*/ 16106317 w 18120523"/>
                <a:gd name="connsiteY2" fmla="*/ 7652959 h 14321262"/>
                <a:gd name="connsiteX3" fmla="*/ 16305649 w 18120523"/>
                <a:gd name="connsiteY3" fmla="*/ 8040288 h 14321262"/>
                <a:gd name="connsiteX4" fmla="*/ 16287189 w 18120523"/>
                <a:gd name="connsiteY4" fmla="*/ 8436895 h 14321262"/>
                <a:gd name="connsiteX5" fmla="*/ 16372801 w 18120523"/>
                <a:gd name="connsiteY5" fmla="*/ 9003160 h 14321262"/>
                <a:gd name="connsiteX6" fmla="*/ 16070155 w 18120523"/>
                <a:gd name="connsiteY6" fmla="*/ 9223546 h 14321262"/>
                <a:gd name="connsiteX7" fmla="*/ 15805690 w 18120523"/>
                <a:gd name="connsiteY7" fmla="*/ 9717737 h 14321262"/>
                <a:gd name="connsiteX8" fmla="*/ 15195097 w 18120523"/>
                <a:gd name="connsiteY8" fmla="*/ 9379480 h 14321262"/>
                <a:gd name="connsiteX9" fmla="*/ 15011380 w 18120523"/>
                <a:gd name="connsiteY9" fmla="*/ 10334330 h 14321262"/>
                <a:gd name="connsiteX10" fmla="*/ 14908430 w 18120523"/>
                <a:gd name="connsiteY10" fmla="*/ 11223225 h 14321262"/>
                <a:gd name="connsiteX11" fmla="*/ 14904684 w 18120523"/>
                <a:gd name="connsiteY11" fmla="*/ 12046664 h 14321262"/>
                <a:gd name="connsiteX12" fmla="*/ 14929927 w 18120523"/>
                <a:gd name="connsiteY12" fmla="*/ 13677584 h 14321262"/>
                <a:gd name="connsiteX13" fmla="*/ 12952786 w 18120523"/>
                <a:gd name="connsiteY13" fmla="*/ 14128337 h 14321262"/>
                <a:gd name="connsiteX14" fmla="*/ 11934663 w 18120523"/>
                <a:gd name="connsiteY14" fmla="*/ 14176587 h 14321262"/>
                <a:gd name="connsiteX15" fmla="*/ 8506848 w 18120523"/>
                <a:gd name="connsiteY15" fmla="*/ 14321262 h 14321262"/>
                <a:gd name="connsiteX16" fmla="*/ 7985095 w 18120523"/>
                <a:gd name="connsiteY16" fmla="*/ 13676180 h 14321262"/>
                <a:gd name="connsiteX17" fmla="*/ 7400308 w 18120523"/>
                <a:gd name="connsiteY17" fmla="*/ 13646035 h 14321262"/>
                <a:gd name="connsiteX18" fmla="*/ 6972273 w 18120523"/>
                <a:gd name="connsiteY18" fmla="*/ 13917332 h 14321262"/>
                <a:gd name="connsiteX19" fmla="*/ 5181729 w 18120523"/>
                <a:gd name="connsiteY19" fmla="*/ 13832933 h 14321262"/>
                <a:gd name="connsiteX20" fmla="*/ 4397998 w 18120523"/>
                <a:gd name="connsiteY20" fmla="*/ 13199916 h 14321262"/>
                <a:gd name="connsiteX21" fmla="*/ 2908896 w 18120523"/>
                <a:gd name="connsiteY21" fmla="*/ 12392062 h 14321262"/>
                <a:gd name="connsiteX22" fmla="*/ 1263043 w 18120523"/>
                <a:gd name="connsiteY22" fmla="*/ 11680669 h 14321262"/>
                <a:gd name="connsiteX23" fmla="*/ 485320 w 18120523"/>
                <a:gd name="connsiteY23" fmla="*/ 11228512 h 14321262"/>
                <a:gd name="connsiteX24" fmla="*/ 0 w 18120523"/>
                <a:gd name="connsiteY24" fmla="*/ 10935400 h 14321262"/>
                <a:gd name="connsiteX25" fmla="*/ 1003686 w 18120523"/>
                <a:gd name="connsiteY25" fmla="*/ 10189435 h 14321262"/>
                <a:gd name="connsiteX26" fmla="*/ 2902551 w 18120523"/>
                <a:gd name="connsiteY26" fmla="*/ 9005036 h 14321262"/>
                <a:gd name="connsiteX27" fmla="*/ 2558940 w 18120523"/>
                <a:gd name="connsiteY27" fmla="*/ 8471605 h 14321262"/>
                <a:gd name="connsiteX28" fmla="*/ 2402508 w 18120523"/>
                <a:gd name="connsiteY28" fmla="*/ 7784522 h 14321262"/>
                <a:gd name="connsiteX29" fmla="*/ 2730740 w 18120523"/>
                <a:gd name="connsiteY29" fmla="*/ 7757351 h 14321262"/>
                <a:gd name="connsiteX30" fmla="*/ 2947754 w 18120523"/>
                <a:gd name="connsiteY30" fmla="*/ 7287206 h 14321262"/>
                <a:gd name="connsiteX31" fmla="*/ 3499325 w 18120523"/>
                <a:gd name="connsiteY31" fmla="*/ 6844189 h 14321262"/>
                <a:gd name="connsiteX32" fmla="*/ 3680166 w 18120523"/>
                <a:gd name="connsiteY32" fmla="*/ 5967191 h 14321262"/>
                <a:gd name="connsiteX33" fmla="*/ 4186528 w 18120523"/>
                <a:gd name="connsiteY33" fmla="*/ 5976227 h 14321262"/>
                <a:gd name="connsiteX34" fmla="*/ 4837569 w 18120523"/>
                <a:gd name="connsiteY34" fmla="*/ 6446377 h 14321262"/>
                <a:gd name="connsiteX35" fmla="*/ 5352976 w 18120523"/>
                <a:gd name="connsiteY35" fmla="*/ 6365010 h 14321262"/>
                <a:gd name="connsiteX36" fmla="*/ 5741786 w 18120523"/>
                <a:gd name="connsiteY36" fmla="*/ 5994315 h 14321262"/>
                <a:gd name="connsiteX37" fmla="*/ 6157723 w 18120523"/>
                <a:gd name="connsiteY37" fmla="*/ 5831574 h 14321262"/>
                <a:gd name="connsiteX38" fmla="*/ 6745471 w 18120523"/>
                <a:gd name="connsiteY38" fmla="*/ 5261981 h 14321262"/>
                <a:gd name="connsiteX39" fmla="*/ 6890140 w 18120523"/>
                <a:gd name="connsiteY39" fmla="*/ 4412105 h 14321262"/>
                <a:gd name="connsiteX40" fmla="*/ 7568305 w 18120523"/>
                <a:gd name="connsiteY40" fmla="*/ 3842511 h 14321262"/>
                <a:gd name="connsiteX41" fmla="*/ 8137967 w 18120523"/>
                <a:gd name="connsiteY41" fmla="*/ 3399490 h 14321262"/>
                <a:gd name="connsiteX42" fmla="*/ 8463480 w 18120523"/>
                <a:gd name="connsiteY42" fmla="*/ 2594823 h 14321262"/>
                <a:gd name="connsiteX43" fmla="*/ 9024093 w 18120523"/>
                <a:gd name="connsiteY43" fmla="*/ 2242216 h 14321262"/>
                <a:gd name="connsiteX44" fmla="*/ 9675138 w 18120523"/>
                <a:gd name="connsiteY44" fmla="*/ 1889614 h 14321262"/>
                <a:gd name="connsiteX45" fmla="*/ 9558580 w 18120523"/>
                <a:gd name="connsiteY45" fmla="*/ 1341330 h 14321262"/>
                <a:gd name="connsiteX46" fmla="*/ 10353296 w 18120523"/>
                <a:gd name="connsiteY46" fmla="*/ 669046 h 14321262"/>
                <a:gd name="connsiteX47" fmla="*/ 10832530 w 18120523"/>
                <a:gd name="connsiteY47" fmla="*/ 596712 h 14321262"/>
                <a:gd name="connsiteX48" fmla="*/ 11058585 w 18120523"/>
                <a:gd name="connsiteY48" fmla="*/ 1048781 h 14321262"/>
                <a:gd name="connsiteX49" fmla="*/ 11411229 w 18120523"/>
                <a:gd name="connsiteY49" fmla="*/ 1428512 h 14321262"/>
                <a:gd name="connsiteX50" fmla="*/ 11998974 w 18120523"/>
                <a:gd name="connsiteY50" fmla="*/ 1509882 h 14321262"/>
                <a:gd name="connsiteX51" fmla="*/ 12315449 w 18120523"/>
                <a:gd name="connsiteY51" fmla="*/ 2169894 h 14321262"/>
                <a:gd name="connsiteX52" fmla="*/ 12785642 w 18120523"/>
                <a:gd name="connsiteY52" fmla="*/ 1989065 h 14321262"/>
                <a:gd name="connsiteX53" fmla="*/ 13671776 w 18120523"/>
                <a:gd name="connsiteY53" fmla="*/ 2441126 h 14321262"/>
                <a:gd name="connsiteX54" fmla="*/ 14123886 w 18120523"/>
                <a:gd name="connsiteY54" fmla="*/ 2142773 h 14321262"/>
                <a:gd name="connsiteX55" fmla="*/ 14259509 w 18120523"/>
                <a:gd name="connsiteY55" fmla="*/ 1573172 h 14321262"/>
                <a:gd name="connsiteX56" fmla="*/ 14892468 w 18120523"/>
                <a:gd name="connsiteY56" fmla="*/ 931241 h 14321262"/>
                <a:gd name="connsiteX57" fmla="*/ 15778605 w 18120523"/>
                <a:gd name="connsiteY57" fmla="*/ 379721 h 14321262"/>
                <a:gd name="connsiteX58" fmla="*/ 16022739 w 18120523"/>
                <a:gd name="connsiteY58" fmla="*/ 849871 h 14321262"/>
                <a:gd name="connsiteX59" fmla="*/ 16556232 w 18120523"/>
                <a:gd name="connsiteY59" fmla="*/ 1428523 h 14321262"/>
                <a:gd name="connsiteX60" fmla="*/ 17406193 w 18120523"/>
                <a:gd name="connsiteY60" fmla="*/ 578635 h 14321262"/>
                <a:gd name="connsiteX61" fmla="*/ 18120524 w 18120523"/>
                <a:gd name="connsiteY61" fmla="*/ -2 h 14321262"/>
                <a:gd name="connsiteX62" fmla="*/ 10152517 w 18120523"/>
                <a:gd name="connsiteY62" fmla="*/ 5644020 h 14321262"/>
                <a:gd name="connsiteX63" fmla="*/ 11109603 w 18120523"/>
                <a:gd name="connsiteY63" fmla="*/ 6015494 h 14321262"/>
                <a:gd name="connsiteX64" fmla="*/ 11919572 w 18120523"/>
                <a:gd name="connsiteY64" fmla="*/ 6289016 h 14321262"/>
                <a:gd name="connsiteX65" fmla="*/ 12868275 w 18120523"/>
                <a:gd name="connsiteY65" fmla="*/ 6043805 h 14321262"/>
                <a:gd name="connsiteX66" fmla="*/ 13844296 w 18120523"/>
                <a:gd name="connsiteY66" fmla="*/ 5441970 h 14321262"/>
                <a:gd name="connsiteX67" fmla="*/ 13886291 w 18120523"/>
                <a:gd name="connsiteY67" fmla="*/ 4607602 h 14321262"/>
                <a:gd name="connsiteX68" fmla="*/ 14370431 w 18120523"/>
                <a:gd name="connsiteY68" fmla="*/ 5115954 h 14321262"/>
                <a:gd name="connsiteX69" fmla="*/ 15323320 w 18120523"/>
                <a:gd name="connsiteY69" fmla="*/ 5214227 h 14321262"/>
                <a:gd name="connsiteX70" fmla="*/ 16350939 w 18120523"/>
                <a:gd name="connsiteY70" fmla="*/ 5339086 h 14321262"/>
                <a:gd name="connsiteX71" fmla="*/ 16362364 w 18120523"/>
                <a:gd name="connsiteY71" fmla="*/ 5646366 h 14321262"/>
                <a:gd name="connsiteX72" fmla="*/ 16682563 w 18120523"/>
                <a:gd name="connsiteY72" fmla="*/ 6084269 h 14321262"/>
                <a:gd name="connsiteX0" fmla="*/ 16682563 w 17406190"/>
                <a:gd name="connsiteY0" fmla="*/ 5704551 h 13941544"/>
                <a:gd name="connsiteX1" fmla="*/ 16432262 w 17406190"/>
                <a:gd name="connsiteY1" fmla="*/ 6731937 h 13941544"/>
                <a:gd name="connsiteX2" fmla="*/ 16106317 w 17406190"/>
                <a:gd name="connsiteY2" fmla="*/ 7273241 h 13941544"/>
                <a:gd name="connsiteX3" fmla="*/ 16305649 w 17406190"/>
                <a:gd name="connsiteY3" fmla="*/ 7660570 h 13941544"/>
                <a:gd name="connsiteX4" fmla="*/ 16287189 w 17406190"/>
                <a:gd name="connsiteY4" fmla="*/ 8057177 h 13941544"/>
                <a:gd name="connsiteX5" fmla="*/ 16372801 w 17406190"/>
                <a:gd name="connsiteY5" fmla="*/ 8623442 h 13941544"/>
                <a:gd name="connsiteX6" fmla="*/ 16070155 w 17406190"/>
                <a:gd name="connsiteY6" fmla="*/ 8843828 h 13941544"/>
                <a:gd name="connsiteX7" fmla="*/ 15805690 w 17406190"/>
                <a:gd name="connsiteY7" fmla="*/ 9338019 h 13941544"/>
                <a:gd name="connsiteX8" fmla="*/ 15195097 w 17406190"/>
                <a:gd name="connsiteY8" fmla="*/ 8999762 h 13941544"/>
                <a:gd name="connsiteX9" fmla="*/ 15011380 w 17406190"/>
                <a:gd name="connsiteY9" fmla="*/ 9954612 h 13941544"/>
                <a:gd name="connsiteX10" fmla="*/ 14908430 w 17406190"/>
                <a:gd name="connsiteY10" fmla="*/ 10843507 h 13941544"/>
                <a:gd name="connsiteX11" fmla="*/ 14904684 w 17406190"/>
                <a:gd name="connsiteY11" fmla="*/ 11666946 h 13941544"/>
                <a:gd name="connsiteX12" fmla="*/ 14929927 w 17406190"/>
                <a:gd name="connsiteY12" fmla="*/ 13297866 h 13941544"/>
                <a:gd name="connsiteX13" fmla="*/ 12952786 w 17406190"/>
                <a:gd name="connsiteY13" fmla="*/ 13748619 h 13941544"/>
                <a:gd name="connsiteX14" fmla="*/ 11934663 w 17406190"/>
                <a:gd name="connsiteY14" fmla="*/ 13796869 h 13941544"/>
                <a:gd name="connsiteX15" fmla="*/ 8506848 w 17406190"/>
                <a:gd name="connsiteY15" fmla="*/ 13941544 h 13941544"/>
                <a:gd name="connsiteX16" fmla="*/ 7985095 w 17406190"/>
                <a:gd name="connsiteY16" fmla="*/ 13296462 h 13941544"/>
                <a:gd name="connsiteX17" fmla="*/ 7400308 w 17406190"/>
                <a:gd name="connsiteY17" fmla="*/ 13266317 h 13941544"/>
                <a:gd name="connsiteX18" fmla="*/ 6972273 w 17406190"/>
                <a:gd name="connsiteY18" fmla="*/ 13537614 h 13941544"/>
                <a:gd name="connsiteX19" fmla="*/ 5181729 w 17406190"/>
                <a:gd name="connsiteY19" fmla="*/ 13453215 h 13941544"/>
                <a:gd name="connsiteX20" fmla="*/ 4397998 w 17406190"/>
                <a:gd name="connsiteY20" fmla="*/ 12820198 h 13941544"/>
                <a:gd name="connsiteX21" fmla="*/ 2908896 w 17406190"/>
                <a:gd name="connsiteY21" fmla="*/ 12012344 h 13941544"/>
                <a:gd name="connsiteX22" fmla="*/ 1263043 w 17406190"/>
                <a:gd name="connsiteY22" fmla="*/ 11300951 h 13941544"/>
                <a:gd name="connsiteX23" fmla="*/ 485320 w 17406190"/>
                <a:gd name="connsiteY23" fmla="*/ 10848794 h 13941544"/>
                <a:gd name="connsiteX24" fmla="*/ 0 w 17406190"/>
                <a:gd name="connsiteY24" fmla="*/ 10555682 h 13941544"/>
                <a:gd name="connsiteX25" fmla="*/ 1003686 w 17406190"/>
                <a:gd name="connsiteY25" fmla="*/ 9809717 h 13941544"/>
                <a:gd name="connsiteX26" fmla="*/ 2902551 w 17406190"/>
                <a:gd name="connsiteY26" fmla="*/ 8625318 h 13941544"/>
                <a:gd name="connsiteX27" fmla="*/ 2558940 w 17406190"/>
                <a:gd name="connsiteY27" fmla="*/ 8091887 h 13941544"/>
                <a:gd name="connsiteX28" fmla="*/ 2402508 w 17406190"/>
                <a:gd name="connsiteY28" fmla="*/ 7404804 h 13941544"/>
                <a:gd name="connsiteX29" fmla="*/ 2730740 w 17406190"/>
                <a:gd name="connsiteY29" fmla="*/ 7377633 h 13941544"/>
                <a:gd name="connsiteX30" fmla="*/ 2947754 w 17406190"/>
                <a:gd name="connsiteY30" fmla="*/ 6907488 h 13941544"/>
                <a:gd name="connsiteX31" fmla="*/ 3499325 w 17406190"/>
                <a:gd name="connsiteY31" fmla="*/ 6464471 h 13941544"/>
                <a:gd name="connsiteX32" fmla="*/ 3680166 w 17406190"/>
                <a:gd name="connsiteY32" fmla="*/ 5587473 h 13941544"/>
                <a:gd name="connsiteX33" fmla="*/ 4186528 w 17406190"/>
                <a:gd name="connsiteY33" fmla="*/ 5596509 h 13941544"/>
                <a:gd name="connsiteX34" fmla="*/ 4837569 w 17406190"/>
                <a:gd name="connsiteY34" fmla="*/ 6066659 h 13941544"/>
                <a:gd name="connsiteX35" fmla="*/ 5352976 w 17406190"/>
                <a:gd name="connsiteY35" fmla="*/ 5985292 h 13941544"/>
                <a:gd name="connsiteX36" fmla="*/ 5741786 w 17406190"/>
                <a:gd name="connsiteY36" fmla="*/ 5614597 h 13941544"/>
                <a:gd name="connsiteX37" fmla="*/ 6157723 w 17406190"/>
                <a:gd name="connsiteY37" fmla="*/ 5451856 h 13941544"/>
                <a:gd name="connsiteX38" fmla="*/ 6745471 w 17406190"/>
                <a:gd name="connsiteY38" fmla="*/ 4882263 h 13941544"/>
                <a:gd name="connsiteX39" fmla="*/ 6890140 w 17406190"/>
                <a:gd name="connsiteY39" fmla="*/ 4032387 h 13941544"/>
                <a:gd name="connsiteX40" fmla="*/ 7568305 w 17406190"/>
                <a:gd name="connsiteY40" fmla="*/ 3462793 h 13941544"/>
                <a:gd name="connsiteX41" fmla="*/ 8137967 w 17406190"/>
                <a:gd name="connsiteY41" fmla="*/ 3019772 h 13941544"/>
                <a:gd name="connsiteX42" fmla="*/ 8463480 w 17406190"/>
                <a:gd name="connsiteY42" fmla="*/ 2215105 h 13941544"/>
                <a:gd name="connsiteX43" fmla="*/ 9024093 w 17406190"/>
                <a:gd name="connsiteY43" fmla="*/ 1862498 h 13941544"/>
                <a:gd name="connsiteX44" fmla="*/ 9675138 w 17406190"/>
                <a:gd name="connsiteY44" fmla="*/ 1509896 h 13941544"/>
                <a:gd name="connsiteX45" fmla="*/ 9558580 w 17406190"/>
                <a:gd name="connsiteY45" fmla="*/ 961612 h 13941544"/>
                <a:gd name="connsiteX46" fmla="*/ 10353296 w 17406190"/>
                <a:gd name="connsiteY46" fmla="*/ 289328 h 13941544"/>
                <a:gd name="connsiteX47" fmla="*/ 10832530 w 17406190"/>
                <a:gd name="connsiteY47" fmla="*/ 216994 h 13941544"/>
                <a:gd name="connsiteX48" fmla="*/ 11058585 w 17406190"/>
                <a:gd name="connsiteY48" fmla="*/ 669063 h 13941544"/>
                <a:gd name="connsiteX49" fmla="*/ 11411229 w 17406190"/>
                <a:gd name="connsiteY49" fmla="*/ 1048794 h 13941544"/>
                <a:gd name="connsiteX50" fmla="*/ 11998974 w 17406190"/>
                <a:gd name="connsiteY50" fmla="*/ 1130164 h 13941544"/>
                <a:gd name="connsiteX51" fmla="*/ 12315449 w 17406190"/>
                <a:gd name="connsiteY51" fmla="*/ 1790176 h 13941544"/>
                <a:gd name="connsiteX52" fmla="*/ 12785642 w 17406190"/>
                <a:gd name="connsiteY52" fmla="*/ 1609347 h 13941544"/>
                <a:gd name="connsiteX53" fmla="*/ 13671776 w 17406190"/>
                <a:gd name="connsiteY53" fmla="*/ 2061408 h 13941544"/>
                <a:gd name="connsiteX54" fmla="*/ 14123886 w 17406190"/>
                <a:gd name="connsiteY54" fmla="*/ 1763055 h 13941544"/>
                <a:gd name="connsiteX55" fmla="*/ 14259509 w 17406190"/>
                <a:gd name="connsiteY55" fmla="*/ 1193454 h 13941544"/>
                <a:gd name="connsiteX56" fmla="*/ 14892468 w 17406190"/>
                <a:gd name="connsiteY56" fmla="*/ 551523 h 13941544"/>
                <a:gd name="connsiteX57" fmla="*/ 15778605 w 17406190"/>
                <a:gd name="connsiteY57" fmla="*/ 3 h 13941544"/>
                <a:gd name="connsiteX58" fmla="*/ 16022739 w 17406190"/>
                <a:gd name="connsiteY58" fmla="*/ 470153 h 13941544"/>
                <a:gd name="connsiteX59" fmla="*/ 16556232 w 17406190"/>
                <a:gd name="connsiteY59" fmla="*/ 1048805 h 13941544"/>
                <a:gd name="connsiteX60" fmla="*/ 17406193 w 17406190"/>
                <a:gd name="connsiteY60" fmla="*/ 198917 h 13941544"/>
                <a:gd name="connsiteX61" fmla="*/ 10152517 w 17406190"/>
                <a:gd name="connsiteY61" fmla="*/ 5264302 h 13941544"/>
                <a:gd name="connsiteX62" fmla="*/ 11109603 w 17406190"/>
                <a:gd name="connsiteY62" fmla="*/ 5635776 h 13941544"/>
                <a:gd name="connsiteX63" fmla="*/ 11919572 w 17406190"/>
                <a:gd name="connsiteY63" fmla="*/ 5909298 h 13941544"/>
                <a:gd name="connsiteX64" fmla="*/ 12868275 w 17406190"/>
                <a:gd name="connsiteY64" fmla="*/ 5664087 h 13941544"/>
                <a:gd name="connsiteX65" fmla="*/ 13844296 w 17406190"/>
                <a:gd name="connsiteY65" fmla="*/ 5062252 h 13941544"/>
                <a:gd name="connsiteX66" fmla="*/ 13886291 w 17406190"/>
                <a:gd name="connsiteY66" fmla="*/ 4227884 h 13941544"/>
                <a:gd name="connsiteX67" fmla="*/ 14370431 w 17406190"/>
                <a:gd name="connsiteY67" fmla="*/ 4736236 h 13941544"/>
                <a:gd name="connsiteX68" fmla="*/ 15323320 w 17406190"/>
                <a:gd name="connsiteY68" fmla="*/ 4834509 h 13941544"/>
                <a:gd name="connsiteX69" fmla="*/ 16350939 w 17406190"/>
                <a:gd name="connsiteY69" fmla="*/ 4959368 h 13941544"/>
                <a:gd name="connsiteX70" fmla="*/ 16362364 w 17406190"/>
                <a:gd name="connsiteY70" fmla="*/ 5266648 h 13941544"/>
                <a:gd name="connsiteX71" fmla="*/ 16682563 w 17406190"/>
                <a:gd name="connsiteY71" fmla="*/ 5704551 h 13941544"/>
                <a:gd name="connsiteX0" fmla="*/ 16682563 w 16682562"/>
                <a:gd name="connsiteY0" fmla="*/ 5704551 h 13941544"/>
                <a:gd name="connsiteX1" fmla="*/ 16432262 w 16682562"/>
                <a:gd name="connsiteY1" fmla="*/ 6731937 h 13941544"/>
                <a:gd name="connsiteX2" fmla="*/ 16106317 w 16682562"/>
                <a:gd name="connsiteY2" fmla="*/ 7273241 h 13941544"/>
                <a:gd name="connsiteX3" fmla="*/ 16305649 w 16682562"/>
                <a:gd name="connsiteY3" fmla="*/ 7660570 h 13941544"/>
                <a:gd name="connsiteX4" fmla="*/ 16287189 w 16682562"/>
                <a:gd name="connsiteY4" fmla="*/ 8057177 h 13941544"/>
                <a:gd name="connsiteX5" fmla="*/ 16372801 w 16682562"/>
                <a:gd name="connsiteY5" fmla="*/ 8623442 h 13941544"/>
                <a:gd name="connsiteX6" fmla="*/ 16070155 w 16682562"/>
                <a:gd name="connsiteY6" fmla="*/ 8843828 h 13941544"/>
                <a:gd name="connsiteX7" fmla="*/ 15805690 w 16682562"/>
                <a:gd name="connsiteY7" fmla="*/ 9338019 h 13941544"/>
                <a:gd name="connsiteX8" fmla="*/ 15195097 w 16682562"/>
                <a:gd name="connsiteY8" fmla="*/ 8999762 h 13941544"/>
                <a:gd name="connsiteX9" fmla="*/ 15011380 w 16682562"/>
                <a:gd name="connsiteY9" fmla="*/ 9954612 h 13941544"/>
                <a:gd name="connsiteX10" fmla="*/ 14908430 w 16682562"/>
                <a:gd name="connsiteY10" fmla="*/ 10843507 h 13941544"/>
                <a:gd name="connsiteX11" fmla="*/ 14904684 w 16682562"/>
                <a:gd name="connsiteY11" fmla="*/ 11666946 h 13941544"/>
                <a:gd name="connsiteX12" fmla="*/ 14929927 w 16682562"/>
                <a:gd name="connsiteY12" fmla="*/ 13297866 h 13941544"/>
                <a:gd name="connsiteX13" fmla="*/ 12952786 w 16682562"/>
                <a:gd name="connsiteY13" fmla="*/ 13748619 h 13941544"/>
                <a:gd name="connsiteX14" fmla="*/ 11934663 w 16682562"/>
                <a:gd name="connsiteY14" fmla="*/ 13796869 h 13941544"/>
                <a:gd name="connsiteX15" fmla="*/ 8506848 w 16682562"/>
                <a:gd name="connsiteY15" fmla="*/ 13941544 h 13941544"/>
                <a:gd name="connsiteX16" fmla="*/ 7985095 w 16682562"/>
                <a:gd name="connsiteY16" fmla="*/ 13296462 h 13941544"/>
                <a:gd name="connsiteX17" fmla="*/ 7400308 w 16682562"/>
                <a:gd name="connsiteY17" fmla="*/ 13266317 h 13941544"/>
                <a:gd name="connsiteX18" fmla="*/ 6972273 w 16682562"/>
                <a:gd name="connsiteY18" fmla="*/ 13537614 h 13941544"/>
                <a:gd name="connsiteX19" fmla="*/ 5181729 w 16682562"/>
                <a:gd name="connsiteY19" fmla="*/ 13453215 h 13941544"/>
                <a:gd name="connsiteX20" fmla="*/ 4397998 w 16682562"/>
                <a:gd name="connsiteY20" fmla="*/ 12820198 h 13941544"/>
                <a:gd name="connsiteX21" fmla="*/ 2908896 w 16682562"/>
                <a:gd name="connsiteY21" fmla="*/ 12012344 h 13941544"/>
                <a:gd name="connsiteX22" fmla="*/ 1263043 w 16682562"/>
                <a:gd name="connsiteY22" fmla="*/ 11300951 h 13941544"/>
                <a:gd name="connsiteX23" fmla="*/ 485320 w 16682562"/>
                <a:gd name="connsiteY23" fmla="*/ 10848794 h 13941544"/>
                <a:gd name="connsiteX24" fmla="*/ 0 w 16682562"/>
                <a:gd name="connsiteY24" fmla="*/ 10555682 h 13941544"/>
                <a:gd name="connsiteX25" fmla="*/ 1003686 w 16682562"/>
                <a:gd name="connsiteY25" fmla="*/ 9809717 h 13941544"/>
                <a:gd name="connsiteX26" fmla="*/ 2902551 w 16682562"/>
                <a:gd name="connsiteY26" fmla="*/ 8625318 h 13941544"/>
                <a:gd name="connsiteX27" fmla="*/ 2558940 w 16682562"/>
                <a:gd name="connsiteY27" fmla="*/ 8091887 h 13941544"/>
                <a:gd name="connsiteX28" fmla="*/ 2402508 w 16682562"/>
                <a:gd name="connsiteY28" fmla="*/ 7404804 h 13941544"/>
                <a:gd name="connsiteX29" fmla="*/ 2730740 w 16682562"/>
                <a:gd name="connsiteY29" fmla="*/ 7377633 h 13941544"/>
                <a:gd name="connsiteX30" fmla="*/ 2947754 w 16682562"/>
                <a:gd name="connsiteY30" fmla="*/ 6907488 h 13941544"/>
                <a:gd name="connsiteX31" fmla="*/ 3499325 w 16682562"/>
                <a:gd name="connsiteY31" fmla="*/ 6464471 h 13941544"/>
                <a:gd name="connsiteX32" fmla="*/ 3680166 w 16682562"/>
                <a:gd name="connsiteY32" fmla="*/ 5587473 h 13941544"/>
                <a:gd name="connsiteX33" fmla="*/ 4186528 w 16682562"/>
                <a:gd name="connsiteY33" fmla="*/ 5596509 h 13941544"/>
                <a:gd name="connsiteX34" fmla="*/ 4837569 w 16682562"/>
                <a:gd name="connsiteY34" fmla="*/ 6066659 h 13941544"/>
                <a:gd name="connsiteX35" fmla="*/ 5352976 w 16682562"/>
                <a:gd name="connsiteY35" fmla="*/ 5985292 h 13941544"/>
                <a:gd name="connsiteX36" fmla="*/ 5741786 w 16682562"/>
                <a:gd name="connsiteY36" fmla="*/ 5614597 h 13941544"/>
                <a:gd name="connsiteX37" fmla="*/ 6157723 w 16682562"/>
                <a:gd name="connsiteY37" fmla="*/ 5451856 h 13941544"/>
                <a:gd name="connsiteX38" fmla="*/ 6745471 w 16682562"/>
                <a:gd name="connsiteY38" fmla="*/ 4882263 h 13941544"/>
                <a:gd name="connsiteX39" fmla="*/ 6890140 w 16682562"/>
                <a:gd name="connsiteY39" fmla="*/ 4032387 h 13941544"/>
                <a:gd name="connsiteX40" fmla="*/ 7568305 w 16682562"/>
                <a:gd name="connsiteY40" fmla="*/ 3462793 h 13941544"/>
                <a:gd name="connsiteX41" fmla="*/ 8137967 w 16682562"/>
                <a:gd name="connsiteY41" fmla="*/ 3019772 h 13941544"/>
                <a:gd name="connsiteX42" fmla="*/ 8463480 w 16682562"/>
                <a:gd name="connsiteY42" fmla="*/ 2215105 h 13941544"/>
                <a:gd name="connsiteX43" fmla="*/ 9024093 w 16682562"/>
                <a:gd name="connsiteY43" fmla="*/ 1862498 h 13941544"/>
                <a:gd name="connsiteX44" fmla="*/ 9675138 w 16682562"/>
                <a:gd name="connsiteY44" fmla="*/ 1509896 h 13941544"/>
                <a:gd name="connsiteX45" fmla="*/ 9558580 w 16682562"/>
                <a:gd name="connsiteY45" fmla="*/ 961612 h 13941544"/>
                <a:gd name="connsiteX46" fmla="*/ 10353296 w 16682562"/>
                <a:gd name="connsiteY46" fmla="*/ 289328 h 13941544"/>
                <a:gd name="connsiteX47" fmla="*/ 10832530 w 16682562"/>
                <a:gd name="connsiteY47" fmla="*/ 216994 h 13941544"/>
                <a:gd name="connsiteX48" fmla="*/ 11058585 w 16682562"/>
                <a:gd name="connsiteY48" fmla="*/ 669063 h 13941544"/>
                <a:gd name="connsiteX49" fmla="*/ 11411229 w 16682562"/>
                <a:gd name="connsiteY49" fmla="*/ 1048794 h 13941544"/>
                <a:gd name="connsiteX50" fmla="*/ 11998974 w 16682562"/>
                <a:gd name="connsiteY50" fmla="*/ 1130164 h 13941544"/>
                <a:gd name="connsiteX51" fmla="*/ 12315449 w 16682562"/>
                <a:gd name="connsiteY51" fmla="*/ 1790176 h 13941544"/>
                <a:gd name="connsiteX52" fmla="*/ 12785642 w 16682562"/>
                <a:gd name="connsiteY52" fmla="*/ 1609347 h 13941544"/>
                <a:gd name="connsiteX53" fmla="*/ 13671776 w 16682562"/>
                <a:gd name="connsiteY53" fmla="*/ 2061408 h 13941544"/>
                <a:gd name="connsiteX54" fmla="*/ 14123886 w 16682562"/>
                <a:gd name="connsiteY54" fmla="*/ 1763055 h 13941544"/>
                <a:gd name="connsiteX55" fmla="*/ 14259509 w 16682562"/>
                <a:gd name="connsiteY55" fmla="*/ 1193454 h 13941544"/>
                <a:gd name="connsiteX56" fmla="*/ 14892468 w 16682562"/>
                <a:gd name="connsiteY56" fmla="*/ 551523 h 13941544"/>
                <a:gd name="connsiteX57" fmla="*/ 15778605 w 16682562"/>
                <a:gd name="connsiteY57" fmla="*/ 3 h 13941544"/>
                <a:gd name="connsiteX58" fmla="*/ 16022739 w 16682562"/>
                <a:gd name="connsiteY58" fmla="*/ 470153 h 13941544"/>
                <a:gd name="connsiteX59" fmla="*/ 16556232 w 16682562"/>
                <a:gd name="connsiteY59" fmla="*/ 1048805 h 13941544"/>
                <a:gd name="connsiteX60" fmla="*/ 10152517 w 16682562"/>
                <a:gd name="connsiteY60" fmla="*/ 5264302 h 13941544"/>
                <a:gd name="connsiteX61" fmla="*/ 11109603 w 16682562"/>
                <a:gd name="connsiteY61" fmla="*/ 5635776 h 13941544"/>
                <a:gd name="connsiteX62" fmla="*/ 11919572 w 16682562"/>
                <a:gd name="connsiteY62" fmla="*/ 5909298 h 13941544"/>
                <a:gd name="connsiteX63" fmla="*/ 12868275 w 16682562"/>
                <a:gd name="connsiteY63" fmla="*/ 5664087 h 13941544"/>
                <a:gd name="connsiteX64" fmla="*/ 13844296 w 16682562"/>
                <a:gd name="connsiteY64" fmla="*/ 5062252 h 13941544"/>
                <a:gd name="connsiteX65" fmla="*/ 13886291 w 16682562"/>
                <a:gd name="connsiteY65" fmla="*/ 4227884 h 13941544"/>
                <a:gd name="connsiteX66" fmla="*/ 14370431 w 16682562"/>
                <a:gd name="connsiteY66" fmla="*/ 4736236 h 13941544"/>
                <a:gd name="connsiteX67" fmla="*/ 15323320 w 16682562"/>
                <a:gd name="connsiteY67" fmla="*/ 4834509 h 13941544"/>
                <a:gd name="connsiteX68" fmla="*/ 16350939 w 16682562"/>
                <a:gd name="connsiteY68" fmla="*/ 4959368 h 13941544"/>
                <a:gd name="connsiteX69" fmla="*/ 16362364 w 16682562"/>
                <a:gd name="connsiteY69" fmla="*/ 5266648 h 13941544"/>
                <a:gd name="connsiteX70" fmla="*/ 16682563 w 16682562"/>
                <a:gd name="connsiteY70" fmla="*/ 5704551 h 13941544"/>
                <a:gd name="connsiteX0" fmla="*/ 16682563 w 16682562"/>
                <a:gd name="connsiteY0" fmla="*/ 5704551 h 13941544"/>
                <a:gd name="connsiteX1" fmla="*/ 16432262 w 16682562"/>
                <a:gd name="connsiteY1" fmla="*/ 6731937 h 13941544"/>
                <a:gd name="connsiteX2" fmla="*/ 16106317 w 16682562"/>
                <a:gd name="connsiteY2" fmla="*/ 7273241 h 13941544"/>
                <a:gd name="connsiteX3" fmla="*/ 16305649 w 16682562"/>
                <a:gd name="connsiteY3" fmla="*/ 7660570 h 13941544"/>
                <a:gd name="connsiteX4" fmla="*/ 16287189 w 16682562"/>
                <a:gd name="connsiteY4" fmla="*/ 8057177 h 13941544"/>
                <a:gd name="connsiteX5" fmla="*/ 16372801 w 16682562"/>
                <a:gd name="connsiteY5" fmla="*/ 8623442 h 13941544"/>
                <a:gd name="connsiteX6" fmla="*/ 16070155 w 16682562"/>
                <a:gd name="connsiteY6" fmla="*/ 8843828 h 13941544"/>
                <a:gd name="connsiteX7" fmla="*/ 15805690 w 16682562"/>
                <a:gd name="connsiteY7" fmla="*/ 9338019 h 13941544"/>
                <a:gd name="connsiteX8" fmla="*/ 15195097 w 16682562"/>
                <a:gd name="connsiteY8" fmla="*/ 8999762 h 13941544"/>
                <a:gd name="connsiteX9" fmla="*/ 15011380 w 16682562"/>
                <a:gd name="connsiteY9" fmla="*/ 9954612 h 13941544"/>
                <a:gd name="connsiteX10" fmla="*/ 14908430 w 16682562"/>
                <a:gd name="connsiteY10" fmla="*/ 10843507 h 13941544"/>
                <a:gd name="connsiteX11" fmla="*/ 14904684 w 16682562"/>
                <a:gd name="connsiteY11" fmla="*/ 11666946 h 13941544"/>
                <a:gd name="connsiteX12" fmla="*/ 14929927 w 16682562"/>
                <a:gd name="connsiteY12" fmla="*/ 13297866 h 13941544"/>
                <a:gd name="connsiteX13" fmla="*/ 12952786 w 16682562"/>
                <a:gd name="connsiteY13" fmla="*/ 13748619 h 13941544"/>
                <a:gd name="connsiteX14" fmla="*/ 11934663 w 16682562"/>
                <a:gd name="connsiteY14" fmla="*/ 13796869 h 13941544"/>
                <a:gd name="connsiteX15" fmla="*/ 8506848 w 16682562"/>
                <a:gd name="connsiteY15" fmla="*/ 13941544 h 13941544"/>
                <a:gd name="connsiteX16" fmla="*/ 7985095 w 16682562"/>
                <a:gd name="connsiteY16" fmla="*/ 13296462 h 13941544"/>
                <a:gd name="connsiteX17" fmla="*/ 7400308 w 16682562"/>
                <a:gd name="connsiteY17" fmla="*/ 13266317 h 13941544"/>
                <a:gd name="connsiteX18" fmla="*/ 6972273 w 16682562"/>
                <a:gd name="connsiteY18" fmla="*/ 13537614 h 13941544"/>
                <a:gd name="connsiteX19" fmla="*/ 5181729 w 16682562"/>
                <a:gd name="connsiteY19" fmla="*/ 13453215 h 13941544"/>
                <a:gd name="connsiteX20" fmla="*/ 4397998 w 16682562"/>
                <a:gd name="connsiteY20" fmla="*/ 12820198 h 13941544"/>
                <a:gd name="connsiteX21" fmla="*/ 2908896 w 16682562"/>
                <a:gd name="connsiteY21" fmla="*/ 12012344 h 13941544"/>
                <a:gd name="connsiteX22" fmla="*/ 1263043 w 16682562"/>
                <a:gd name="connsiteY22" fmla="*/ 11300951 h 13941544"/>
                <a:gd name="connsiteX23" fmla="*/ 485320 w 16682562"/>
                <a:gd name="connsiteY23" fmla="*/ 10848794 h 13941544"/>
                <a:gd name="connsiteX24" fmla="*/ 0 w 16682562"/>
                <a:gd name="connsiteY24" fmla="*/ 10555682 h 13941544"/>
                <a:gd name="connsiteX25" fmla="*/ 1003686 w 16682562"/>
                <a:gd name="connsiteY25" fmla="*/ 9809717 h 13941544"/>
                <a:gd name="connsiteX26" fmla="*/ 2902551 w 16682562"/>
                <a:gd name="connsiteY26" fmla="*/ 8625318 h 13941544"/>
                <a:gd name="connsiteX27" fmla="*/ 2558940 w 16682562"/>
                <a:gd name="connsiteY27" fmla="*/ 8091887 h 13941544"/>
                <a:gd name="connsiteX28" fmla="*/ 2402508 w 16682562"/>
                <a:gd name="connsiteY28" fmla="*/ 7404804 h 13941544"/>
                <a:gd name="connsiteX29" fmla="*/ 2730740 w 16682562"/>
                <a:gd name="connsiteY29" fmla="*/ 7377633 h 13941544"/>
                <a:gd name="connsiteX30" fmla="*/ 2947754 w 16682562"/>
                <a:gd name="connsiteY30" fmla="*/ 6907488 h 13941544"/>
                <a:gd name="connsiteX31" fmla="*/ 3499325 w 16682562"/>
                <a:gd name="connsiteY31" fmla="*/ 6464471 h 13941544"/>
                <a:gd name="connsiteX32" fmla="*/ 3680166 w 16682562"/>
                <a:gd name="connsiteY32" fmla="*/ 5587473 h 13941544"/>
                <a:gd name="connsiteX33" fmla="*/ 4186528 w 16682562"/>
                <a:gd name="connsiteY33" fmla="*/ 5596509 h 13941544"/>
                <a:gd name="connsiteX34" fmla="*/ 4837569 w 16682562"/>
                <a:gd name="connsiteY34" fmla="*/ 6066659 h 13941544"/>
                <a:gd name="connsiteX35" fmla="*/ 5352976 w 16682562"/>
                <a:gd name="connsiteY35" fmla="*/ 5985292 h 13941544"/>
                <a:gd name="connsiteX36" fmla="*/ 5741786 w 16682562"/>
                <a:gd name="connsiteY36" fmla="*/ 5614597 h 13941544"/>
                <a:gd name="connsiteX37" fmla="*/ 6157723 w 16682562"/>
                <a:gd name="connsiteY37" fmla="*/ 5451856 h 13941544"/>
                <a:gd name="connsiteX38" fmla="*/ 6745471 w 16682562"/>
                <a:gd name="connsiteY38" fmla="*/ 4882263 h 13941544"/>
                <a:gd name="connsiteX39" fmla="*/ 6890140 w 16682562"/>
                <a:gd name="connsiteY39" fmla="*/ 4032387 h 13941544"/>
                <a:gd name="connsiteX40" fmla="*/ 7568305 w 16682562"/>
                <a:gd name="connsiteY40" fmla="*/ 3462793 h 13941544"/>
                <a:gd name="connsiteX41" fmla="*/ 8137967 w 16682562"/>
                <a:gd name="connsiteY41" fmla="*/ 3019772 h 13941544"/>
                <a:gd name="connsiteX42" fmla="*/ 8463480 w 16682562"/>
                <a:gd name="connsiteY42" fmla="*/ 2215105 h 13941544"/>
                <a:gd name="connsiteX43" fmla="*/ 9024093 w 16682562"/>
                <a:gd name="connsiteY43" fmla="*/ 1862498 h 13941544"/>
                <a:gd name="connsiteX44" fmla="*/ 9675138 w 16682562"/>
                <a:gd name="connsiteY44" fmla="*/ 1509896 h 13941544"/>
                <a:gd name="connsiteX45" fmla="*/ 9558580 w 16682562"/>
                <a:gd name="connsiteY45" fmla="*/ 961612 h 13941544"/>
                <a:gd name="connsiteX46" fmla="*/ 10353296 w 16682562"/>
                <a:gd name="connsiteY46" fmla="*/ 289328 h 13941544"/>
                <a:gd name="connsiteX47" fmla="*/ 10832530 w 16682562"/>
                <a:gd name="connsiteY47" fmla="*/ 216994 h 13941544"/>
                <a:gd name="connsiteX48" fmla="*/ 11058585 w 16682562"/>
                <a:gd name="connsiteY48" fmla="*/ 669063 h 13941544"/>
                <a:gd name="connsiteX49" fmla="*/ 11411229 w 16682562"/>
                <a:gd name="connsiteY49" fmla="*/ 1048794 h 13941544"/>
                <a:gd name="connsiteX50" fmla="*/ 11998974 w 16682562"/>
                <a:gd name="connsiteY50" fmla="*/ 1130164 h 13941544"/>
                <a:gd name="connsiteX51" fmla="*/ 12315449 w 16682562"/>
                <a:gd name="connsiteY51" fmla="*/ 1790176 h 13941544"/>
                <a:gd name="connsiteX52" fmla="*/ 12785642 w 16682562"/>
                <a:gd name="connsiteY52" fmla="*/ 1609347 h 13941544"/>
                <a:gd name="connsiteX53" fmla="*/ 13671776 w 16682562"/>
                <a:gd name="connsiteY53" fmla="*/ 2061408 h 13941544"/>
                <a:gd name="connsiteX54" fmla="*/ 14123886 w 16682562"/>
                <a:gd name="connsiteY54" fmla="*/ 1763055 h 13941544"/>
                <a:gd name="connsiteX55" fmla="*/ 14259509 w 16682562"/>
                <a:gd name="connsiteY55" fmla="*/ 1193454 h 13941544"/>
                <a:gd name="connsiteX56" fmla="*/ 14892468 w 16682562"/>
                <a:gd name="connsiteY56" fmla="*/ 551523 h 13941544"/>
                <a:gd name="connsiteX57" fmla="*/ 15778605 w 16682562"/>
                <a:gd name="connsiteY57" fmla="*/ 3 h 13941544"/>
                <a:gd name="connsiteX58" fmla="*/ 16022739 w 16682562"/>
                <a:gd name="connsiteY58" fmla="*/ 470153 h 13941544"/>
                <a:gd name="connsiteX59" fmla="*/ 9312071 w 16682562"/>
                <a:gd name="connsiteY59" fmla="*/ 4353992 h 13941544"/>
                <a:gd name="connsiteX60" fmla="*/ 10152517 w 16682562"/>
                <a:gd name="connsiteY60" fmla="*/ 5264302 h 13941544"/>
                <a:gd name="connsiteX61" fmla="*/ 11109603 w 16682562"/>
                <a:gd name="connsiteY61" fmla="*/ 5635776 h 13941544"/>
                <a:gd name="connsiteX62" fmla="*/ 11919572 w 16682562"/>
                <a:gd name="connsiteY62" fmla="*/ 5909298 h 13941544"/>
                <a:gd name="connsiteX63" fmla="*/ 12868275 w 16682562"/>
                <a:gd name="connsiteY63" fmla="*/ 5664087 h 13941544"/>
                <a:gd name="connsiteX64" fmla="*/ 13844296 w 16682562"/>
                <a:gd name="connsiteY64" fmla="*/ 5062252 h 13941544"/>
                <a:gd name="connsiteX65" fmla="*/ 13886291 w 16682562"/>
                <a:gd name="connsiteY65" fmla="*/ 4227884 h 13941544"/>
                <a:gd name="connsiteX66" fmla="*/ 14370431 w 16682562"/>
                <a:gd name="connsiteY66" fmla="*/ 4736236 h 13941544"/>
                <a:gd name="connsiteX67" fmla="*/ 15323320 w 16682562"/>
                <a:gd name="connsiteY67" fmla="*/ 4834509 h 13941544"/>
                <a:gd name="connsiteX68" fmla="*/ 16350939 w 16682562"/>
                <a:gd name="connsiteY68" fmla="*/ 4959368 h 13941544"/>
                <a:gd name="connsiteX69" fmla="*/ 16362364 w 16682562"/>
                <a:gd name="connsiteY69" fmla="*/ 5266648 h 13941544"/>
                <a:gd name="connsiteX70" fmla="*/ 16682563 w 16682562"/>
                <a:gd name="connsiteY70" fmla="*/ 5704551 h 13941544"/>
                <a:gd name="connsiteX0" fmla="*/ 16682563 w 16682562"/>
                <a:gd name="connsiteY0" fmla="*/ 5704551 h 13941544"/>
                <a:gd name="connsiteX1" fmla="*/ 16432262 w 16682562"/>
                <a:gd name="connsiteY1" fmla="*/ 6731937 h 13941544"/>
                <a:gd name="connsiteX2" fmla="*/ 16106317 w 16682562"/>
                <a:gd name="connsiteY2" fmla="*/ 7273241 h 13941544"/>
                <a:gd name="connsiteX3" fmla="*/ 16305649 w 16682562"/>
                <a:gd name="connsiteY3" fmla="*/ 7660570 h 13941544"/>
                <a:gd name="connsiteX4" fmla="*/ 16287189 w 16682562"/>
                <a:gd name="connsiteY4" fmla="*/ 8057177 h 13941544"/>
                <a:gd name="connsiteX5" fmla="*/ 16372801 w 16682562"/>
                <a:gd name="connsiteY5" fmla="*/ 8623442 h 13941544"/>
                <a:gd name="connsiteX6" fmla="*/ 16070155 w 16682562"/>
                <a:gd name="connsiteY6" fmla="*/ 8843828 h 13941544"/>
                <a:gd name="connsiteX7" fmla="*/ 15805690 w 16682562"/>
                <a:gd name="connsiteY7" fmla="*/ 9338019 h 13941544"/>
                <a:gd name="connsiteX8" fmla="*/ 15195097 w 16682562"/>
                <a:gd name="connsiteY8" fmla="*/ 8999762 h 13941544"/>
                <a:gd name="connsiteX9" fmla="*/ 15011380 w 16682562"/>
                <a:gd name="connsiteY9" fmla="*/ 9954612 h 13941544"/>
                <a:gd name="connsiteX10" fmla="*/ 14908430 w 16682562"/>
                <a:gd name="connsiteY10" fmla="*/ 10843507 h 13941544"/>
                <a:gd name="connsiteX11" fmla="*/ 14904684 w 16682562"/>
                <a:gd name="connsiteY11" fmla="*/ 11666946 h 13941544"/>
                <a:gd name="connsiteX12" fmla="*/ 14929927 w 16682562"/>
                <a:gd name="connsiteY12" fmla="*/ 13297866 h 13941544"/>
                <a:gd name="connsiteX13" fmla="*/ 12952786 w 16682562"/>
                <a:gd name="connsiteY13" fmla="*/ 13748619 h 13941544"/>
                <a:gd name="connsiteX14" fmla="*/ 11934663 w 16682562"/>
                <a:gd name="connsiteY14" fmla="*/ 13796869 h 13941544"/>
                <a:gd name="connsiteX15" fmla="*/ 8506848 w 16682562"/>
                <a:gd name="connsiteY15" fmla="*/ 13941544 h 13941544"/>
                <a:gd name="connsiteX16" fmla="*/ 7985095 w 16682562"/>
                <a:gd name="connsiteY16" fmla="*/ 13296462 h 13941544"/>
                <a:gd name="connsiteX17" fmla="*/ 7400308 w 16682562"/>
                <a:gd name="connsiteY17" fmla="*/ 13266317 h 13941544"/>
                <a:gd name="connsiteX18" fmla="*/ 6972273 w 16682562"/>
                <a:gd name="connsiteY18" fmla="*/ 13537614 h 13941544"/>
                <a:gd name="connsiteX19" fmla="*/ 5181729 w 16682562"/>
                <a:gd name="connsiteY19" fmla="*/ 13453215 h 13941544"/>
                <a:gd name="connsiteX20" fmla="*/ 4397998 w 16682562"/>
                <a:gd name="connsiteY20" fmla="*/ 12820198 h 13941544"/>
                <a:gd name="connsiteX21" fmla="*/ 2908896 w 16682562"/>
                <a:gd name="connsiteY21" fmla="*/ 12012344 h 13941544"/>
                <a:gd name="connsiteX22" fmla="*/ 1263043 w 16682562"/>
                <a:gd name="connsiteY22" fmla="*/ 11300951 h 13941544"/>
                <a:gd name="connsiteX23" fmla="*/ 485320 w 16682562"/>
                <a:gd name="connsiteY23" fmla="*/ 10848794 h 13941544"/>
                <a:gd name="connsiteX24" fmla="*/ 0 w 16682562"/>
                <a:gd name="connsiteY24" fmla="*/ 10555682 h 13941544"/>
                <a:gd name="connsiteX25" fmla="*/ 1003686 w 16682562"/>
                <a:gd name="connsiteY25" fmla="*/ 9809717 h 13941544"/>
                <a:gd name="connsiteX26" fmla="*/ 2902551 w 16682562"/>
                <a:gd name="connsiteY26" fmla="*/ 8625318 h 13941544"/>
                <a:gd name="connsiteX27" fmla="*/ 2558940 w 16682562"/>
                <a:gd name="connsiteY27" fmla="*/ 8091887 h 13941544"/>
                <a:gd name="connsiteX28" fmla="*/ 2402508 w 16682562"/>
                <a:gd name="connsiteY28" fmla="*/ 7404804 h 13941544"/>
                <a:gd name="connsiteX29" fmla="*/ 2730740 w 16682562"/>
                <a:gd name="connsiteY29" fmla="*/ 7377633 h 13941544"/>
                <a:gd name="connsiteX30" fmla="*/ 2947754 w 16682562"/>
                <a:gd name="connsiteY30" fmla="*/ 6907488 h 13941544"/>
                <a:gd name="connsiteX31" fmla="*/ 3499325 w 16682562"/>
                <a:gd name="connsiteY31" fmla="*/ 6464471 h 13941544"/>
                <a:gd name="connsiteX32" fmla="*/ 3680166 w 16682562"/>
                <a:gd name="connsiteY32" fmla="*/ 5587473 h 13941544"/>
                <a:gd name="connsiteX33" fmla="*/ 4186528 w 16682562"/>
                <a:gd name="connsiteY33" fmla="*/ 5596509 h 13941544"/>
                <a:gd name="connsiteX34" fmla="*/ 4837569 w 16682562"/>
                <a:gd name="connsiteY34" fmla="*/ 6066659 h 13941544"/>
                <a:gd name="connsiteX35" fmla="*/ 5352976 w 16682562"/>
                <a:gd name="connsiteY35" fmla="*/ 5985292 h 13941544"/>
                <a:gd name="connsiteX36" fmla="*/ 5741786 w 16682562"/>
                <a:gd name="connsiteY36" fmla="*/ 5614597 h 13941544"/>
                <a:gd name="connsiteX37" fmla="*/ 6157723 w 16682562"/>
                <a:gd name="connsiteY37" fmla="*/ 5451856 h 13941544"/>
                <a:gd name="connsiteX38" fmla="*/ 6745471 w 16682562"/>
                <a:gd name="connsiteY38" fmla="*/ 4882263 h 13941544"/>
                <a:gd name="connsiteX39" fmla="*/ 6890140 w 16682562"/>
                <a:gd name="connsiteY39" fmla="*/ 4032387 h 13941544"/>
                <a:gd name="connsiteX40" fmla="*/ 7568305 w 16682562"/>
                <a:gd name="connsiteY40" fmla="*/ 3462793 h 13941544"/>
                <a:gd name="connsiteX41" fmla="*/ 8137967 w 16682562"/>
                <a:gd name="connsiteY41" fmla="*/ 3019772 h 13941544"/>
                <a:gd name="connsiteX42" fmla="*/ 8463480 w 16682562"/>
                <a:gd name="connsiteY42" fmla="*/ 2215105 h 13941544"/>
                <a:gd name="connsiteX43" fmla="*/ 9024093 w 16682562"/>
                <a:gd name="connsiteY43" fmla="*/ 1862498 h 13941544"/>
                <a:gd name="connsiteX44" fmla="*/ 9675138 w 16682562"/>
                <a:gd name="connsiteY44" fmla="*/ 1509896 h 13941544"/>
                <a:gd name="connsiteX45" fmla="*/ 9558580 w 16682562"/>
                <a:gd name="connsiteY45" fmla="*/ 961612 h 13941544"/>
                <a:gd name="connsiteX46" fmla="*/ 10353296 w 16682562"/>
                <a:gd name="connsiteY46" fmla="*/ 289328 h 13941544"/>
                <a:gd name="connsiteX47" fmla="*/ 10832530 w 16682562"/>
                <a:gd name="connsiteY47" fmla="*/ 216994 h 13941544"/>
                <a:gd name="connsiteX48" fmla="*/ 11058585 w 16682562"/>
                <a:gd name="connsiteY48" fmla="*/ 669063 h 13941544"/>
                <a:gd name="connsiteX49" fmla="*/ 11411229 w 16682562"/>
                <a:gd name="connsiteY49" fmla="*/ 1048794 h 13941544"/>
                <a:gd name="connsiteX50" fmla="*/ 11998974 w 16682562"/>
                <a:gd name="connsiteY50" fmla="*/ 1130164 h 13941544"/>
                <a:gd name="connsiteX51" fmla="*/ 12315449 w 16682562"/>
                <a:gd name="connsiteY51" fmla="*/ 1790176 h 13941544"/>
                <a:gd name="connsiteX52" fmla="*/ 12785642 w 16682562"/>
                <a:gd name="connsiteY52" fmla="*/ 1609347 h 13941544"/>
                <a:gd name="connsiteX53" fmla="*/ 13671776 w 16682562"/>
                <a:gd name="connsiteY53" fmla="*/ 2061408 h 13941544"/>
                <a:gd name="connsiteX54" fmla="*/ 14123886 w 16682562"/>
                <a:gd name="connsiteY54" fmla="*/ 1763055 h 13941544"/>
                <a:gd name="connsiteX55" fmla="*/ 14259509 w 16682562"/>
                <a:gd name="connsiteY55" fmla="*/ 1193454 h 13941544"/>
                <a:gd name="connsiteX56" fmla="*/ 14892468 w 16682562"/>
                <a:gd name="connsiteY56" fmla="*/ 551523 h 13941544"/>
                <a:gd name="connsiteX57" fmla="*/ 15778605 w 16682562"/>
                <a:gd name="connsiteY57" fmla="*/ 3 h 13941544"/>
                <a:gd name="connsiteX58" fmla="*/ 16022739 w 16682562"/>
                <a:gd name="connsiteY58" fmla="*/ 470153 h 13941544"/>
                <a:gd name="connsiteX59" fmla="*/ 9761321 w 16682562"/>
                <a:gd name="connsiteY59" fmla="*/ 4466032 h 13941544"/>
                <a:gd name="connsiteX60" fmla="*/ 10152517 w 16682562"/>
                <a:gd name="connsiteY60" fmla="*/ 5264302 h 13941544"/>
                <a:gd name="connsiteX61" fmla="*/ 11109603 w 16682562"/>
                <a:gd name="connsiteY61" fmla="*/ 5635776 h 13941544"/>
                <a:gd name="connsiteX62" fmla="*/ 11919572 w 16682562"/>
                <a:gd name="connsiteY62" fmla="*/ 5909298 h 13941544"/>
                <a:gd name="connsiteX63" fmla="*/ 12868275 w 16682562"/>
                <a:gd name="connsiteY63" fmla="*/ 5664087 h 13941544"/>
                <a:gd name="connsiteX64" fmla="*/ 13844296 w 16682562"/>
                <a:gd name="connsiteY64" fmla="*/ 5062252 h 13941544"/>
                <a:gd name="connsiteX65" fmla="*/ 13886291 w 16682562"/>
                <a:gd name="connsiteY65" fmla="*/ 4227884 h 13941544"/>
                <a:gd name="connsiteX66" fmla="*/ 14370431 w 16682562"/>
                <a:gd name="connsiteY66" fmla="*/ 4736236 h 13941544"/>
                <a:gd name="connsiteX67" fmla="*/ 15323320 w 16682562"/>
                <a:gd name="connsiteY67" fmla="*/ 4834509 h 13941544"/>
                <a:gd name="connsiteX68" fmla="*/ 16350939 w 16682562"/>
                <a:gd name="connsiteY68" fmla="*/ 4959368 h 13941544"/>
                <a:gd name="connsiteX69" fmla="*/ 16362364 w 16682562"/>
                <a:gd name="connsiteY69" fmla="*/ 5266648 h 13941544"/>
                <a:gd name="connsiteX70" fmla="*/ 16682563 w 16682562"/>
                <a:gd name="connsiteY70" fmla="*/ 5704551 h 13941544"/>
                <a:gd name="connsiteX0" fmla="*/ 16682563 w 16682562"/>
                <a:gd name="connsiteY0" fmla="*/ 5704551 h 13941544"/>
                <a:gd name="connsiteX1" fmla="*/ 16432262 w 16682562"/>
                <a:gd name="connsiteY1" fmla="*/ 6731937 h 13941544"/>
                <a:gd name="connsiteX2" fmla="*/ 16106317 w 16682562"/>
                <a:gd name="connsiteY2" fmla="*/ 7273241 h 13941544"/>
                <a:gd name="connsiteX3" fmla="*/ 16305649 w 16682562"/>
                <a:gd name="connsiteY3" fmla="*/ 7660570 h 13941544"/>
                <a:gd name="connsiteX4" fmla="*/ 16287189 w 16682562"/>
                <a:gd name="connsiteY4" fmla="*/ 8057177 h 13941544"/>
                <a:gd name="connsiteX5" fmla="*/ 16372801 w 16682562"/>
                <a:gd name="connsiteY5" fmla="*/ 8623442 h 13941544"/>
                <a:gd name="connsiteX6" fmla="*/ 16070155 w 16682562"/>
                <a:gd name="connsiteY6" fmla="*/ 8843828 h 13941544"/>
                <a:gd name="connsiteX7" fmla="*/ 15805690 w 16682562"/>
                <a:gd name="connsiteY7" fmla="*/ 9338019 h 13941544"/>
                <a:gd name="connsiteX8" fmla="*/ 15195097 w 16682562"/>
                <a:gd name="connsiteY8" fmla="*/ 8999762 h 13941544"/>
                <a:gd name="connsiteX9" fmla="*/ 15011380 w 16682562"/>
                <a:gd name="connsiteY9" fmla="*/ 9954612 h 13941544"/>
                <a:gd name="connsiteX10" fmla="*/ 14908430 w 16682562"/>
                <a:gd name="connsiteY10" fmla="*/ 10843507 h 13941544"/>
                <a:gd name="connsiteX11" fmla="*/ 14904684 w 16682562"/>
                <a:gd name="connsiteY11" fmla="*/ 11666946 h 13941544"/>
                <a:gd name="connsiteX12" fmla="*/ 14929927 w 16682562"/>
                <a:gd name="connsiteY12" fmla="*/ 13297866 h 13941544"/>
                <a:gd name="connsiteX13" fmla="*/ 12952786 w 16682562"/>
                <a:gd name="connsiteY13" fmla="*/ 13748619 h 13941544"/>
                <a:gd name="connsiteX14" fmla="*/ 11934663 w 16682562"/>
                <a:gd name="connsiteY14" fmla="*/ 13796869 h 13941544"/>
                <a:gd name="connsiteX15" fmla="*/ 8506848 w 16682562"/>
                <a:gd name="connsiteY15" fmla="*/ 13941544 h 13941544"/>
                <a:gd name="connsiteX16" fmla="*/ 7985095 w 16682562"/>
                <a:gd name="connsiteY16" fmla="*/ 13296462 h 13941544"/>
                <a:gd name="connsiteX17" fmla="*/ 7400308 w 16682562"/>
                <a:gd name="connsiteY17" fmla="*/ 13266317 h 13941544"/>
                <a:gd name="connsiteX18" fmla="*/ 6972273 w 16682562"/>
                <a:gd name="connsiteY18" fmla="*/ 13537614 h 13941544"/>
                <a:gd name="connsiteX19" fmla="*/ 5181729 w 16682562"/>
                <a:gd name="connsiteY19" fmla="*/ 13453215 h 13941544"/>
                <a:gd name="connsiteX20" fmla="*/ 4397998 w 16682562"/>
                <a:gd name="connsiteY20" fmla="*/ 12820198 h 13941544"/>
                <a:gd name="connsiteX21" fmla="*/ 2908896 w 16682562"/>
                <a:gd name="connsiteY21" fmla="*/ 12012344 h 13941544"/>
                <a:gd name="connsiteX22" fmla="*/ 1263043 w 16682562"/>
                <a:gd name="connsiteY22" fmla="*/ 11300951 h 13941544"/>
                <a:gd name="connsiteX23" fmla="*/ 485320 w 16682562"/>
                <a:gd name="connsiteY23" fmla="*/ 10848794 h 13941544"/>
                <a:gd name="connsiteX24" fmla="*/ 0 w 16682562"/>
                <a:gd name="connsiteY24" fmla="*/ 10555682 h 13941544"/>
                <a:gd name="connsiteX25" fmla="*/ 1003686 w 16682562"/>
                <a:gd name="connsiteY25" fmla="*/ 9809717 h 13941544"/>
                <a:gd name="connsiteX26" fmla="*/ 2902551 w 16682562"/>
                <a:gd name="connsiteY26" fmla="*/ 8625318 h 13941544"/>
                <a:gd name="connsiteX27" fmla="*/ 2558940 w 16682562"/>
                <a:gd name="connsiteY27" fmla="*/ 8091887 h 13941544"/>
                <a:gd name="connsiteX28" fmla="*/ 2402508 w 16682562"/>
                <a:gd name="connsiteY28" fmla="*/ 7404804 h 13941544"/>
                <a:gd name="connsiteX29" fmla="*/ 2730740 w 16682562"/>
                <a:gd name="connsiteY29" fmla="*/ 7377633 h 13941544"/>
                <a:gd name="connsiteX30" fmla="*/ 2947754 w 16682562"/>
                <a:gd name="connsiteY30" fmla="*/ 6907488 h 13941544"/>
                <a:gd name="connsiteX31" fmla="*/ 3499325 w 16682562"/>
                <a:gd name="connsiteY31" fmla="*/ 6464471 h 13941544"/>
                <a:gd name="connsiteX32" fmla="*/ 3680166 w 16682562"/>
                <a:gd name="connsiteY32" fmla="*/ 5587473 h 13941544"/>
                <a:gd name="connsiteX33" fmla="*/ 4186528 w 16682562"/>
                <a:gd name="connsiteY33" fmla="*/ 5596509 h 13941544"/>
                <a:gd name="connsiteX34" fmla="*/ 4837569 w 16682562"/>
                <a:gd name="connsiteY34" fmla="*/ 6066659 h 13941544"/>
                <a:gd name="connsiteX35" fmla="*/ 5352976 w 16682562"/>
                <a:gd name="connsiteY35" fmla="*/ 5985292 h 13941544"/>
                <a:gd name="connsiteX36" fmla="*/ 5741786 w 16682562"/>
                <a:gd name="connsiteY36" fmla="*/ 5614597 h 13941544"/>
                <a:gd name="connsiteX37" fmla="*/ 6157723 w 16682562"/>
                <a:gd name="connsiteY37" fmla="*/ 5451856 h 13941544"/>
                <a:gd name="connsiteX38" fmla="*/ 6745471 w 16682562"/>
                <a:gd name="connsiteY38" fmla="*/ 4882263 h 13941544"/>
                <a:gd name="connsiteX39" fmla="*/ 6890140 w 16682562"/>
                <a:gd name="connsiteY39" fmla="*/ 4032387 h 13941544"/>
                <a:gd name="connsiteX40" fmla="*/ 7568305 w 16682562"/>
                <a:gd name="connsiteY40" fmla="*/ 3462793 h 13941544"/>
                <a:gd name="connsiteX41" fmla="*/ 8137967 w 16682562"/>
                <a:gd name="connsiteY41" fmla="*/ 3019772 h 13941544"/>
                <a:gd name="connsiteX42" fmla="*/ 8463480 w 16682562"/>
                <a:gd name="connsiteY42" fmla="*/ 2215105 h 13941544"/>
                <a:gd name="connsiteX43" fmla="*/ 9024093 w 16682562"/>
                <a:gd name="connsiteY43" fmla="*/ 1862498 h 13941544"/>
                <a:gd name="connsiteX44" fmla="*/ 9675138 w 16682562"/>
                <a:gd name="connsiteY44" fmla="*/ 1509896 h 13941544"/>
                <a:gd name="connsiteX45" fmla="*/ 9558580 w 16682562"/>
                <a:gd name="connsiteY45" fmla="*/ 961612 h 13941544"/>
                <a:gd name="connsiteX46" fmla="*/ 10353296 w 16682562"/>
                <a:gd name="connsiteY46" fmla="*/ 289328 h 13941544"/>
                <a:gd name="connsiteX47" fmla="*/ 10832530 w 16682562"/>
                <a:gd name="connsiteY47" fmla="*/ 216994 h 13941544"/>
                <a:gd name="connsiteX48" fmla="*/ 11058585 w 16682562"/>
                <a:gd name="connsiteY48" fmla="*/ 669063 h 13941544"/>
                <a:gd name="connsiteX49" fmla="*/ 11411229 w 16682562"/>
                <a:gd name="connsiteY49" fmla="*/ 1048794 h 13941544"/>
                <a:gd name="connsiteX50" fmla="*/ 11998974 w 16682562"/>
                <a:gd name="connsiteY50" fmla="*/ 1130164 h 13941544"/>
                <a:gd name="connsiteX51" fmla="*/ 12315449 w 16682562"/>
                <a:gd name="connsiteY51" fmla="*/ 1790176 h 13941544"/>
                <a:gd name="connsiteX52" fmla="*/ 12785642 w 16682562"/>
                <a:gd name="connsiteY52" fmla="*/ 1609347 h 13941544"/>
                <a:gd name="connsiteX53" fmla="*/ 13671776 w 16682562"/>
                <a:gd name="connsiteY53" fmla="*/ 2061408 h 13941544"/>
                <a:gd name="connsiteX54" fmla="*/ 14123886 w 16682562"/>
                <a:gd name="connsiteY54" fmla="*/ 1763055 h 13941544"/>
                <a:gd name="connsiteX55" fmla="*/ 14259509 w 16682562"/>
                <a:gd name="connsiteY55" fmla="*/ 1193454 h 13941544"/>
                <a:gd name="connsiteX56" fmla="*/ 14892468 w 16682562"/>
                <a:gd name="connsiteY56" fmla="*/ 551523 h 13941544"/>
                <a:gd name="connsiteX57" fmla="*/ 15778605 w 16682562"/>
                <a:gd name="connsiteY57" fmla="*/ 3 h 13941544"/>
                <a:gd name="connsiteX58" fmla="*/ 9761321 w 16682562"/>
                <a:gd name="connsiteY58" fmla="*/ 4466032 h 13941544"/>
                <a:gd name="connsiteX59" fmla="*/ 10152517 w 16682562"/>
                <a:gd name="connsiteY59" fmla="*/ 5264302 h 13941544"/>
                <a:gd name="connsiteX60" fmla="*/ 11109603 w 16682562"/>
                <a:gd name="connsiteY60" fmla="*/ 5635776 h 13941544"/>
                <a:gd name="connsiteX61" fmla="*/ 11919572 w 16682562"/>
                <a:gd name="connsiteY61" fmla="*/ 5909298 h 13941544"/>
                <a:gd name="connsiteX62" fmla="*/ 12868275 w 16682562"/>
                <a:gd name="connsiteY62" fmla="*/ 5664087 h 13941544"/>
                <a:gd name="connsiteX63" fmla="*/ 13844296 w 16682562"/>
                <a:gd name="connsiteY63" fmla="*/ 5062252 h 13941544"/>
                <a:gd name="connsiteX64" fmla="*/ 13886291 w 16682562"/>
                <a:gd name="connsiteY64" fmla="*/ 4227884 h 13941544"/>
                <a:gd name="connsiteX65" fmla="*/ 14370431 w 16682562"/>
                <a:gd name="connsiteY65" fmla="*/ 4736236 h 13941544"/>
                <a:gd name="connsiteX66" fmla="*/ 15323320 w 16682562"/>
                <a:gd name="connsiteY66" fmla="*/ 4834509 h 13941544"/>
                <a:gd name="connsiteX67" fmla="*/ 16350939 w 16682562"/>
                <a:gd name="connsiteY67" fmla="*/ 4959368 h 13941544"/>
                <a:gd name="connsiteX68" fmla="*/ 16362364 w 16682562"/>
                <a:gd name="connsiteY68" fmla="*/ 5266648 h 13941544"/>
                <a:gd name="connsiteX69" fmla="*/ 16682563 w 16682562"/>
                <a:gd name="connsiteY69" fmla="*/ 5704551 h 13941544"/>
                <a:gd name="connsiteX0" fmla="*/ 16682563 w 16682562"/>
                <a:gd name="connsiteY0" fmla="*/ 5487558 h 13724551"/>
                <a:gd name="connsiteX1" fmla="*/ 16432262 w 16682562"/>
                <a:gd name="connsiteY1" fmla="*/ 6514944 h 13724551"/>
                <a:gd name="connsiteX2" fmla="*/ 16106317 w 16682562"/>
                <a:gd name="connsiteY2" fmla="*/ 7056248 h 13724551"/>
                <a:gd name="connsiteX3" fmla="*/ 16305649 w 16682562"/>
                <a:gd name="connsiteY3" fmla="*/ 7443577 h 13724551"/>
                <a:gd name="connsiteX4" fmla="*/ 16287189 w 16682562"/>
                <a:gd name="connsiteY4" fmla="*/ 7840184 h 13724551"/>
                <a:gd name="connsiteX5" fmla="*/ 16372801 w 16682562"/>
                <a:gd name="connsiteY5" fmla="*/ 8406449 h 13724551"/>
                <a:gd name="connsiteX6" fmla="*/ 16070155 w 16682562"/>
                <a:gd name="connsiteY6" fmla="*/ 8626835 h 13724551"/>
                <a:gd name="connsiteX7" fmla="*/ 15805690 w 16682562"/>
                <a:gd name="connsiteY7" fmla="*/ 9121026 h 13724551"/>
                <a:gd name="connsiteX8" fmla="*/ 15195097 w 16682562"/>
                <a:gd name="connsiteY8" fmla="*/ 8782769 h 13724551"/>
                <a:gd name="connsiteX9" fmla="*/ 15011380 w 16682562"/>
                <a:gd name="connsiteY9" fmla="*/ 9737619 h 13724551"/>
                <a:gd name="connsiteX10" fmla="*/ 14908430 w 16682562"/>
                <a:gd name="connsiteY10" fmla="*/ 10626514 h 13724551"/>
                <a:gd name="connsiteX11" fmla="*/ 14904684 w 16682562"/>
                <a:gd name="connsiteY11" fmla="*/ 11449953 h 13724551"/>
                <a:gd name="connsiteX12" fmla="*/ 14929927 w 16682562"/>
                <a:gd name="connsiteY12" fmla="*/ 13080873 h 13724551"/>
                <a:gd name="connsiteX13" fmla="*/ 12952786 w 16682562"/>
                <a:gd name="connsiteY13" fmla="*/ 13531626 h 13724551"/>
                <a:gd name="connsiteX14" fmla="*/ 11934663 w 16682562"/>
                <a:gd name="connsiteY14" fmla="*/ 13579876 h 13724551"/>
                <a:gd name="connsiteX15" fmla="*/ 8506848 w 16682562"/>
                <a:gd name="connsiteY15" fmla="*/ 13724551 h 13724551"/>
                <a:gd name="connsiteX16" fmla="*/ 7985095 w 16682562"/>
                <a:gd name="connsiteY16" fmla="*/ 13079469 h 13724551"/>
                <a:gd name="connsiteX17" fmla="*/ 7400308 w 16682562"/>
                <a:gd name="connsiteY17" fmla="*/ 13049324 h 13724551"/>
                <a:gd name="connsiteX18" fmla="*/ 6972273 w 16682562"/>
                <a:gd name="connsiteY18" fmla="*/ 13320621 h 13724551"/>
                <a:gd name="connsiteX19" fmla="*/ 5181729 w 16682562"/>
                <a:gd name="connsiteY19" fmla="*/ 13236222 h 13724551"/>
                <a:gd name="connsiteX20" fmla="*/ 4397998 w 16682562"/>
                <a:gd name="connsiteY20" fmla="*/ 12603205 h 13724551"/>
                <a:gd name="connsiteX21" fmla="*/ 2908896 w 16682562"/>
                <a:gd name="connsiteY21" fmla="*/ 11795351 h 13724551"/>
                <a:gd name="connsiteX22" fmla="*/ 1263043 w 16682562"/>
                <a:gd name="connsiteY22" fmla="*/ 11083958 h 13724551"/>
                <a:gd name="connsiteX23" fmla="*/ 485320 w 16682562"/>
                <a:gd name="connsiteY23" fmla="*/ 10631801 h 13724551"/>
                <a:gd name="connsiteX24" fmla="*/ 0 w 16682562"/>
                <a:gd name="connsiteY24" fmla="*/ 10338689 h 13724551"/>
                <a:gd name="connsiteX25" fmla="*/ 1003686 w 16682562"/>
                <a:gd name="connsiteY25" fmla="*/ 9592724 h 13724551"/>
                <a:gd name="connsiteX26" fmla="*/ 2902551 w 16682562"/>
                <a:gd name="connsiteY26" fmla="*/ 8408325 h 13724551"/>
                <a:gd name="connsiteX27" fmla="*/ 2558940 w 16682562"/>
                <a:gd name="connsiteY27" fmla="*/ 7874894 h 13724551"/>
                <a:gd name="connsiteX28" fmla="*/ 2402508 w 16682562"/>
                <a:gd name="connsiteY28" fmla="*/ 7187811 h 13724551"/>
                <a:gd name="connsiteX29" fmla="*/ 2730740 w 16682562"/>
                <a:gd name="connsiteY29" fmla="*/ 7160640 h 13724551"/>
                <a:gd name="connsiteX30" fmla="*/ 2947754 w 16682562"/>
                <a:gd name="connsiteY30" fmla="*/ 6690495 h 13724551"/>
                <a:gd name="connsiteX31" fmla="*/ 3499325 w 16682562"/>
                <a:gd name="connsiteY31" fmla="*/ 6247478 h 13724551"/>
                <a:gd name="connsiteX32" fmla="*/ 3680166 w 16682562"/>
                <a:gd name="connsiteY32" fmla="*/ 5370480 h 13724551"/>
                <a:gd name="connsiteX33" fmla="*/ 4186528 w 16682562"/>
                <a:gd name="connsiteY33" fmla="*/ 5379516 h 13724551"/>
                <a:gd name="connsiteX34" fmla="*/ 4837569 w 16682562"/>
                <a:gd name="connsiteY34" fmla="*/ 5849666 h 13724551"/>
                <a:gd name="connsiteX35" fmla="*/ 5352976 w 16682562"/>
                <a:gd name="connsiteY35" fmla="*/ 5768299 h 13724551"/>
                <a:gd name="connsiteX36" fmla="*/ 5741786 w 16682562"/>
                <a:gd name="connsiteY36" fmla="*/ 5397604 h 13724551"/>
                <a:gd name="connsiteX37" fmla="*/ 6157723 w 16682562"/>
                <a:gd name="connsiteY37" fmla="*/ 5234863 h 13724551"/>
                <a:gd name="connsiteX38" fmla="*/ 6745471 w 16682562"/>
                <a:gd name="connsiteY38" fmla="*/ 4665270 h 13724551"/>
                <a:gd name="connsiteX39" fmla="*/ 6890140 w 16682562"/>
                <a:gd name="connsiteY39" fmla="*/ 3815394 h 13724551"/>
                <a:gd name="connsiteX40" fmla="*/ 7568305 w 16682562"/>
                <a:gd name="connsiteY40" fmla="*/ 3245800 h 13724551"/>
                <a:gd name="connsiteX41" fmla="*/ 8137967 w 16682562"/>
                <a:gd name="connsiteY41" fmla="*/ 2802779 h 13724551"/>
                <a:gd name="connsiteX42" fmla="*/ 8463480 w 16682562"/>
                <a:gd name="connsiteY42" fmla="*/ 1998112 h 13724551"/>
                <a:gd name="connsiteX43" fmla="*/ 9024093 w 16682562"/>
                <a:gd name="connsiteY43" fmla="*/ 1645505 h 13724551"/>
                <a:gd name="connsiteX44" fmla="*/ 9675138 w 16682562"/>
                <a:gd name="connsiteY44" fmla="*/ 1292903 h 13724551"/>
                <a:gd name="connsiteX45" fmla="*/ 9558580 w 16682562"/>
                <a:gd name="connsiteY45" fmla="*/ 744619 h 13724551"/>
                <a:gd name="connsiteX46" fmla="*/ 10353296 w 16682562"/>
                <a:gd name="connsiteY46" fmla="*/ 72335 h 13724551"/>
                <a:gd name="connsiteX47" fmla="*/ 10832530 w 16682562"/>
                <a:gd name="connsiteY47" fmla="*/ 1 h 13724551"/>
                <a:gd name="connsiteX48" fmla="*/ 11058585 w 16682562"/>
                <a:gd name="connsiteY48" fmla="*/ 452070 h 13724551"/>
                <a:gd name="connsiteX49" fmla="*/ 11411229 w 16682562"/>
                <a:gd name="connsiteY49" fmla="*/ 831801 h 13724551"/>
                <a:gd name="connsiteX50" fmla="*/ 11998974 w 16682562"/>
                <a:gd name="connsiteY50" fmla="*/ 913171 h 13724551"/>
                <a:gd name="connsiteX51" fmla="*/ 12315449 w 16682562"/>
                <a:gd name="connsiteY51" fmla="*/ 1573183 h 13724551"/>
                <a:gd name="connsiteX52" fmla="*/ 12785642 w 16682562"/>
                <a:gd name="connsiteY52" fmla="*/ 1392354 h 13724551"/>
                <a:gd name="connsiteX53" fmla="*/ 13671776 w 16682562"/>
                <a:gd name="connsiteY53" fmla="*/ 1844415 h 13724551"/>
                <a:gd name="connsiteX54" fmla="*/ 14123886 w 16682562"/>
                <a:gd name="connsiteY54" fmla="*/ 1546062 h 13724551"/>
                <a:gd name="connsiteX55" fmla="*/ 14259509 w 16682562"/>
                <a:gd name="connsiteY55" fmla="*/ 976461 h 13724551"/>
                <a:gd name="connsiteX56" fmla="*/ 14892468 w 16682562"/>
                <a:gd name="connsiteY56" fmla="*/ 334530 h 13724551"/>
                <a:gd name="connsiteX57" fmla="*/ 9761321 w 16682562"/>
                <a:gd name="connsiteY57" fmla="*/ 4249039 h 13724551"/>
                <a:gd name="connsiteX58" fmla="*/ 10152517 w 16682562"/>
                <a:gd name="connsiteY58" fmla="*/ 5047309 h 13724551"/>
                <a:gd name="connsiteX59" fmla="*/ 11109603 w 16682562"/>
                <a:gd name="connsiteY59" fmla="*/ 5418783 h 13724551"/>
                <a:gd name="connsiteX60" fmla="*/ 11919572 w 16682562"/>
                <a:gd name="connsiteY60" fmla="*/ 5692305 h 13724551"/>
                <a:gd name="connsiteX61" fmla="*/ 12868275 w 16682562"/>
                <a:gd name="connsiteY61" fmla="*/ 5447094 h 13724551"/>
                <a:gd name="connsiteX62" fmla="*/ 13844296 w 16682562"/>
                <a:gd name="connsiteY62" fmla="*/ 4845259 h 13724551"/>
                <a:gd name="connsiteX63" fmla="*/ 13886291 w 16682562"/>
                <a:gd name="connsiteY63" fmla="*/ 4010891 h 13724551"/>
                <a:gd name="connsiteX64" fmla="*/ 14370431 w 16682562"/>
                <a:gd name="connsiteY64" fmla="*/ 4519243 h 13724551"/>
                <a:gd name="connsiteX65" fmla="*/ 15323320 w 16682562"/>
                <a:gd name="connsiteY65" fmla="*/ 4617516 h 13724551"/>
                <a:gd name="connsiteX66" fmla="*/ 16350939 w 16682562"/>
                <a:gd name="connsiteY66" fmla="*/ 4742375 h 13724551"/>
                <a:gd name="connsiteX67" fmla="*/ 16362364 w 16682562"/>
                <a:gd name="connsiteY67" fmla="*/ 5049655 h 13724551"/>
                <a:gd name="connsiteX68" fmla="*/ 16682563 w 16682562"/>
                <a:gd name="connsiteY68" fmla="*/ 5487558 h 13724551"/>
                <a:gd name="connsiteX0" fmla="*/ 16682563 w 16682562"/>
                <a:gd name="connsiteY0" fmla="*/ 5487558 h 13724551"/>
                <a:gd name="connsiteX1" fmla="*/ 16432262 w 16682562"/>
                <a:gd name="connsiteY1" fmla="*/ 6514944 h 13724551"/>
                <a:gd name="connsiteX2" fmla="*/ 16106317 w 16682562"/>
                <a:gd name="connsiteY2" fmla="*/ 7056248 h 13724551"/>
                <a:gd name="connsiteX3" fmla="*/ 16305649 w 16682562"/>
                <a:gd name="connsiteY3" fmla="*/ 7443577 h 13724551"/>
                <a:gd name="connsiteX4" fmla="*/ 16287189 w 16682562"/>
                <a:gd name="connsiteY4" fmla="*/ 7840184 h 13724551"/>
                <a:gd name="connsiteX5" fmla="*/ 16372801 w 16682562"/>
                <a:gd name="connsiteY5" fmla="*/ 8406449 h 13724551"/>
                <a:gd name="connsiteX6" fmla="*/ 16070155 w 16682562"/>
                <a:gd name="connsiteY6" fmla="*/ 8626835 h 13724551"/>
                <a:gd name="connsiteX7" fmla="*/ 15805690 w 16682562"/>
                <a:gd name="connsiteY7" fmla="*/ 9121026 h 13724551"/>
                <a:gd name="connsiteX8" fmla="*/ 15195097 w 16682562"/>
                <a:gd name="connsiteY8" fmla="*/ 8782769 h 13724551"/>
                <a:gd name="connsiteX9" fmla="*/ 15011380 w 16682562"/>
                <a:gd name="connsiteY9" fmla="*/ 9737619 h 13724551"/>
                <a:gd name="connsiteX10" fmla="*/ 14908430 w 16682562"/>
                <a:gd name="connsiteY10" fmla="*/ 10626514 h 13724551"/>
                <a:gd name="connsiteX11" fmla="*/ 14904684 w 16682562"/>
                <a:gd name="connsiteY11" fmla="*/ 11449953 h 13724551"/>
                <a:gd name="connsiteX12" fmla="*/ 14929927 w 16682562"/>
                <a:gd name="connsiteY12" fmla="*/ 13080873 h 13724551"/>
                <a:gd name="connsiteX13" fmla="*/ 12952786 w 16682562"/>
                <a:gd name="connsiteY13" fmla="*/ 13531626 h 13724551"/>
                <a:gd name="connsiteX14" fmla="*/ 11934663 w 16682562"/>
                <a:gd name="connsiteY14" fmla="*/ 13579876 h 13724551"/>
                <a:gd name="connsiteX15" fmla="*/ 8506848 w 16682562"/>
                <a:gd name="connsiteY15" fmla="*/ 13724551 h 13724551"/>
                <a:gd name="connsiteX16" fmla="*/ 7985095 w 16682562"/>
                <a:gd name="connsiteY16" fmla="*/ 13079469 h 13724551"/>
                <a:gd name="connsiteX17" fmla="*/ 7400308 w 16682562"/>
                <a:gd name="connsiteY17" fmla="*/ 13049324 h 13724551"/>
                <a:gd name="connsiteX18" fmla="*/ 6972273 w 16682562"/>
                <a:gd name="connsiteY18" fmla="*/ 13320621 h 13724551"/>
                <a:gd name="connsiteX19" fmla="*/ 5181729 w 16682562"/>
                <a:gd name="connsiteY19" fmla="*/ 13236222 h 13724551"/>
                <a:gd name="connsiteX20" fmla="*/ 4397998 w 16682562"/>
                <a:gd name="connsiteY20" fmla="*/ 12603205 h 13724551"/>
                <a:gd name="connsiteX21" fmla="*/ 2908896 w 16682562"/>
                <a:gd name="connsiteY21" fmla="*/ 11795351 h 13724551"/>
                <a:gd name="connsiteX22" fmla="*/ 1263043 w 16682562"/>
                <a:gd name="connsiteY22" fmla="*/ 11083958 h 13724551"/>
                <a:gd name="connsiteX23" fmla="*/ 485320 w 16682562"/>
                <a:gd name="connsiteY23" fmla="*/ 10631801 h 13724551"/>
                <a:gd name="connsiteX24" fmla="*/ 0 w 16682562"/>
                <a:gd name="connsiteY24" fmla="*/ 10338689 h 13724551"/>
                <a:gd name="connsiteX25" fmla="*/ 1003686 w 16682562"/>
                <a:gd name="connsiteY25" fmla="*/ 9592724 h 13724551"/>
                <a:gd name="connsiteX26" fmla="*/ 2902551 w 16682562"/>
                <a:gd name="connsiteY26" fmla="*/ 8408325 h 13724551"/>
                <a:gd name="connsiteX27" fmla="*/ 2558940 w 16682562"/>
                <a:gd name="connsiteY27" fmla="*/ 7874894 h 13724551"/>
                <a:gd name="connsiteX28" fmla="*/ 2402508 w 16682562"/>
                <a:gd name="connsiteY28" fmla="*/ 7187811 h 13724551"/>
                <a:gd name="connsiteX29" fmla="*/ 2730740 w 16682562"/>
                <a:gd name="connsiteY29" fmla="*/ 7160640 h 13724551"/>
                <a:gd name="connsiteX30" fmla="*/ 2947754 w 16682562"/>
                <a:gd name="connsiteY30" fmla="*/ 6690495 h 13724551"/>
                <a:gd name="connsiteX31" fmla="*/ 3499325 w 16682562"/>
                <a:gd name="connsiteY31" fmla="*/ 6247478 h 13724551"/>
                <a:gd name="connsiteX32" fmla="*/ 3680166 w 16682562"/>
                <a:gd name="connsiteY32" fmla="*/ 5370480 h 13724551"/>
                <a:gd name="connsiteX33" fmla="*/ 4186528 w 16682562"/>
                <a:gd name="connsiteY33" fmla="*/ 5379516 h 13724551"/>
                <a:gd name="connsiteX34" fmla="*/ 4837569 w 16682562"/>
                <a:gd name="connsiteY34" fmla="*/ 5849666 h 13724551"/>
                <a:gd name="connsiteX35" fmla="*/ 5352976 w 16682562"/>
                <a:gd name="connsiteY35" fmla="*/ 5768299 h 13724551"/>
                <a:gd name="connsiteX36" fmla="*/ 5741786 w 16682562"/>
                <a:gd name="connsiteY36" fmla="*/ 5397604 h 13724551"/>
                <a:gd name="connsiteX37" fmla="*/ 6157723 w 16682562"/>
                <a:gd name="connsiteY37" fmla="*/ 5234863 h 13724551"/>
                <a:gd name="connsiteX38" fmla="*/ 6745471 w 16682562"/>
                <a:gd name="connsiteY38" fmla="*/ 4665270 h 13724551"/>
                <a:gd name="connsiteX39" fmla="*/ 6890140 w 16682562"/>
                <a:gd name="connsiteY39" fmla="*/ 3815394 h 13724551"/>
                <a:gd name="connsiteX40" fmla="*/ 7568305 w 16682562"/>
                <a:gd name="connsiteY40" fmla="*/ 3245800 h 13724551"/>
                <a:gd name="connsiteX41" fmla="*/ 8137967 w 16682562"/>
                <a:gd name="connsiteY41" fmla="*/ 2802779 h 13724551"/>
                <a:gd name="connsiteX42" fmla="*/ 8463480 w 16682562"/>
                <a:gd name="connsiteY42" fmla="*/ 1998112 h 13724551"/>
                <a:gd name="connsiteX43" fmla="*/ 9024093 w 16682562"/>
                <a:gd name="connsiteY43" fmla="*/ 1645505 h 13724551"/>
                <a:gd name="connsiteX44" fmla="*/ 9675138 w 16682562"/>
                <a:gd name="connsiteY44" fmla="*/ 1292903 h 13724551"/>
                <a:gd name="connsiteX45" fmla="*/ 9558580 w 16682562"/>
                <a:gd name="connsiteY45" fmla="*/ 744619 h 13724551"/>
                <a:gd name="connsiteX46" fmla="*/ 10353296 w 16682562"/>
                <a:gd name="connsiteY46" fmla="*/ 72335 h 13724551"/>
                <a:gd name="connsiteX47" fmla="*/ 10832530 w 16682562"/>
                <a:gd name="connsiteY47" fmla="*/ 1 h 13724551"/>
                <a:gd name="connsiteX48" fmla="*/ 11058585 w 16682562"/>
                <a:gd name="connsiteY48" fmla="*/ 452070 h 13724551"/>
                <a:gd name="connsiteX49" fmla="*/ 11411229 w 16682562"/>
                <a:gd name="connsiteY49" fmla="*/ 831801 h 13724551"/>
                <a:gd name="connsiteX50" fmla="*/ 11998974 w 16682562"/>
                <a:gd name="connsiteY50" fmla="*/ 913171 h 13724551"/>
                <a:gd name="connsiteX51" fmla="*/ 12315449 w 16682562"/>
                <a:gd name="connsiteY51" fmla="*/ 1573183 h 13724551"/>
                <a:gd name="connsiteX52" fmla="*/ 12785642 w 16682562"/>
                <a:gd name="connsiteY52" fmla="*/ 1392354 h 13724551"/>
                <a:gd name="connsiteX53" fmla="*/ 13671776 w 16682562"/>
                <a:gd name="connsiteY53" fmla="*/ 1844415 h 13724551"/>
                <a:gd name="connsiteX54" fmla="*/ 14123886 w 16682562"/>
                <a:gd name="connsiteY54" fmla="*/ 1546062 h 13724551"/>
                <a:gd name="connsiteX55" fmla="*/ 14259509 w 16682562"/>
                <a:gd name="connsiteY55" fmla="*/ 976461 h 13724551"/>
                <a:gd name="connsiteX56" fmla="*/ 9761321 w 16682562"/>
                <a:gd name="connsiteY56" fmla="*/ 4249039 h 13724551"/>
                <a:gd name="connsiteX57" fmla="*/ 10152517 w 16682562"/>
                <a:gd name="connsiteY57" fmla="*/ 5047309 h 13724551"/>
                <a:gd name="connsiteX58" fmla="*/ 11109603 w 16682562"/>
                <a:gd name="connsiteY58" fmla="*/ 5418783 h 13724551"/>
                <a:gd name="connsiteX59" fmla="*/ 11919572 w 16682562"/>
                <a:gd name="connsiteY59" fmla="*/ 5692305 h 13724551"/>
                <a:gd name="connsiteX60" fmla="*/ 12868275 w 16682562"/>
                <a:gd name="connsiteY60" fmla="*/ 5447094 h 13724551"/>
                <a:gd name="connsiteX61" fmla="*/ 13844296 w 16682562"/>
                <a:gd name="connsiteY61" fmla="*/ 4845259 h 13724551"/>
                <a:gd name="connsiteX62" fmla="*/ 13886291 w 16682562"/>
                <a:gd name="connsiteY62" fmla="*/ 4010891 h 13724551"/>
                <a:gd name="connsiteX63" fmla="*/ 14370431 w 16682562"/>
                <a:gd name="connsiteY63" fmla="*/ 4519243 h 13724551"/>
                <a:gd name="connsiteX64" fmla="*/ 15323320 w 16682562"/>
                <a:gd name="connsiteY64" fmla="*/ 4617516 h 13724551"/>
                <a:gd name="connsiteX65" fmla="*/ 16350939 w 16682562"/>
                <a:gd name="connsiteY65" fmla="*/ 4742375 h 13724551"/>
                <a:gd name="connsiteX66" fmla="*/ 16362364 w 16682562"/>
                <a:gd name="connsiteY66" fmla="*/ 5049655 h 13724551"/>
                <a:gd name="connsiteX67" fmla="*/ 16682563 w 16682562"/>
                <a:gd name="connsiteY67" fmla="*/ 5487558 h 13724551"/>
                <a:gd name="connsiteX0" fmla="*/ 16682563 w 16682562"/>
                <a:gd name="connsiteY0" fmla="*/ 5487558 h 13724551"/>
                <a:gd name="connsiteX1" fmla="*/ 16432262 w 16682562"/>
                <a:gd name="connsiteY1" fmla="*/ 6514944 h 13724551"/>
                <a:gd name="connsiteX2" fmla="*/ 16106317 w 16682562"/>
                <a:gd name="connsiteY2" fmla="*/ 7056248 h 13724551"/>
                <a:gd name="connsiteX3" fmla="*/ 16305649 w 16682562"/>
                <a:gd name="connsiteY3" fmla="*/ 7443577 h 13724551"/>
                <a:gd name="connsiteX4" fmla="*/ 16287189 w 16682562"/>
                <a:gd name="connsiteY4" fmla="*/ 7840184 h 13724551"/>
                <a:gd name="connsiteX5" fmla="*/ 16372801 w 16682562"/>
                <a:gd name="connsiteY5" fmla="*/ 8406449 h 13724551"/>
                <a:gd name="connsiteX6" fmla="*/ 16070155 w 16682562"/>
                <a:gd name="connsiteY6" fmla="*/ 8626835 h 13724551"/>
                <a:gd name="connsiteX7" fmla="*/ 15805690 w 16682562"/>
                <a:gd name="connsiteY7" fmla="*/ 9121026 h 13724551"/>
                <a:gd name="connsiteX8" fmla="*/ 15195097 w 16682562"/>
                <a:gd name="connsiteY8" fmla="*/ 8782769 h 13724551"/>
                <a:gd name="connsiteX9" fmla="*/ 15011380 w 16682562"/>
                <a:gd name="connsiteY9" fmla="*/ 9737619 h 13724551"/>
                <a:gd name="connsiteX10" fmla="*/ 14908430 w 16682562"/>
                <a:gd name="connsiteY10" fmla="*/ 10626514 h 13724551"/>
                <a:gd name="connsiteX11" fmla="*/ 14904684 w 16682562"/>
                <a:gd name="connsiteY11" fmla="*/ 11449953 h 13724551"/>
                <a:gd name="connsiteX12" fmla="*/ 14929927 w 16682562"/>
                <a:gd name="connsiteY12" fmla="*/ 13080873 h 13724551"/>
                <a:gd name="connsiteX13" fmla="*/ 12952786 w 16682562"/>
                <a:gd name="connsiteY13" fmla="*/ 13531626 h 13724551"/>
                <a:gd name="connsiteX14" fmla="*/ 11934663 w 16682562"/>
                <a:gd name="connsiteY14" fmla="*/ 13579876 h 13724551"/>
                <a:gd name="connsiteX15" fmla="*/ 8506848 w 16682562"/>
                <a:gd name="connsiteY15" fmla="*/ 13724551 h 13724551"/>
                <a:gd name="connsiteX16" fmla="*/ 7985095 w 16682562"/>
                <a:gd name="connsiteY16" fmla="*/ 13079469 h 13724551"/>
                <a:gd name="connsiteX17" fmla="*/ 7400308 w 16682562"/>
                <a:gd name="connsiteY17" fmla="*/ 13049324 h 13724551"/>
                <a:gd name="connsiteX18" fmla="*/ 6972273 w 16682562"/>
                <a:gd name="connsiteY18" fmla="*/ 13320621 h 13724551"/>
                <a:gd name="connsiteX19" fmla="*/ 5181729 w 16682562"/>
                <a:gd name="connsiteY19" fmla="*/ 13236222 h 13724551"/>
                <a:gd name="connsiteX20" fmla="*/ 4397998 w 16682562"/>
                <a:gd name="connsiteY20" fmla="*/ 12603205 h 13724551"/>
                <a:gd name="connsiteX21" fmla="*/ 2908896 w 16682562"/>
                <a:gd name="connsiteY21" fmla="*/ 11795351 h 13724551"/>
                <a:gd name="connsiteX22" fmla="*/ 1263043 w 16682562"/>
                <a:gd name="connsiteY22" fmla="*/ 11083958 h 13724551"/>
                <a:gd name="connsiteX23" fmla="*/ 485320 w 16682562"/>
                <a:gd name="connsiteY23" fmla="*/ 10631801 h 13724551"/>
                <a:gd name="connsiteX24" fmla="*/ 0 w 16682562"/>
                <a:gd name="connsiteY24" fmla="*/ 10338689 h 13724551"/>
                <a:gd name="connsiteX25" fmla="*/ 1003686 w 16682562"/>
                <a:gd name="connsiteY25" fmla="*/ 9592724 h 13724551"/>
                <a:gd name="connsiteX26" fmla="*/ 2902551 w 16682562"/>
                <a:gd name="connsiteY26" fmla="*/ 8408325 h 13724551"/>
                <a:gd name="connsiteX27" fmla="*/ 2558940 w 16682562"/>
                <a:gd name="connsiteY27" fmla="*/ 7874894 h 13724551"/>
                <a:gd name="connsiteX28" fmla="*/ 2402508 w 16682562"/>
                <a:gd name="connsiteY28" fmla="*/ 7187811 h 13724551"/>
                <a:gd name="connsiteX29" fmla="*/ 2730740 w 16682562"/>
                <a:gd name="connsiteY29" fmla="*/ 7160640 h 13724551"/>
                <a:gd name="connsiteX30" fmla="*/ 2947754 w 16682562"/>
                <a:gd name="connsiteY30" fmla="*/ 6690495 h 13724551"/>
                <a:gd name="connsiteX31" fmla="*/ 3499325 w 16682562"/>
                <a:gd name="connsiteY31" fmla="*/ 6247478 h 13724551"/>
                <a:gd name="connsiteX32" fmla="*/ 3680166 w 16682562"/>
                <a:gd name="connsiteY32" fmla="*/ 5370480 h 13724551"/>
                <a:gd name="connsiteX33" fmla="*/ 4186528 w 16682562"/>
                <a:gd name="connsiteY33" fmla="*/ 5379516 h 13724551"/>
                <a:gd name="connsiteX34" fmla="*/ 4837569 w 16682562"/>
                <a:gd name="connsiteY34" fmla="*/ 5849666 h 13724551"/>
                <a:gd name="connsiteX35" fmla="*/ 5352976 w 16682562"/>
                <a:gd name="connsiteY35" fmla="*/ 5768299 h 13724551"/>
                <a:gd name="connsiteX36" fmla="*/ 5741786 w 16682562"/>
                <a:gd name="connsiteY36" fmla="*/ 5397604 h 13724551"/>
                <a:gd name="connsiteX37" fmla="*/ 6157723 w 16682562"/>
                <a:gd name="connsiteY37" fmla="*/ 5234863 h 13724551"/>
                <a:gd name="connsiteX38" fmla="*/ 6745471 w 16682562"/>
                <a:gd name="connsiteY38" fmla="*/ 4665270 h 13724551"/>
                <a:gd name="connsiteX39" fmla="*/ 6890140 w 16682562"/>
                <a:gd name="connsiteY39" fmla="*/ 3815394 h 13724551"/>
                <a:gd name="connsiteX40" fmla="*/ 7568305 w 16682562"/>
                <a:gd name="connsiteY40" fmla="*/ 3245800 h 13724551"/>
                <a:gd name="connsiteX41" fmla="*/ 8137967 w 16682562"/>
                <a:gd name="connsiteY41" fmla="*/ 2802779 h 13724551"/>
                <a:gd name="connsiteX42" fmla="*/ 8463480 w 16682562"/>
                <a:gd name="connsiteY42" fmla="*/ 1998112 h 13724551"/>
                <a:gd name="connsiteX43" fmla="*/ 9024093 w 16682562"/>
                <a:gd name="connsiteY43" fmla="*/ 1645505 h 13724551"/>
                <a:gd name="connsiteX44" fmla="*/ 9675138 w 16682562"/>
                <a:gd name="connsiteY44" fmla="*/ 1292903 h 13724551"/>
                <a:gd name="connsiteX45" fmla="*/ 9558580 w 16682562"/>
                <a:gd name="connsiteY45" fmla="*/ 744619 h 13724551"/>
                <a:gd name="connsiteX46" fmla="*/ 10353296 w 16682562"/>
                <a:gd name="connsiteY46" fmla="*/ 72335 h 13724551"/>
                <a:gd name="connsiteX47" fmla="*/ 10832530 w 16682562"/>
                <a:gd name="connsiteY47" fmla="*/ 1 h 13724551"/>
                <a:gd name="connsiteX48" fmla="*/ 11058585 w 16682562"/>
                <a:gd name="connsiteY48" fmla="*/ 452070 h 13724551"/>
                <a:gd name="connsiteX49" fmla="*/ 11411229 w 16682562"/>
                <a:gd name="connsiteY49" fmla="*/ 831801 h 13724551"/>
                <a:gd name="connsiteX50" fmla="*/ 11998974 w 16682562"/>
                <a:gd name="connsiteY50" fmla="*/ 913171 h 13724551"/>
                <a:gd name="connsiteX51" fmla="*/ 12315449 w 16682562"/>
                <a:gd name="connsiteY51" fmla="*/ 1573183 h 13724551"/>
                <a:gd name="connsiteX52" fmla="*/ 12785642 w 16682562"/>
                <a:gd name="connsiteY52" fmla="*/ 1392354 h 13724551"/>
                <a:gd name="connsiteX53" fmla="*/ 13671776 w 16682562"/>
                <a:gd name="connsiteY53" fmla="*/ 1844415 h 13724551"/>
                <a:gd name="connsiteX54" fmla="*/ 14123886 w 16682562"/>
                <a:gd name="connsiteY54" fmla="*/ 1546062 h 13724551"/>
                <a:gd name="connsiteX55" fmla="*/ 9761321 w 16682562"/>
                <a:gd name="connsiteY55" fmla="*/ 4249039 h 13724551"/>
                <a:gd name="connsiteX56" fmla="*/ 10152517 w 16682562"/>
                <a:gd name="connsiteY56" fmla="*/ 5047309 h 13724551"/>
                <a:gd name="connsiteX57" fmla="*/ 11109603 w 16682562"/>
                <a:gd name="connsiteY57" fmla="*/ 5418783 h 13724551"/>
                <a:gd name="connsiteX58" fmla="*/ 11919572 w 16682562"/>
                <a:gd name="connsiteY58" fmla="*/ 5692305 h 13724551"/>
                <a:gd name="connsiteX59" fmla="*/ 12868275 w 16682562"/>
                <a:gd name="connsiteY59" fmla="*/ 5447094 h 13724551"/>
                <a:gd name="connsiteX60" fmla="*/ 13844296 w 16682562"/>
                <a:gd name="connsiteY60" fmla="*/ 4845259 h 13724551"/>
                <a:gd name="connsiteX61" fmla="*/ 13886291 w 16682562"/>
                <a:gd name="connsiteY61" fmla="*/ 4010891 h 13724551"/>
                <a:gd name="connsiteX62" fmla="*/ 14370431 w 16682562"/>
                <a:gd name="connsiteY62" fmla="*/ 4519243 h 13724551"/>
                <a:gd name="connsiteX63" fmla="*/ 15323320 w 16682562"/>
                <a:gd name="connsiteY63" fmla="*/ 4617516 h 13724551"/>
                <a:gd name="connsiteX64" fmla="*/ 16350939 w 16682562"/>
                <a:gd name="connsiteY64" fmla="*/ 4742375 h 13724551"/>
                <a:gd name="connsiteX65" fmla="*/ 16362364 w 16682562"/>
                <a:gd name="connsiteY65" fmla="*/ 5049655 h 13724551"/>
                <a:gd name="connsiteX66" fmla="*/ 16682563 w 16682562"/>
                <a:gd name="connsiteY66" fmla="*/ 5487558 h 13724551"/>
                <a:gd name="connsiteX0" fmla="*/ 16682563 w 16682562"/>
                <a:gd name="connsiteY0" fmla="*/ 5487558 h 13724551"/>
                <a:gd name="connsiteX1" fmla="*/ 16432262 w 16682562"/>
                <a:gd name="connsiteY1" fmla="*/ 6514944 h 13724551"/>
                <a:gd name="connsiteX2" fmla="*/ 16106317 w 16682562"/>
                <a:gd name="connsiteY2" fmla="*/ 7056248 h 13724551"/>
                <a:gd name="connsiteX3" fmla="*/ 16305649 w 16682562"/>
                <a:gd name="connsiteY3" fmla="*/ 7443577 h 13724551"/>
                <a:gd name="connsiteX4" fmla="*/ 16287189 w 16682562"/>
                <a:gd name="connsiteY4" fmla="*/ 7840184 h 13724551"/>
                <a:gd name="connsiteX5" fmla="*/ 16372801 w 16682562"/>
                <a:gd name="connsiteY5" fmla="*/ 8406449 h 13724551"/>
                <a:gd name="connsiteX6" fmla="*/ 16070155 w 16682562"/>
                <a:gd name="connsiteY6" fmla="*/ 8626835 h 13724551"/>
                <a:gd name="connsiteX7" fmla="*/ 15805690 w 16682562"/>
                <a:gd name="connsiteY7" fmla="*/ 9121026 h 13724551"/>
                <a:gd name="connsiteX8" fmla="*/ 15195097 w 16682562"/>
                <a:gd name="connsiteY8" fmla="*/ 8782769 h 13724551"/>
                <a:gd name="connsiteX9" fmla="*/ 15011380 w 16682562"/>
                <a:gd name="connsiteY9" fmla="*/ 9737619 h 13724551"/>
                <a:gd name="connsiteX10" fmla="*/ 14908430 w 16682562"/>
                <a:gd name="connsiteY10" fmla="*/ 10626514 h 13724551"/>
                <a:gd name="connsiteX11" fmla="*/ 14904684 w 16682562"/>
                <a:gd name="connsiteY11" fmla="*/ 11449953 h 13724551"/>
                <a:gd name="connsiteX12" fmla="*/ 14929927 w 16682562"/>
                <a:gd name="connsiteY12" fmla="*/ 13080873 h 13724551"/>
                <a:gd name="connsiteX13" fmla="*/ 12952786 w 16682562"/>
                <a:gd name="connsiteY13" fmla="*/ 13531626 h 13724551"/>
                <a:gd name="connsiteX14" fmla="*/ 11934663 w 16682562"/>
                <a:gd name="connsiteY14" fmla="*/ 13579876 h 13724551"/>
                <a:gd name="connsiteX15" fmla="*/ 8506848 w 16682562"/>
                <a:gd name="connsiteY15" fmla="*/ 13724551 h 13724551"/>
                <a:gd name="connsiteX16" fmla="*/ 7985095 w 16682562"/>
                <a:gd name="connsiteY16" fmla="*/ 13079469 h 13724551"/>
                <a:gd name="connsiteX17" fmla="*/ 7400308 w 16682562"/>
                <a:gd name="connsiteY17" fmla="*/ 13049324 h 13724551"/>
                <a:gd name="connsiteX18" fmla="*/ 6972273 w 16682562"/>
                <a:gd name="connsiteY18" fmla="*/ 13320621 h 13724551"/>
                <a:gd name="connsiteX19" fmla="*/ 5181729 w 16682562"/>
                <a:gd name="connsiteY19" fmla="*/ 13236222 h 13724551"/>
                <a:gd name="connsiteX20" fmla="*/ 4397998 w 16682562"/>
                <a:gd name="connsiteY20" fmla="*/ 12603205 h 13724551"/>
                <a:gd name="connsiteX21" fmla="*/ 2908896 w 16682562"/>
                <a:gd name="connsiteY21" fmla="*/ 11795351 h 13724551"/>
                <a:gd name="connsiteX22" fmla="*/ 1263043 w 16682562"/>
                <a:gd name="connsiteY22" fmla="*/ 11083958 h 13724551"/>
                <a:gd name="connsiteX23" fmla="*/ 485320 w 16682562"/>
                <a:gd name="connsiteY23" fmla="*/ 10631801 h 13724551"/>
                <a:gd name="connsiteX24" fmla="*/ 0 w 16682562"/>
                <a:gd name="connsiteY24" fmla="*/ 10338689 h 13724551"/>
                <a:gd name="connsiteX25" fmla="*/ 1003686 w 16682562"/>
                <a:gd name="connsiteY25" fmla="*/ 9592724 h 13724551"/>
                <a:gd name="connsiteX26" fmla="*/ 2902551 w 16682562"/>
                <a:gd name="connsiteY26" fmla="*/ 8408325 h 13724551"/>
                <a:gd name="connsiteX27" fmla="*/ 2558940 w 16682562"/>
                <a:gd name="connsiteY27" fmla="*/ 7874894 h 13724551"/>
                <a:gd name="connsiteX28" fmla="*/ 2402508 w 16682562"/>
                <a:gd name="connsiteY28" fmla="*/ 7187811 h 13724551"/>
                <a:gd name="connsiteX29" fmla="*/ 2730740 w 16682562"/>
                <a:gd name="connsiteY29" fmla="*/ 7160640 h 13724551"/>
                <a:gd name="connsiteX30" fmla="*/ 2947754 w 16682562"/>
                <a:gd name="connsiteY30" fmla="*/ 6690495 h 13724551"/>
                <a:gd name="connsiteX31" fmla="*/ 3499325 w 16682562"/>
                <a:gd name="connsiteY31" fmla="*/ 6247478 h 13724551"/>
                <a:gd name="connsiteX32" fmla="*/ 3680166 w 16682562"/>
                <a:gd name="connsiteY32" fmla="*/ 5370480 h 13724551"/>
                <a:gd name="connsiteX33" fmla="*/ 4186528 w 16682562"/>
                <a:gd name="connsiteY33" fmla="*/ 5379516 h 13724551"/>
                <a:gd name="connsiteX34" fmla="*/ 4837569 w 16682562"/>
                <a:gd name="connsiteY34" fmla="*/ 5849666 h 13724551"/>
                <a:gd name="connsiteX35" fmla="*/ 5352976 w 16682562"/>
                <a:gd name="connsiteY35" fmla="*/ 5768299 h 13724551"/>
                <a:gd name="connsiteX36" fmla="*/ 5741786 w 16682562"/>
                <a:gd name="connsiteY36" fmla="*/ 5397604 h 13724551"/>
                <a:gd name="connsiteX37" fmla="*/ 6157723 w 16682562"/>
                <a:gd name="connsiteY37" fmla="*/ 5234863 h 13724551"/>
                <a:gd name="connsiteX38" fmla="*/ 6745471 w 16682562"/>
                <a:gd name="connsiteY38" fmla="*/ 4665270 h 13724551"/>
                <a:gd name="connsiteX39" fmla="*/ 6890140 w 16682562"/>
                <a:gd name="connsiteY39" fmla="*/ 3815394 h 13724551"/>
                <a:gd name="connsiteX40" fmla="*/ 7568305 w 16682562"/>
                <a:gd name="connsiteY40" fmla="*/ 3245800 h 13724551"/>
                <a:gd name="connsiteX41" fmla="*/ 8137967 w 16682562"/>
                <a:gd name="connsiteY41" fmla="*/ 2802779 h 13724551"/>
                <a:gd name="connsiteX42" fmla="*/ 8463480 w 16682562"/>
                <a:gd name="connsiteY42" fmla="*/ 1998112 h 13724551"/>
                <a:gd name="connsiteX43" fmla="*/ 9024093 w 16682562"/>
                <a:gd name="connsiteY43" fmla="*/ 1645505 h 13724551"/>
                <a:gd name="connsiteX44" fmla="*/ 9675138 w 16682562"/>
                <a:gd name="connsiteY44" fmla="*/ 1292903 h 13724551"/>
                <a:gd name="connsiteX45" fmla="*/ 9558580 w 16682562"/>
                <a:gd name="connsiteY45" fmla="*/ 744619 h 13724551"/>
                <a:gd name="connsiteX46" fmla="*/ 10353296 w 16682562"/>
                <a:gd name="connsiteY46" fmla="*/ 72335 h 13724551"/>
                <a:gd name="connsiteX47" fmla="*/ 10832530 w 16682562"/>
                <a:gd name="connsiteY47" fmla="*/ 1 h 13724551"/>
                <a:gd name="connsiteX48" fmla="*/ 11058585 w 16682562"/>
                <a:gd name="connsiteY48" fmla="*/ 452070 h 13724551"/>
                <a:gd name="connsiteX49" fmla="*/ 11411229 w 16682562"/>
                <a:gd name="connsiteY49" fmla="*/ 831801 h 13724551"/>
                <a:gd name="connsiteX50" fmla="*/ 11998974 w 16682562"/>
                <a:gd name="connsiteY50" fmla="*/ 913171 h 13724551"/>
                <a:gd name="connsiteX51" fmla="*/ 12315449 w 16682562"/>
                <a:gd name="connsiteY51" fmla="*/ 1573183 h 13724551"/>
                <a:gd name="connsiteX52" fmla="*/ 12785642 w 16682562"/>
                <a:gd name="connsiteY52" fmla="*/ 1392354 h 13724551"/>
                <a:gd name="connsiteX53" fmla="*/ 13671776 w 16682562"/>
                <a:gd name="connsiteY53" fmla="*/ 1844415 h 13724551"/>
                <a:gd name="connsiteX54" fmla="*/ 9761321 w 16682562"/>
                <a:gd name="connsiteY54" fmla="*/ 4249039 h 13724551"/>
                <a:gd name="connsiteX55" fmla="*/ 10152517 w 16682562"/>
                <a:gd name="connsiteY55" fmla="*/ 5047309 h 13724551"/>
                <a:gd name="connsiteX56" fmla="*/ 11109603 w 16682562"/>
                <a:gd name="connsiteY56" fmla="*/ 5418783 h 13724551"/>
                <a:gd name="connsiteX57" fmla="*/ 11919572 w 16682562"/>
                <a:gd name="connsiteY57" fmla="*/ 5692305 h 13724551"/>
                <a:gd name="connsiteX58" fmla="*/ 12868275 w 16682562"/>
                <a:gd name="connsiteY58" fmla="*/ 5447094 h 13724551"/>
                <a:gd name="connsiteX59" fmla="*/ 13844296 w 16682562"/>
                <a:gd name="connsiteY59" fmla="*/ 4845259 h 13724551"/>
                <a:gd name="connsiteX60" fmla="*/ 13886291 w 16682562"/>
                <a:gd name="connsiteY60" fmla="*/ 4010891 h 13724551"/>
                <a:gd name="connsiteX61" fmla="*/ 14370431 w 16682562"/>
                <a:gd name="connsiteY61" fmla="*/ 4519243 h 13724551"/>
                <a:gd name="connsiteX62" fmla="*/ 15323320 w 16682562"/>
                <a:gd name="connsiteY62" fmla="*/ 4617516 h 13724551"/>
                <a:gd name="connsiteX63" fmla="*/ 16350939 w 16682562"/>
                <a:gd name="connsiteY63" fmla="*/ 4742375 h 13724551"/>
                <a:gd name="connsiteX64" fmla="*/ 16362364 w 16682562"/>
                <a:gd name="connsiteY64" fmla="*/ 5049655 h 13724551"/>
                <a:gd name="connsiteX65" fmla="*/ 16682563 w 16682562"/>
                <a:gd name="connsiteY65" fmla="*/ 5487558 h 13724551"/>
                <a:gd name="connsiteX0" fmla="*/ 16682563 w 16682562"/>
                <a:gd name="connsiteY0" fmla="*/ 5487558 h 13724551"/>
                <a:gd name="connsiteX1" fmla="*/ 16432262 w 16682562"/>
                <a:gd name="connsiteY1" fmla="*/ 6514944 h 13724551"/>
                <a:gd name="connsiteX2" fmla="*/ 16106317 w 16682562"/>
                <a:gd name="connsiteY2" fmla="*/ 7056248 h 13724551"/>
                <a:gd name="connsiteX3" fmla="*/ 16305649 w 16682562"/>
                <a:gd name="connsiteY3" fmla="*/ 7443577 h 13724551"/>
                <a:gd name="connsiteX4" fmla="*/ 16287189 w 16682562"/>
                <a:gd name="connsiteY4" fmla="*/ 7840184 h 13724551"/>
                <a:gd name="connsiteX5" fmla="*/ 16372801 w 16682562"/>
                <a:gd name="connsiteY5" fmla="*/ 8406449 h 13724551"/>
                <a:gd name="connsiteX6" fmla="*/ 16070155 w 16682562"/>
                <a:gd name="connsiteY6" fmla="*/ 8626835 h 13724551"/>
                <a:gd name="connsiteX7" fmla="*/ 15805690 w 16682562"/>
                <a:gd name="connsiteY7" fmla="*/ 9121026 h 13724551"/>
                <a:gd name="connsiteX8" fmla="*/ 15195097 w 16682562"/>
                <a:gd name="connsiteY8" fmla="*/ 8782769 h 13724551"/>
                <a:gd name="connsiteX9" fmla="*/ 15011380 w 16682562"/>
                <a:gd name="connsiteY9" fmla="*/ 9737619 h 13724551"/>
                <a:gd name="connsiteX10" fmla="*/ 14908430 w 16682562"/>
                <a:gd name="connsiteY10" fmla="*/ 10626514 h 13724551"/>
                <a:gd name="connsiteX11" fmla="*/ 14904684 w 16682562"/>
                <a:gd name="connsiteY11" fmla="*/ 11449953 h 13724551"/>
                <a:gd name="connsiteX12" fmla="*/ 14929927 w 16682562"/>
                <a:gd name="connsiteY12" fmla="*/ 13080873 h 13724551"/>
                <a:gd name="connsiteX13" fmla="*/ 12952786 w 16682562"/>
                <a:gd name="connsiteY13" fmla="*/ 13531626 h 13724551"/>
                <a:gd name="connsiteX14" fmla="*/ 11934663 w 16682562"/>
                <a:gd name="connsiteY14" fmla="*/ 13579876 h 13724551"/>
                <a:gd name="connsiteX15" fmla="*/ 8506848 w 16682562"/>
                <a:gd name="connsiteY15" fmla="*/ 13724551 h 13724551"/>
                <a:gd name="connsiteX16" fmla="*/ 7985095 w 16682562"/>
                <a:gd name="connsiteY16" fmla="*/ 13079469 h 13724551"/>
                <a:gd name="connsiteX17" fmla="*/ 7400308 w 16682562"/>
                <a:gd name="connsiteY17" fmla="*/ 13049324 h 13724551"/>
                <a:gd name="connsiteX18" fmla="*/ 6972273 w 16682562"/>
                <a:gd name="connsiteY18" fmla="*/ 13320621 h 13724551"/>
                <a:gd name="connsiteX19" fmla="*/ 5181729 w 16682562"/>
                <a:gd name="connsiteY19" fmla="*/ 13236222 h 13724551"/>
                <a:gd name="connsiteX20" fmla="*/ 4397998 w 16682562"/>
                <a:gd name="connsiteY20" fmla="*/ 12603205 h 13724551"/>
                <a:gd name="connsiteX21" fmla="*/ 2908896 w 16682562"/>
                <a:gd name="connsiteY21" fmla="*/ 11795351 h 13724551"/>
                <a:gd name="connsiteX22" fmla="*/ 1263043 w 16682562"/>
                <a:gd name="connsiteY22" fmla="*/ 11083958 h 13724551"/>
                <a:gd name="connsiteX23" fmla="*/ 485320 w 16682562"/>
                <a:gd name="connsiteY23" fmla="*/ 10631801 h 13724551"/>
                <a:gd name="connsiteX24" fmla="*/ 0 w 16682562"/>
                <a:gd name="connsiteY24" fmla="*/ 10338689 h 13724551"/>
                <a:gd name="connsiteX25" fmla="*/ 1003686 w 16682562"/>
                <a:gd name="connsiteY25" fmla="*/ 9592724 h 13724551"/>
                <a:gd name="connsiteX26" fmla="*/ 2902551 w 16682562"/>
                <a:gd name="connsiteY26" fmla="*/ 8408325 h 13724551"/>
                <a:gd name="connsiteX27" fmla="*/ 2558940 w 16682562"/>
                <a:gd name="connsiteY27" fmla="*/ 7874894 h 13724551"/>
                <a:gd name="connsiteX28" fmla="*/ 2402508 w 16682562"/>
                <a:gd name="connsiteY28" fmla="*/ 7187811 h 13724551"/>
                <a:gd name="connsiteX29" fmla="*/ 2730740 w 16682562"/>
                <a:gd name="connsiteY29" fmla="*/ 7160640 h 13724551"/>
                <a:gd name="connsiteX30" fmla="*/ 2947754 w 16682562"/>
                <a:gd name="connsiteY30" fmla="*/ 6690495 h 13724551"/>
                <a:gd name="connsiteX31" fmla="*/ 3499325 w 16682562"/>
                <a:gd name="connsiteY31" fmla="*/ 6247478 h 13724551"/>
                <a:gd name="connsiteX32" fmla="*/ 3680166 w 16682562"/>
                <a:gd name="connsiteY32" fmla="*/ 5370480 h 13724551"/>
                <a:gd name="connsiteX33" fmla="*/ 4186528 w 16682562"/>
                <a:gd name="connsiteY33" fmla="*/ 5379516 h 13724551"/>
                <a:gd name="connsiteX34" fmla="*/ 4837569 w 16682562"/>
                <a:gd name="connsiteY34" fmla="*/ 5849666 h 13724551"/>
                <a:gd name="connsiteX35" fmla="*/ 5352976 w 16682562"/>
                <a:gd name="connsiteY35" fmla="*/ 5768299 h 13724551"/>
                <a:gd name="connsiteX36" fmla="*/ 5741786 w 16682562"/>
                <a:gd name="connsiteY36" fmla="*/ 5397604 h 13724551"/>
                <a:gd name="connsiteX37" fmla="*/ 6157723 w 16682562"/>
                <a:gd name="connsiteY37" fmla="*/ 5234863 h 13724551"/>
                <a:gd name="connsiteX38" fmla="*/ 6745471 w 16682562"/>
                <a:gd name="connsiteY38" fmla="*/ 4665270 h 13724551"/>
                <a:gd name="connsiteX39" fmla="*/ 6890140 w 16682562"/>
                <a:gd name="connsiteY39" fmla="*/ 3815394 h 13724551"/>
                <a:gd name="connsiteX40" fmla="*/ 7568305 w 16682562"/>
                <a:gd name="connsiteY40" fmla="*/ 3245800 h 13724551"/>
                <a:gd name="connsiteX41" fmla="*/ 8137967 w 16682562"/>
                <a:gd name="connsiteY41" fmla="*/ 2802779 h 13724551"/>
                <a:gd name="connsiteX42" fmla="*/ 8463480 w 16682562"/>
                <a:gd name="connsiteY42" fmla="*/ 1998112 h 13724551"/>
                <a:gd name="connsiteX43" fmla="*/ 9024093 w 16682562"/>
                <a:gd name="connsiteY43" fmla="*/ 1645505 h 13724551"/>
                <a:gd name="connsiteX44" fmla="*/ 9675138 w 16682562"/>
                <a:gd name="connsiteY44" fmla="*/ 1292903 h 13724551"/>
                <a:gd name="connsiteX45" fmla="*/ 9558580 w 16682562"/>
                <a:gd name="connsiteY45" fmla="*/ 744619 h 13724551"/>
                <a:gd name="connsiteX46" fmla="*/ 10353296 w 16682562"/>
                <a:gd name="connsiteY46" fmla="*/ 72335 h 13724551"/>
                <a:gd name="connsiteX47" fmla="*/ 10832530 w 16682562"/>
                <a:gd name="connsiteY47" fmla="*/ 1 h 13724551"/>
                <a:gd name="connsiteX48" fmla="*/ 11058585 w 16682562"/>
                <a:gd name="connsiteY48" fmla="*/ 452070 h 13724551"/>
                <a:gd name="connsiteX49" fmla="*/ 11411229 w 16682562"/>
                <a:gd name="connsiteY49" fmla="*/ 831801 h 13724551"/>
                <a:gd name="connsiteX50" fmla="*/ 11998974 w 16682562"/>
                <a:gd name="connsiteY50" fmla="*/ 913171 h 13724551"/>
                <a:gd name="connsiteX51" fmla="*/ 12315449 w 16682562"/>
                <a:gd name="connsiteY51" fmla="*/ 1573183 h 13724551"/>
                <a:gd name="connsiteX52" fmla="*/ 12785642 w 16682562"/>
                <a:gd name="connsiteY52" fmla="*/ 1392354 h 13724551"/>
                <a:gd name="connsiteX53" fmla="*/ 9761321 w 16682562"/>
                <a:gd name="connsiteY53" fmla="*/ 4249039 h 13724551"/>
                <a:gd name="connsiteX54" fmla="*/ 10152517 w 16682562"/>
                <a:gd name="connsiteY54" fmla="*/ 5047309 h 13724551"/>
                <a:gd name="connsiteX55" fmla="*/ 11109603 w 16682562"/>
                <a:gd name="connsiteY55" fmla="*/ 5418783 h 13724551"/>
                <a:gd name="connsiteX56" fmla="*/ 11919572 w 16682562"/>
                <a:gd name="connsiteY56" fmla="*/ 5692305 h 13724551"/>
                <a:gd name="connsiteX57" fmla="*/ 12868275 w 16682562"/>
                <a:gd name="connsiteY57" fmla="*/ 5447094 h 13724551"/>
                <a:gd name="connsiteX58" fmla="*/ 13844296 w 16682562"/>
                <a:gd name="connsiteY58" fmla="*/ 4845259 h 13724551"/>
                <a:gd name="connsiteX59" fmla="*/ 13886291 w 16682562"/>
                <a:gd name="connsiteY59" fmla="*/ 4010891 h 13724551"/>
                <a:gd name="connsiteX60" fmla="*/ 14370431 w 16682562"/>
                <a:gd name="connsiteY60" fmla="*/ 4519243 h 13724551"/>
                <a:gd name="connsiteX61" fmla="*/ 15323320 w 16682562"/>
                <a:gd name="connsiteY61" fmla="*/ 4617516 h 13724551"/>
                <a:gd name="connsiteX62" fmla="*/ 16350939 w 16682562"/>
                <a:gd name="connsiteY62" fmla="*/ 4742375 h 13724551"/>
                <a:gd name="connsiteX63" fmla="*/ 16362364 w 16682562"/>
                <a:gd name="connsiteY63" fmla="*/ 5049655 h 13724551"/>
                <a:gd name="connsiteX64" fmla="*/ 16682563 w 16682562"/>
                <a:gd name="connsiteY64" fmla="*/ 5487558 h 13724551"/>
                <a:gd name="connsiteX0" fmla="*/ 16682563 w 16682562"/>
                <a:gd name="connsiteY0" fmla="*/ 5487558 h 13724551"/>
                <a:gd name="connsiteX1" fmla="*/ 16432262 w 16682562"/>
                <a:gd name="connsiteY1" fmla="*/ 6514944 h 13724551"/>
                <a:gd name="connsiteX2" fmla="*/ 16106317 w 16682562"/>
                <a:gd name="connsiteY2" fmla="*/ 7056248 h 13724551"/>
                <a:gd name="connsiteX3" fmla="*/ 16305649 w 16682562"/>
                <a:gd name="connsiteY3" fmla="*/ 7443577 h 13724551"/>
                <a:gd name="connsiteX4" fmla="*/ 16287189 w 16682562"/>
                <a:gd name="connsiteY4" fmla="*/ 7840184 h 13724551"/>
                <a:gd name="connsiteX5" fmla="*/ 16372801 w 16682562"/>
                <a:gd name="connsiteY5" fmla="*/ 8406449 h 13724551"/>
                <a:gd name="connsiteX6" fmla="*/ 16070155 w 16682562"/>
                <a:gd name="connsiteY6" fmla="*/ 8626835 h 13724551"/>
                <a:gd name="connsiteX7" fmla="*/ 15805690 w 16682562"/>
                <a:gd name="connsiteY7" fmla="*/ 9121026 h 13724551"/>
                <a:gd name="connsiteX8" fmla="*/ 15195097 w 16682562"/>
                <a:gd name="connsiteY8" fmla="*/ 8782769 h 13724551"/>
                <a:gd name="connsiteX9" fmla="*/ 15011380 w 16682562"/>
                <a:gd name="connsiteY9" fmla="*/ 9737619 h 13724551"/>
                <a:gd name="connsiteX10" fmla="*/ 14908430 w 16682562"/>
                <a:gd name="connsiteY10" fmla="*/ 10626514 h 13724551"/>
                <a:gd name="connsiteX11" fmla="*/ 14904684 w 16682562"/>
                <a:gd name="connsiteY11" fmla="*/ 11449953 h 13724551"/>
                <a:gd name="connsiteX12" fmla="*/ 14929927 w 16682562"/>
                <a:gd name="connsiteY12" fmla="*/ 13080873 h 13724551"/>
                <a:gd name="connsiteX13" fmla="*/ 12952786 w 16682562"/>
                <a:gd name="connsiteY13" fmla="*/ 13531626 h 13724551"/>
                <a:gd name="connsiteX14" fmla="*/ 11934663 w 16682562"/>
                <a:gd name="connsiteY14" fmla="*/ 13579876 h 13724551"/>
                <a:gd name="connsiteX15" fmla="*/ 8506848 w 16682562"/>
                <a:gd name="connsiteY15" fmla="*/ 13724551 h 13724551"/>
                <a:gd name="connsiteX16" fmla="*/ 7985095 w 16682562"/>
                <a:gd name="connsiteY16" fmla="*/ 13079469 h 13724551"/>
                <a:gd name="connsiteX17" fmla="*/ 7400308 w 16682562"/>
                <a:gd name="connsiteY17" fmla="*/ 13049324 h 13724551"/>
                <a:gd name="connsiteX18" fmla="*/ 6972273 w 16682562"/>
                <a:gd name="connsiteY18" fmla="*/ 13320621 h 13724551"/>
                <a:gd name="connsiteX19" fmla="*/ 5181729 w 16682562"/>
                <a:gd name="connsiteY19" fmla="*/ 13236222 h 13724551"/>
                <a:gd name="connsiteX20" fmla="*/ 4397998 w 16682562"/>
                <a:gd name="connsiteY20" fmla="*/ 12603205 h 13724551"/>
                <a:gd name="connsiteX21" fmla="*/ 2908896 w 16682562"/>
                <a:gd name="connsiteY21" fmla="*/ 11795351 h 13724551"/>
                <a:gd name="connsiteX22" fmla="*/ 1263043 w 16682562"/>
                <a:gd name="connsiteY22" fmla="*/ 11083958 h 13724551"/>
                <a:gd name="connsiteX23" fmla="*/ 485320 w 16682562"/>
                <a:gd name="connsiteY23" fmla="*/ 10631801 h 13724551"/>
                <a:gd name="connsiteX24" fmla="*/ 0 w 16682562"/>
                <a:gd name="connsiteY24" fmla="*/ 10338689 h 13724551"/>
                <a:gd name="connsiteX25" fmla="*/ 1003686 w 16682562"/>
                <a:gd name="connsiteY25" fmla="*/ 9592724 h 13724551"/>
                <a:gd name="connsiteX26" fmla="*/ 2902551 w 16682562"/>
                <a:gd name="connsiteY26" fmla="*/ 8408325 h 13724551"/>
                <a:gd name="connsiteX27" fmla="*/ 2558940 w 16682562"/>
                <a:gd name="connsiteY27" fmla="*/ 7874894 h 13724551"/>
                <a:gd name="connsiteX28" fmla="*/ 2402508 w 16682562"/>
                <a:gd name="connsiteY28" fmla="*/ 7187811 h 13724551"/>
                <a:gd name="connsiteX29" fmla="*/ 2730740 w 16682562"/>
                <a:gd name="connsiteY29" fmla="*/ 7160640 h 13724551"/>
                <a:gd name="connsiteX30" fmla="*/ 2947754 w 16682562"/>
                <a:gd name="connsiteY30" fmla="*/ 6690495 h 13724551"/>
                <a:gd name="connsiteX31" fmla="*/ 3499325 w 16682562"/>
                <a:gd name="connsiteY31" fmla="*/ 6247478 h 13724551"/>
                <a:gd name="connsiteX32" fmla="*/ 3680166 w 16682562"/>
                <a:gd name="connsiteY32" fmla="*/ 5370480 h 13724551"/>
                <a:gd name="connsiteX33" fmla="*/ 4186528 w 16682562"/>
                <a:gd name="connsiteY33" fmla="*/ 5379516 h 13724551"/>
                <a:gd name="connsiteX34" fmla="*/ 4837569 w 16682562"/>
                <a:gd name="connsiteY34" fmla="*/ 5849666 h 13724551"/>
                <a:gd name="connsiteX35" fmla="*/ 5352976 w 16682562"/>
                <a:gd name="connsiteY35" fmla="*/ 5768299 h 13724551"/>
                <a:gd name="connsiteX36" fmla="*/ 5741786 w 16682562"/>
                <a:gd name="connsiteY36" fmla="*/ 5397604 h 13724551"/>
                <a:gd name="connsiteX37" fmla="*/ 6157723 w 16682562"/>
                <a:gd name="connsiteY37" fmla="*/ 5234863 h 13724551"/>
                <a:gd name="connsiteX38" fmla="*/ 6745471 w 16682562"/>
                <a:gd name="connsiteY38" fmla="*/ 4665270 h 13724551"/>
                <a:gd name="connsiteX39" fmla="*/ 6890140 w 16682562"/>
                <a:gd name="connsiteY39" fmla="*/ 3815394 h 13724551"/>
                <a:gd name="connsiteX40" fmla="*/ 7568305 w 16682562"/>
                <a:gd name="connsiteY40" fmla="*/ 3245800 h 13724551"/>
                <a:gd name="connsiteX41" fmla="*/ 8137967 w 16682562"/>
                <a:gd name="connsiteY41" fmla="*/ 2802779 h 13724551"/>
                <a:gd name="connsiteX42" fmla="*/ 8463480 w 16682562"/>
                <a:gd name="connsiteY42" fmla="*/ 1998112 h 13724551"/>
                <a:gd name="connsiteX43" fmla="*/ 9024093 w 16682562"/>
                <a:gd name="connsiteY43" fmla="*/ 1645505 h 13724551"/>
                <a:gd name="connsiteX44" fmla="*/ 9675138 w 16682562"/>
                <a:gd name="connsiteY44" fmla="*/ 1292903 h 13724551"/>
                <a:gd name="connsiteX45" fmla="*/ 9558580 w 16682562"/>
                <a:gd name="connsiteY45" fmla="*/ 744619 h 13724551"/>
                <a:gd name="connsiteX46" fmla="*/ 10353296 w 16682562"/>
                <a:gd name="connsiteY46" fmla="*/ 72335 h 13724551"/>
                <a:gd name="connsiteX47" fmla="*/ 10832530 w 16682562"/>
                <a:gd name="connsiteY47" fmla="*/ 1 h 13724551"/>
                <a:gd name="connsiteX48" fmla="*/ 11058585 w 16682562"/>
                <a:gd name="connsiteY48" fmla="*/ 452070 h 13724551"/>
                <a:gd name="connsiteX49" fmla="*/ 11411229 w 16682562"/>
                <a:gd name="connsiteY49" fmla="*/ 831801 h 13724551"/>
                <a:gd name="connsiteX50" fmla="*/ 11998974 w 16682562"/>
                <a:gd name="connsiteY50" fmla="*/ 913171 h 13724551"/>
                <a:gd name="connsiteX51" fmla="*/ 12315449 w 16682562"/>
                <a:gd name="connsiteY51" fmla="*/ 1573183 h 13724551"/>
                <a:gd name="connsiteX52" fmla="*/ 9761321 w 16682562"/>
                <a:gd name="connsiteY52" fmla="*/ 4249039 h 13724551"/>
                <a:gd name="connsiteX53" fmla="*/ 10152517 w 16682562"/>
                <a:gd name="connsiteY53" fmla="*/ 5047309 h 13724551"/>
                <a:gd name="connsiteX54" fmla="*/ 11109603 w 16682562"/>
                <a:gd name="connsiteY54" fmla="*/ 5418783 h 13724551"/>
                <a:gd name="connsiteX55" fmla="*/ 11919572 w 16682562"/>
                <a:gd name="connsiteY55" fmla="*/ 5692305 h 13724551"/>
                <a:gd name="connsiteX56" fmla="*/ 12868275 w 16682562"/>
                <a:gd name="connsiteY56" fmla="*/ 5447094 h 13724551"/>
                <a:gd name="connsiteX57" fmla="*/ 13844296 w 16682562"/>
                <a:gd name="connsiteY57" fmla="*/ 4845259 h 13724551"/>
                <a:gd name="connsiteX58" fmla="*/ 13886291 w 16682562"/>
                <a:gd name="connsiteY58" fmla="*/ 4010891 h 13724551"/>
                <a:gd name="connsiteX59" fmla="*/ 14370431 w 16682562"/>
                <a:gd name="connsiteY59" fmla="*/ 4519243 h 13724551"/>
                <a:gd name="connsiteX60" fmla="*/ 15323320 w 16682562"/>
                <a:gd name="connsiteY60" fmla="*/ 4617516 h 13724551"/>
                <a:gd name="connsiteX61" fmla="*/ 16350939 w 16682562"/>
                <a:gd name="connsiteY61" fmla="*/ 4742375 h 13724551"/>
                <a:gd name="connsiteX62" fmla="*/ 16362364 w 16682562"/>
                <a:gd name="connsiteY62" fmla="*/ 5049655 h 13724551"/>
                <a:gd name="connsiteX63" fmla="*/ 16682563 w 16682562"/>
                <a:gd name="connsiteY63" fmla="*/ 5487558 h 13724551"/>
                <a:gd name="connsiteX0" fmla="*/ 16682563 w 16682562"/>
                <a:gd name="connsiteY0" fmla="*/ 5487558 h 13724551"/>
                <a:gd name="connsiteX1" fmla="*/ 16432262 w 16682562"/>
                <a:gd name="connsiteY1" fmla="*/ 6514944 h 13724551"/>
                <a:gd name="connsiteX2" fmla="*/ 16106317 w 16682562"/>
                <a:gd name="connsiteY2" fmla="*/ 7056248 h 13724551"/>
                <a:gd name="connsiteX3" fmla="*/ 16305649 w 16682562"/>
                <a:gd name="connsiteY3" fmla="*/ 7443577 h 13724551"/>
                <a:gd name="connsiteX4" fmla="*/ 16287189 w 16682562"/>
                <a:gd name="connsiteY4" fmla="*/ 7840184 h 13724551"/>
                <a:gd name="connsiteX5" fmla="*/ 16372801 w 16682562"/>
                <a:gd name="connsiteY5" fmla="*/ 8406449 h 13724551"/>
                <a:gd name="connsiteX6" fmla="*/ 16070155 w 16682562"/>
                <a:gd name="connsiteY6" fmla="*/ 8626835 h 13724551"/>
                <a:gd name="connsiteX7" fmla="*/ 15805690 w 16682562"/>
                <a:gd name="connsiteY7" fmla="*/ 9121026 h 13724551"/>
                <a:gd name="connsiteX8" fmla="*/ 15195097 w 16682562"/>
                <a:gd name="connsiteY8" fmla="*/ 8782769 h 13724551"/>
                <a:gd name="connsiteX9" fmla="*/ 15011380 w 16682562"/>
                <a:gd name="connsiteY9" fmla="*/ 9737619 h 13724551"/>
                <a:gd name="connsiteX10" fmla="*/ 14908430 w 16682562"/>
                <a:gd name="connsiteY10" fmla="*/ 10626514 h 13724551"/>
                <a:gd name="connsiteX11" fmla="*/ 14904684 w 16682562"/>
                <a:gd name="connsiteY11" fmla="*/ 11449953 h 13724551"/>
                <a:gd name="connsiteX12" fmla="*/ 14929927 w 16682562"/>
                <a:gd name="connsiteY12" fmla="*/ 13080873 h 13724551"/>
                <a:gd name="connsiteX13" fmla="*/ 12952786 w 16682562"/>
                <a:gd name="connsiteY13" fmla="*/ 13531626 h 13724551"/>
                <a:gd name="connsiteX14" fmla="*/ 11934663 w 16682562"/>
                <a:gd name="connsiteY14" fmla="*/ 13579876 h 13724551"/>
                <a:gd name="connsiteX15" fmla="*/ 8506848 w 16682562"/>
                <a:gd name="connsiteY15" fmla="*/ 13724551 h 13724551"/>
                <a:gd name="connsiteX16" fmla="*/ 7985095 w 16682562"/>
                <a:gd name="connsiteY16" fmla="*/ 13079469 h 13724551"/>
                <a:gd name="connsiteX17" fmla="*/ 7400308 w 16682562"/>
                <a:gd name="connsiteY17" fmla="*/ 13049324 h 13724551"/>
                <a:gd name="connsiteX18" fmla="*/ 6972273 w 16682562"/>
                <a:gd name="connsiteY18" fmla="*/ 13320621 h 13724551"/>
                <a:gd name="connsiteX19" fmla="*/ 5181729 w 16682562"/>
                <a:gd name="connsiteY19" fmla="*/ 13236222 h 13724551"/>
                <a:gd name="connsiteX20" fmla="*/ 4397998 w 16682562"/>
                <a:gd name="connsiteY20" fmla="*/ 12603205 h 13724551"/>
                <a:gd name="connsiteX21" fmla="*/ 2908896 w 16682562"/>
                <a:gd name="connsiteY21" fmla="*/ 11795351 h 13724551"/>
                <a:gd name="connsiteX22" fmla="*/ 1263043 w 16682562"/>
                <a:gd name="connsiteY22" fmla="*/ 11083958 h 13724551"/>
                <a:gd name="connsiteX23" fmla="*/ 485320 w 16682562"/>
                <a:gd name="connsiteY23" fmla="*/ 10631801 h 13724551"/>
                <a:gd name="connsiteX24" fmla="*/ 0 w 16682562"/>
                <a:gd name="connsiteY24" fmla="*/ 10338689 h 13724551"/>
                <a:gd name="connsiteX25" fmla="*/ 1003686 w 16682562"/>
                <a:gd name="connsiteY25" fmla="*/ 9592724 h 13724551"/>
                <a:gd name="connsiteX26" fmla="*/ 2902551 w 16682562"/>
                <a:gd name="connsiteY26" fmla="*/ 8408325 h 13724551"/>
                <a:gd name="connsiteX27" fmla="*/ 2558940 w 16682562"/>
                <a:gd name="connsiteY27" fmla="*/ 7874894 h 13724551"/>
                <a:gd name="connsiteX28" fmla="*/ 2402508 w 16682562"/>
                <a:gd name="connsiteY28" fmla="*/ 7187811 h 13724551"/>
                <a:gd name="connsiteX29" fmla="*/ 2730740 w 16682562"/>
                <a:gd name="connsiteY29" fmla="*/ 7160640 h 13724551"/>
                <a:gd name="connsiteX30" fmla="*/ 2947754 w 16682562"/>
                <a:gd name="connsiteY30" fmla="*/ 6690495 h 13724551"/>
                <a:gd name="connsiteX31" fmla="*/ 3499325 w 16682562"/>
                <a:gd name="connsiteY31" fmla="*/ 6247478 h 13724551"/>
                <a:gd name="connsiteX32" fmla="*/ 3680166 w 16682562"/>
                <a:gd name="connsiteY32" fmla="*/ 5370480 h 13724551"/>
                <a:gd name="connsiteX33" fmla="*/ 4186528 w 16682562"/>
                <a:gd name="connsiteY33" fmla="*/ 5379516 h 13724551"/>
                <a:gd name="connsiteX34" fmla="*/ 4837569 w 16682562"/>
                <a:gd name="connsiteY34" fmla="*/ 5849666 h 13724551"/>
                <a:gd name="connsiteX35" fmla="*/ 5352976 w 16682562"/>
                <a:gd name="connsiteY35" fmla="*/ 5768299 h 13724551"/>
                <a:gd name="connsiteX36" fmla="*/ 5741786 w 16682562"/>
                <a:gd name="connsiteY36" fmla="*/ 5397604 h 13724551"/>
                <a:gd name="connsiteX37" fmla="*/ 6157723 w 16682562"/>
                <a:gd name="connsiteY37" fmla="*/ 5234863 h 13724551"/>
                <a:gd name="connsiteX38" fmla="*/ 6745471 w 16682562"/>
                <a:gd name="connsiteY38" fmla="*/ 4665270 h 13724551"/>
                <a:gd name="connsiteX39" fmla="*/ 6890140 w 16682562"/>
                <a:gd name="connsiteY39" fmla="*/ 3815394 h 13724551"/>
                <a:gd name="connsiteX40" fmla="*/ 7568305 w 16682562"/>
                <a:gd name="connsiteY40" fmla="*/ 3245800 h 13724551"/>
                <a:gd name="connsiteX41" fmla="*/ 8137967 w 16682562"/>
                <a:gd name="connsiteY41" fmla="*/ 2802779 h 13724551"/>
                <a:gd name="connsiteX42" fmla="*/ 8463480 w 16682562"/>
                <a:gd name="connsiteY42" fmla="*/ 1998112 h 13724551"/>
                <a:gd name="connsiteX43" fmla="*/ 9024093 w 16682562"/>
                <a:gd name="connsiteY43" fmla="*/ 1645505 h 13724551"/>
                <a:gd name="connsiteX44" fmla="*/ 9675138 w 16682562"/>
                <a:gd name="connsiteY44" fmla="*/ 1292903 h 13724551"/>
                <a:gd name="connsiteX45" fmla="*/ 9558580 w 16682562"/>
                <a:gd name="connsiteY45" fmla="*/ 744619 h 13724551"/>
                <a:gd name="connsiteX46" fmla="*/ 10353296 w 16682562"/>
                <a:gd name="connsiteY46" fmla="*/ 72335 h 13724551"/>
                <a:gd name="connsiteX47" fmla="*/ 10832530 w 16682562"/>
                <a:gd name="connsiteY47" fmla="*/ 1 h 13724551"/>
                <a:gd name="connsiteX48" fmla="*/ 11058585 w 16682562"/>
                <a:gd name="connsiteY48" fmla="*/ 452070 h 13724551"/>
                <a:gd name="connsiteX49" fmla="*/ 11411229 w 16682562"/>
                <a:gd name="connsiteY49" fmla="*/ 831801 h 13724551"/>
                <a:gd name="connsiteX50" fmla="*/ 11998974 w 16682562"/>
                <a:gd name="connsiteY50" fmla="*/ 913171 h 13724551"/>
                <a:gd name="connsiteX51" fmla="*/ 8216041 w 16682562"/>
                <a:gd name="connsiteY51" fmla="*/ 3870010 h 13724551"/>
                <a:gd name="connsiteX52" fmla="*/ 9761321 w 16682562"/>
                <a:gd name="connsiteY52" fmla="*/ 4249039 h 13724551"/>
                <a:gd name="connsiteX53" fmla="*/ 10152517 w 16682562"/>
                <a:gd name="connsiteY53" fmla="*/ 5047309 h 13724551"/>
                <a:gd name="connsiteX54" fmla="*/ 11109603 w 16682562"/>
                <a:gd name="connsiteY54" fmla="*/ 5418783 h 13724551"/>
                <a:gd name="connsiteX55" fmla="*/ 11919572 w 16682562"/>
                <a:gd name="connsiteY55" fmla="*/ 5692305 h 13724551"/>
                <a:gd name="connsiteX56" fmla="*/ 12868275 w 16682562"/>
                <a:gd name="connsiteY56" fmla="*/ 5447094 h 13724551"/>
                <a:gd name="connsiteX57" fmla="*/ 13844296 w 16682562"/>
                <a:gd name="connsiteY57" fmla="*/ 4845259 h 13724551"/>
                <a:gd name="connsiteX58" fmla="*/ 13886291 w 16682562"/>
                <a:gd name="connsiteY58" fmla="*/ 4010891 h 13724551"/>
                <a:gd name="connsiteX59" fmla="*/ 14370431 w 16682562"/>
                <a:gd name="connsiteY59" fmla="*/ 4519243 h 13724551"/>
                <a:gd name="connsiteX60" fmla="*/ 15323320 w 16682562"/>
                <a:gd name="connsiteY60" fmla="*/ 4617516 h 13724551"/>
                <a:gd name="connsiteX61" fmla="*/ 16350939 w 16682562"/>
                <a:gd name="connsiteY61" fmla="*/ 4742375 h 13724551"/>
                <a:gd name="connsiteX62" fmla="*/ 16362364 w 16682562"/>
                <a:gd name="connsiteY62" fmla="*/ 5049655 h 13724551"/>
                <a:gd name="connsiteX63" fmla="*/ 16682563 w 16682562"/>
                <a:gd name="connsiteY63" fmla="*/ 5487558 h 13724551"/>
                <a:gd name="connsiteX0" fmla="*/ 16682563 w 16682562"/>
                <a:gd name="connsiteY0" fmla="*/ 5487558 h 13724551"/>
                <a:gd name="connsiteX1" fmla="*/ 16432262 w 16682562"/>
                <a:gd name="connsiteY1" fmla="*/ 6514944 h 13724551"/>
                <a:gd name="connsiteX2" fmla="*/ 16106317 w 16682562"/>
                <a:gd name="connsiteY2" fmla="*/ 7056248 h 13724551"/>
                <a:gd name="connsiteX3" fmla="*/ 16305649 w 16682562"/>
                <a:gd name="connsiteY3" fmla="*/ 7443577 h 13724551"/>
                <a:gd name="connsiteX4" fmla="*/ 16287189 w 16682562"/>
                <a:gd name="connsiteY4" fmla="*/ 7840184 h 13724551"/>
                <a:gd name="connsiteX5" fmla="*/ 16372801 w 16682562"/>
                <a:gd name="connsiteY5" fmla="*/ 8406449 h 13724551"/>
                <a:gd name="connsiteX6" fmla="*/ 16070155 w 16682562"/>
                <a:gd name="connsiteY6" fmla="*/ 8626835 h 13724551"/>
                <a:gd name="connsiteX7" fmla="*/ 15805690 w 16682562"/>
                <a:gd name="connsiteY7" fmla="*/ 9121026 h 13724551"/>
                <a:gd name="connsiteX8" fmla="*/ 15195097 w 16682562"/>
                <a:gd name="connsiteY8" fmla="*/ 8782769 h 13724551"/>
                <a:gd name="connsiteX9" fmla="*/ 15011380 w 16682562"/>
                <a:gd name="connsiteY9" fmla="*/ 9737619 h 13724551"/>
                <a:gd name="connsiteX10" fmla="*/ 14908430 w 16682562"/>
                <a:gd name="connsiteY10" fmla="*/ 10626514 h 13724551"/>
                <a:gd name="connsiteX11" fmla="*/ 14904684 w 16682562"/>
                <a:gd name="connsiteY11" fmla="*/ 11449953 h 13724551"/>
                <a:gd name="connsiteX12" fmla="*/ 14929927 w 16682562"/>
                <a:gd name="connsiteY12" fmla="*/ 13080873 h 13724551"/>
                <a:gd name="connsiteX13" fmla="*/ 12952786 w 16682562"/>
                <a:gd name="connsiteY13" fmla="*/ 13531626 h 13724551"/>
                <a:gd name="connsiteX14" fmla="*/ 11934663 w 16682562"/>
                <a:gd name="connsiteY14" fmla="*/ 13579876 h 13724551"/>
                <a:gd name="connsiteX15" fmla="*/ 8506848 w 16682562"/>
                <a:gd name="connsiteY15" fmla="*/ 13724551 h 13724551"/>
                <a:gd name="connsiteX16" fmla="*/ 7985095 w 16682562"/>
                <a:gd name="connsiteY16" fmla="*/ 13079469 h 13724551"/>
                <a:gd name="connsiteX17" fmla="*/ 7400308 w 16682562"/>
                <a:gd name="connsiteY17" fmla="*/ 13049324 h 13724551"/>
                <a:gd name="connsiteX18" fmla="*/ 6972273 w 16682562"/>
                <a:gd name="connsiteY18" fmla="*/ 13320621 h 13724551"/>
                <a:gd name="connsiteX19" fmla="*/ 5181729 w 16682562"/>
                <a:gd name="connsiteY19" fmla="*/ 13236222 h 13724551"/>
                <a:gd name="connsiteX20" fmla="*/ 4397998 w 16682562"/>
                <a:gd name="connsiteY20" fmla="*/ 12603205 h 13724551"/>
                <a:gd name="connsiteX21" fmla="*/ 2908896 w 16682562"/>
                <a:gd name="connsiteY21" fmla="*/ 11795351 h 13724551"/>
                <a:gd name="connsiteX22" fmla="*/ 1263043 w 16682562"/>
                <a:gd name="connsiteY22" fmla="*/ 11083958 h 13724551"/>
                <a:gd name="connsiteX23" fmla="*/ 485320 w 16682562"/>
                <a:gd name="connsiteY23" fmla="*/ 10631801 h 13724551"/>
                <a:gd name="connsiteX24" fmla="*/ 0 w 16682562"/>
                <a:gd name="connsiteY24" fmla="*/ 10338689 h 13724551"/>
                <a:gd name="connsiteX25" fmla="*/ 1003686 w 16682562"/>
                <a:gd name="connsiteY25" fmla="*/ 9592724 h 13724551"/>
                <a:gd name="connsiteX26" fmla="*/ 2902551 w 16682562"/>
                <a:gd name="connsiteY26" fmla="*/ 8408325 h 13724551"/>
                <a:gd name="connsiteX27" fmla="*/ 2558940 w 16682562"/>
                <a:gd name="connsiteY27" fmla="*/ 7874894 h 13724551"/>
                <a:gd name="connsiteX28" fmla="*/ 2402508 w 16682562"/>
                <a:gd name="connsiteY28" fmla="*/ 7187811 h 13724551"/>
                <a:gd name="connsiteX29" fmla="*/ 2730740 w 16682562"/>
                <a:gd name="connsiteY29" fmla="*/ 7160640 h 13724551"/>
                <a:gd name="connsiteX30" fmla="*/ 2947754 w 16682562"/>
                <a:gd name="connsiteY30" fmla="*/ 6690495 h 13724551"/>
                <a:gd name="connsiteX31" fmla="*/ 3499325 w 16682562"/>
                <a:gd name="connsiteY31" fmla="*/ 6247478 h 13724551"/>
                <a:gd name="connsiteX32" fmla="*/ 3680166 w 16682562"/>
                <a:gd name="connsiteY32" fmla="*/ 5370480 h 13724551"/>
                <a:gd name="connsiteX33" fmla="*/ 4186528 w 16682562"/>
                <a:gd name="connsiteY33" fmla="*/ 5379516 h 13724551"/>
                <a:gd name="connsiteX34" fmla="*/ 4837569 w 16682562"/>
                <a:gd name="connsiteY34" fmla="*/ 5849666 h 13724551"/>
                <a:gd name="connsiteX35" fmla="*/ 5352976 w 16682562"/>
                <a:gd name="connsiteY35" fmla="*/ 5768299 h 13724551"/>
                <a:gd name="connsiteX36" fmla="*/ 5741786 w 16682562"/>
                <a:gd name="connsiteY36" fmla="*/ 5397604 h 13724551"/>
                <a:gd name="connsiteX37" fmla="*/ 6157723 w 16682562"/>
                <a:gd name="connsiteY37" fmla="*/ 5234863 h 13724551"/>
                <a:gd name="connsiteX38" fmla="*/ 6745471 w 16682562"/>
                <a:gd name="connsiteY38" fmla="*/ 4665270 h 13724551"/>
                <a:gd name="connsiteX39" fmla="*/ 6890140 w 16682562"/>
                <a:gd name="connsiteY39" fmla="*/ 3815394 h 13724551"/>
                <a:gd name="connsiteX40" fmla="*/ 7568305 w 16682562"/>
                <a:gd name="connsiteY40" fmla="*/ 3245800 h 13724551"/>
                <a:gd name="connsiteX41" fmla="*/ 8137967 w 16682562"/>
                <a:gd name="connsiteY41" fmla="*/ 2802779 h 13724551"/>
                <a:gd name="connsiteX42" fmla="*/ 8463480 w 16682562"/>
                <a:gd name="connsiteY42" fmla="*/ 1998112 h 13724551"/>
                <a:gd name="connsiteX43" fmla="*/ 9024093 w 16682562"/>
                <a:gd name="connsiteY43" fmla="*/ 1645505 h 13724551"/>
                <a:gd name="connsiteX44" fmla="*/ 9675138 w 16682562"/>
                <a:gd name="connsiteY44" fmla="*/ 1292903 h 13724551"/>
                <a:gd name="connsiteX45" fmla="*/ 9558580 w 16682562"/>
                <a:gd name="connsiteY45" fmla="*/ 744619 h 13724551"/>
                <a:gd name="connsiteX46" fmla="*/ 10353296 w 16682562"/>
                <a:gd name="connsiteY46" fmla="*/ 72335 h 13724551"/>
                <a:gd name="connsiteX47" fmla="*/ 10832530 w 16682562"/>
                <a:gd name="connsiteY47" fmla="*/ 1 h 13724551"/>
                <a:gd name="connsiteX48" fmla="*/ 11058585 w 16682562"/>
                <a:gd name="connsiteY48" fmla="*/ 452070 h 13724551"/>
                <a:gd name="connsiteX49" fmla="*/ 11411229 w 16682562"/>
                <a:gd name="connsiteY49" fmla="*/ 831801 h 13724551"/>
                <a:gd name="connsiteX50" fmla="*/ 11998974 w 16682562"/>
                <a:gd name="connsiteY50" fmla="*/ 913171 h 13724551"/>
                <a:gd name="connsiteX51" fmla="*/ 8524896 w 16682562"/>
                <a:gd name="connsiteY51" fmla="*/ 4654291 h 13724551"/>
                <a:gd name="connsiteX52" fmla="*/ 9761321 w 16682562"/>
                <a:gd name="connsiteY52" fmla="*/ 4249039 h 13724551"/>
                <a:gd name="connsiteX53" fmla="*/ 10152517 w 16682562"/>
                <a:gd name="connsiteY53" fmla="*/ 5047309 h 13724551"/>
                <a:gd name="connsiteX54" fmla="*/ 11109603 w 16682562"/>
                <a:gd name="connsiteY54" fmla="*/ 5418783 h 13724551"/>
                <a:gd name="connsiteX55" fmla="*/ 11919572 w 16682562"/>
                <a:gd name="connsiteY55" fmla="*/ 5692305 h 13724551"/>
                <a:gd name="connsiteX56" fmla="*/ 12868275 w 16682562"/>
                <a:gd name="connsiteY56" fmla="*/ 5447094 h 13724551"/>
                <a:gd name="connsiteX57" fmla="*/ 13844296 w 16682562"/>
                <a:gd name="connsiteY57" fmla="*/ 4845259 h 13724551"/>
                <a:gd name="connsiteX58" fmla="*/ 13886291 w 16682562"/>
                <a:gd name="connsiteY58" fmla="*/ 4010891 h 13724551"/>
                <a:gd name="connsiteX59" fmla="*/ 14370431 w 16682562"/>
                <a:gd name="connsiteY59" fmla="*/ 4519243 h 13724551"/>
                <a:gd name="connsiteX60" fmla="*/ 15323320 w 16682562"/>
                <a:gd name="connsiteY60" fmla="*/ 4617516 h 13724551"/>
                <a:gd name="connsiteX61" fmla="*/ 16350939 w 16682562"/>
                <a:gd name="connsiteY61" fmla="*/ 4742375 h 13724551"/>
                <a:gd name="connsiteX62" fmla="*/ 16362364 w 16682562"/>
                <a:gd name="connsiteY62" fmla="*/ 5049655 h 13724551"/>
                <a:gd name="connsiteX63" fmla="*/ 16682563 w 16682562"/>
                <a:gd name="connsiteY63" fmla="*/ 5487558 h 13724551"/>
                <a:gd name="connsiteX0" fmla="*/ 16682563 w 16682562"/>
                <a:gd name="connsiteY0" fmla="*/ 5487558 h 13724551"/>
                <a:gd name="connsiteX1" fmla="*/ 16432262 w 16682562"/>
                <a:gd name="connsiteY1" fmla="*/ 6514944 h 13724551"/>
                <a:gd name="connsiteX2" fmla="*/ 16106317 w 16682562"/>
                <a:gd name="connsiteY2" fmla="*/ 7056248 h 13724551"/>
                <a:gd name="connsiteX3" fmla="*/ 16305649 w 16682562"/>
                <a:gd name="connsiteY3" fmla="*/ 7443577 h 13724551"/>
                <a:gd name="connsiteX4" fmla="*/ 16287189 w 16682562"/>
                <a:gd name="connsiteY4" fmla="*/ 7840184 h 13724551"/>
                <a:gd name="connsiteX5" fmla="*/ 16372801 w 16682562"/>
                <a:gd name="connsiteY5" fmla="*/ 8406449 h 13724551"/>
                <a:gd name="connsiteX6" fmla="*/ 16070155 w 16682562"/>
                <a:gd name="connsiteY6" fmla="*/ 8626835 h 13724551"/>
                <a:gd name="connsiteX7" fmla="*/ 15805690 w 16682562"/>
                <a:gd name="connsiteY7" fmla="*/ 9121026 h 13724551"/>
                <a:gd name="connsiteX8" fmla="*/ 15195097 w 16682562"/>
                <a:gd name="connsiteY8" fmla="*/ 8782769 h 13724551"/>
                <a:gd name="connsiteX9" fmla="*/ 15011380 w 16682562"/>
                <a:gd name="connsiteY9" fmla="*/ 9737619 h 13724551"/>
                <a:gd name="connsiteX10" fmla="*/ 14908430 w 16682562"/>
                <a:gd name="connsiteY10" fmla="*/ 10626514 h 13724551"/>
                <a:gd name="connsiteX11" fmla="*/ 14904684 w 16682562"/>
                <a:gd name="connsiteY11" fmla="*/ 11449953 h 13724551"/>
                <a:gd name="connsiteX12" fmla="*/ 14929927 w 16682562"/>
                <a:gd name="connsiteY12" fmla="*/ 13080873 h 13724551"/>
                <a:gd name="connsiteX13" fmla="*/ 12952786 w 16682562"/>
                <a:gd name="connsiteY13" fmla="*/ 13531626 h 13724551"/>
                <a:gd name="connsiteX14" fmla="*/ 11934663 w 16682562"/>
                <a:gd name="connsiteY14" fmla="*/ 13579876 h 13724551"/>
                <a:gd name="connsiteX15" fmla="*/ 8506848 w 16682562"/>
                <a:gd name="connsiteY15" fmla="*/ 13724551 h 13724551"/>
                <a:gd name="connsiteX16" fmla="*/ 7985095 w 16682562"/>
                <a:gd name="connsiteY16" fmla="*/ 13079469 h 13724551"/>
                <a:gd name="connsiteX17" fmla="*/ 7400308 w 16682562"/>
                <a:gd name="connsiteY17" fmla="*/ 13049324 h 13724551"/>
                <a:gd name="connsiteX18" fmla="*/ 6972273 w 16682562"/>
                <a:gd name="connsiteY18" fmla="*/ 13320621 h 13724551"/>
                <a:gd name="connsiteX19" fmla="*/ 5181729 w 16682562"/>
                <a:gd name="connsiteY19" fmla="*/ 13236222 h 13724551"/>
                <a:gd name="connsiteX20" fmla="*/ 4397998 w 16682562"/>
                <a:gd name="connsiteY20" fmla="*/ 12603205 h 13724551"/>
                <a:gd name="connsiteX21" fmla="*/ 2908896 w 16682562"/>
                <a:gd name="connsiteY21" fmla="*/ 11795351 h 13724551"/>
                <a:gd name="connsiteX22" fmla="*/ 1263043 w 16682562"/>
                <a:gd name="connsiteY22" fmla="*/ 11083958 h 13724551"/>
                <a:gd name="connsiteX23" fmla="*/ 485320 w 16682562"/>
                <a:gd name="connsiteY23" fmla="*/ 10631801 h 13724551"/>
                <a:gd name="connsiteX24" fmla="*/ 0 w 16682562"/>
                <a:gd name="connsiteY24" fmla="*/ 10338689 h 13724551"/>
                <a:gd name="connsiteX25" fmla="*/ 1003686 w 16682562"/>
                <a:gd name="connsiteY25" fmla="*/ 9592724 h 13724551"/>
                <a:gd name="connsiteX26" fmla="*/ 2902551 w 16682562"/>
                <a:gd name="connsiteY26" fmla="*/ 8408325 h 13724551"/>
                <a:gd name="connsiteX27" fmla="*/ 2558940 w 16682562"/>
                <a:gd name="connsiteY27" fmla="*/ 7874894 h 13724551"/>
                <a:gd name="connsiteX28" fmla="*/ 2402508 w 16682562"/>
                <a:gd name="connsiteY28" fmla="*/ 7187811 h 13724551"/>
                <a:gd name="connsiteX29" fmla="*/ 2730740 w 16682562"/>
                <a:gd name="connsiteY29" fmla="*/ 7160640 h 13724551"/>
                <a:gd name="connsiteX30" fmla="*/ 2947754 w 16682562"/>
                <a:gd name="connsiteY30" fmla="*/ 6690495 h 13724551"/>
                <a:gd name="connsiteX31" fmla="*/ 3499325 w 16682562"/>
                <a:gd name="connsiteY31" fmla="*/ 6247478 h 13724551"/>
                <a:gd name="connsiteX32" fmla="*/ 3680166 w 16682562"/>
                <a:gd name="connsiteY32" fmla="*/ 5370480 h 13724551"/>
                <a:gd name="connsiteX33" fmla="*/ 4186528 w 16682562"/>
                <a:gd name="connsiteY33" fmla="*/ 5379516 h 13724551"/>
                <a:gd name="connsiteX34" fmla="*/ 4837569 w 16682562"/>
                <a:gd name="connsiteY34" fmla="*/ 5849666 h 13724551"/>
                <a:gd name="connsiteX35" fmla="*/ 5352976 w 16682562"/>
                <a:gd name="connsiteY35" fmla="*/ 5768299 h 13724551"/>
                <a:gd name="connsiteX36" fmla="*/ 5741786 w 16682562"/>
                <a:gd name="connsiteY36" fmla="*/ 5397604 h 13724551"/>
                <a:gd name="connsiteX37" fmla="*/ 6157723 w 16682562"/>
                <a:gd name="connsiteY37" fmla="*/ 5234863 h 13724551"/>
                <a:gd name="connsiteX38" fmla="*/ 6745471 w 16682562"/>
                <a:gd name="connsiteY38" fmla="*/ 4665270 h 13724551"/>
                <a:gd name="connsiteX39" fmla="*/ 6890140 w 16682562"/>
                <a:gd name="connsiteY39" fmla="*/ 3815394 h 13724551"/>
                <a:gd name="connsiteX40" fmla="*/ 7568305 w 16682562"/>
                <a:gd name="connsiteY40" fmla="*/ 3245800 h 13724551"/>
                <a:gd name="connsiteX41" fmla="*/ 8137967 w 16682562"/>
                <a:gd name="connsiteY41" fmla="*/ 2802779 h 13724551"/>
                <a:gd name="connsiteX42" fmla="*/ 8463480 w 16682562"/>
                <a:gd name="connsiteY42" fmla="*/ 1998112 h 13724551"/>
                <a:gd name="connsiteX43" fmla="*/ 9024093 w 16682562"/>
                <a:gd name="connsiteY43" fmla="*/ 1645505 h 13724551"/>
                <a:gd name="connsiteX44" fmla="*/ 9675138 w 16682562"/>
                <a:gd name="connsiteY44" fmla="*/ 1292903 h 13724551"/>
                <a:gd name="connsiteX45" fmla="*/ 9558580 w 16682562"/>
                <a:gd name="connsiteY45" fmla="*/ 744619 h 13724551"/>
                <a:gd name="connsiteX46" fmla="*/ 10353296 w 16682562"/>
                <a:gd name="connsiteY46" fmla="*/ 72335 h 13724551"/>
                <a:gd name="connsiteX47" fmla="*/ 10832530 w 16682562"/>
                <a:gd name="connsiteY47" fmla="*/ 1 h 13724551"/>
                <a:gd name="connsiteX48" fmla="*/ 11058585 w 16682562"/>
                <a:gd name="connsiteY48" fmla="*/ 452070 h 13724551"/>
                <a:gd name="connsiteX49" fmla="*/ 11411229 w 16682562"/>
                <a:gd name="connsiteY49" fmla="*/ 831801 h 13724551"/>
                <a:gd name="connsiteX50" fmla="*/ 11998974 w 16682562"/>
                <a:gd name="connsiteY50" fmla="*/ 913171 h 13724551"/>
                <a:gd name="connsiteX51" fmla="*/ 9086459 w 16682562"/>
                <a:gd name="connsiteY51" fmla="*/ 4346185 h 13724551"/>
                <a:gd name="connsiteX52" fmla="*/ 9761321 w 16682562"/>
                <a:gd name="connsiteY52" fmla="*/ 4249039 h 13724551"/>
                <a:gd name="connsiteX53" fmla="*/ 10152517 w 16682562"/>
                <a:gd name="connsiteY53" fmla="*/ 5047309 h 13724551"/>
                <a:gd name="connsiteX54" fmla="*/ 11109603 w 16682562"/>
                <a:gd name="connsiteY54" fmla="*/ 5418783 h 13724551"/>
                <a:gd name="connsiteX55" fmla="*/ 11919572 w 16682562"/>
                <a:gd name="connsiteY55" fmla="*/ 5692305 h 13724551"/>
                <a:gd name="connsiteX56" fmla="*/ 12868275 w 16682562"/>
                <a:gd name="connsiteY56" fmla="*/ 5447094 h 13724551"/>
                <a:gd name="connsiteX57" fmla="*/ 13844296 w 16682562"/>
                <a:gd name="connsiteY57" fmla="*/ 4845259 h 13724551"/>
                <a:gd name="connsiteX58" fmla="*/ 13886291 w 16682562"/>
                <a:gd name="connsiteY58" fmla="*/ 4010891 h 13724551"/>
                <a:gd name="connsiteX59" fmla="*/ 14370431 w 16682562"/>
                <a:gd name="connsiteY59" fmla="*/ 4519243 h 13724551"/>
                <a:gd name="connsiteX60" fmla="*/ 15323320 w 16682562"/>
                <a:gd name="connsiteY60" fmla="*/ 4617516 h 13724551"/>
                <a:gd name="connsiteX61" fmla="*/ 16350939 w 16682562"/>
                <a:gd name="connsiteY61" fmla="*/ 4742375 h 13724551"/>
                <a:gd name="connsiteX62" fmla="*/ 16362364 w 16682562"/>
                <a:gd name="connsiteY62" fmla="*/ 5049655 h 13724551"/>
                <a:gd name="connsiteX63" fmla="*/ 16682563 w 16682562"/>
                <a:gd name="connsiteY63" fmla="*/ 5487558 h 13724551"/>
                <a:gd name="connsiteX0" fmla="*/ 16682563 w 16682562"/>
                <a:gd name="connsiteY0" fmla="*/ 5487558 h 13724551"/>
                <a:gd name="connsiteX1" fmla="*/ 16432262 w 16682562"/>
                <a:gd name="connsiteY1" fmla="*/ 6514944 h 13724551"/>
                <a:gd name="connsiteX2" fmla="*/ 16106317 w 16682562"/>
                <a:gd name="connsiteY2" fmla="*/ 7056248 h 13724551"/>
                <a:gd name="connsiteX3" fmla="*/ 16305649 w 16682562"/>
                <a:gd name="connsiteY3" fmla="*/ 7443577 h 13724551"/>
                <a:gd name="connsiteX4" fmla="*/ 16287189 w 16682562"/>
                <a:gd name="connsiteY4" fmla="*/ 7840184 h 13724551"/>
                <a:gd name="connsiteX5" fmla="*/ 16372801 w 16682562"/>
                <a:gd name="connsiteY5" fmla="*/ 8406449 h 13724551"/>
                <a:gd name="connsiteX6" fmla="*/ 16070155 w 16682562"/>
                <a:gd name="connsiteY6" fmla="*/ 8626835 h 13724551"/>
                <a:gd name="connsiteX7" fmla="*/ 15805690 w 16682562"/>
                <a:gd name="connsiteY7" fmla="*/ 9121026 h 13724551"/>
                <a:gd name="connsiteX8" fmla="*/ 15195097 w 16682562"/>
                <a:gd name="connsiteY8" fmla="*/ 8782769 h 13724551"/>
                <a:gd name="connsiteX9" fmla="*/ 15011380 w 16682562"/>
                <a:gd name="connsiteY9" fmla="*/ 9737619 h 13724551"/>
                <a:gd name="connsiteX10" fmla="*/ 14908430 w 16682562"/>
                <a:gd name="connsiteY10" fmla="*/ 10626514 h 13724551"/>
                <a:gd name="connsiteX11" fmla="*/ 14904684 w 16682562"/>
                <a:gd name="connsiteY11" fmla="*/ 11449953 h 13724551"/>
                <a:gd name="connsiteX12" fmla="*/ 14929927 w 16682562"/>
                <a:gd name="connsiteY12" fmla="*/ 13080873 h 13724551"/>
                <a:gd name="connsiteX13" fmla="*/ 12952786 w 16682562"/>
                <a:gd name="connsiteY13" fmla="*/ 13531626 h 13724551"/>
                <a:gd name="connsiteX14" fmla="*/ 11934663 w 16682562"/>
                <a:gd name="connsiteY14" fmla="*/ 13579876 h 13724551"/>
                <a:gd name="connsiteX15" fmla="*/ 8506848 w 16682562"/>
                <a:gd name="connsiteY15" fmla="*/ 13724551 h 13724551"/>
                <a:gd name="connsiteX16" fmla="*/ 7985095 w 16682562"/>
                <a:gd name="connsiteY16" fmla="*/ 13079469 h 13724551"/>
                <a:gd name="connsiteX17" fmla="*/ 7400308 w 16682562"/>
                <a:gd name="connsiteY17" fmla="*/ 13049324 h 13724551"/>
                <a:gd name="connsiteX18" fmla="*/ 6972273 w 16682562"/>
                <a:gd name="connsiteY18" fmla="*/ 13320621 h 13724551"/>
                <a:gd name="connsiteX19" fmla="*/ 5181729 w 16682562"/>
                <a:gd name="connsiteY19" fmla="*/ 13236222 h 13724551"/>
                <a:gd name="connsiteX20" fmla="*/ 4397998 w 16682562"/>
                <a:gd name="connsiteY20" fmla="*/ 12603205 h 13724551"/>
                <a:gd name="connsiteX21" fmla="*/ 2908896 w 16682562"/>
                <a:gd name="connsiteY21" fmla="*/ 11795351 h 13724551"/>
                <a:gd name="connsiteX22" fmla="*/ 1263043 w 16682562"/>
                <a:gd name="connsiteY22" fmla="*/ 11083958 h 13724551"/>
                <a:gd name="connsiteX23" fmla="*/ 485320 w 16682562"/>
                <a:gd name="connsiteY23" fmla="*/ 10631801 h 13724551"/>
                <a:gd name="connsiteX24" fmla="*/ 0 w 16682562"/>
                <a:gd name="connsiteY24" fmla="*/ 10338689 h 13724551"/>
                <a:gd name="connsiteX25" fmla="*/ 1003686 w 16682562"/>
                <a:gd name="connsiteY25" fmla="*/ 9592724 h 13724551"/>
                <a:gd name="connsiteX26" fmla="*/ 2902551 w 16682562"/>
                <a:gd name="connsiteY26" fmla="*/ 8408325 h 13724551"/>
                <a:gd name="connsiteX27" fmla="*/ 2558940 w 16682562"/>
                <a:gd name="connsiteY27" fmla="*/ 7874894 h 13724551"/>
                <a:gd name="connsiteX28" fmla="*/ 2402508 w 16682562"/>
                <a:gd name="connsiteY28" fmla="*/ 7187811 h 13724551"/>
                <a:gd name="connsiteX29" fmla="*/ 2730740 w 16682562"/>
                <a:gd name="connsiteY29" fmla="*/ 7160640 h 13724551"/>
                <a:gd name="connsiteX30" fmla="*/ 2947754 w 16682562"/>
                <a:gd name="connsiteY30" fmla="*/ 6690495 h 13724551"/>
                <a:gd name="connsiteX31" fmla="*/ 3499325 w 16682562"/>
                <a:gd name="connsiteY31" fmla="*/ 6247478 h 13724551"/>
                <a:gd name="connsiteX32" fmla="*/ 3680166 w 16682562"/>
                <a:gd name="connsiteY32" fmla="*/ 5370480 h 13724551"/>
                <a:gd name="connsiteX33" fmla="*/ 4186528 w 16682562"/>
                <a:gd name="connsiteY33" fmla="*/ 5379516 h 13724551"/>
                <a:gd name="connsiteX34" fmla="*/ 4837569 w 16682562"/>
                <a:gd name="connsiteY34" fmla="*/ 5849666 h 13724551"/>
                <a:gd name="connsiteX35" fmla="*/ 5352976 w 16682562"/>
                <a:gd name="connsiteY35" fmla="*/ 5768299 h 13724551"/>
                <a:gd name="connsiteX36" fmla="*/ 5741786 w 16682562"/>
                <a:gd name="connsiteY36" fmla="*/ 5397604 h 13724551"/>
                <a:gd name="connsiteX37" fmla="*/ 6157723 w 16682562"/>
                <a:gd name="connsiteY37" fmla="*/ 5234863 h 13724551"/>
                <a:gd name="connsiteX38" fmla="*/ 6745471 w 16682562"/>
                <a:gd name="connsiteY38" fmla="*/ 4665270 h 13724551"/>
                <a:gd name="connsiteX39" fmla="*/ 6890140 w 16682562"/>
                <a:gd name="connsiteY39" fmla="*/ 3815394 h 13724551"/>
                <a:gd name="connsiteX40" fmla="*/ 7568305 w 16682562"/>
                <a:gd name="connsiteY40" fmla="*/ 3245800 h 13724551"/>
                <a:gd name="connsiteX41" fmla="*/ 8137967 w 16682562"/>
                <a:gd name="connsiteY41" fmla="*/ 2802779 h 13724551"/>
                <a:gd name="connsiteX42" fmla="*/ 8463480 w 16682562"/>
                <a:gd name="connsiteY42" fmla="*/ 1998112 h 13724551"/>
                <a:gd name="connsiteX43" fmla="*/ 9024093 w 16682562"/>
                <a:gd name="connsiteY43" fmla="*/ 1645505 h 13724551"/>
                <a:gd name="connsiteX44" fmla="*/ 9675138 w 16682562"/>
                <a:gd name="connsiteY44" fmla="*/ 1292903 h 13724551"/>
                <a:gd name="connsiteX45" fmla="*/ 9558580 w 16682562"/>
                <a:gd name="connsiteY45" fmla="*/ 744619 h 13724551"/>
                <a:gd name="connsiteX46" fmla="*/ 10353296 w 16682562"/>
                <a:gd name="connsiteY46" fmla="*/ 72335 h 13724551"/>
                <a:gd name="connsiteX47" fmla="*/ 10832530 w 16682562"/>
                <a:gd name="connsiteY47" fmla="*/ 1 h 13724551"/>
                <a:gd name="connsiteX48" fmla="*/ 11058585 w 16682562"/>
                <a:gd name="connsiteY48" fmla="*/ 452070 h 13724551"/>
                <a:gd name="connsiteX49" fmla="*/ 11411229 w 16682562"/>
                <a:gd name="connsiteY49" fmla="*/ 831801 h 13724551"/>
                <a:gd name="connsiteX50" fmla="*/ 8348814 w 16682562"/>
                <a:gd name="connsiteY50" fmla="*/ 3770198 h 13724551"/>
                <a:gd name="connsiteX51" fmla="*/ 9086459 w 16682562"/>
                <a:gd name="connsiteY51" fmla="*/ 4346185 h 13724551"/>
                <a:gd name="connsiteX52" fmla="*/ 9761321 w 16682562"/>
                <a:gd name="connsiteY52" fmla="*/ 4249039 h 13724551"/>
                <a:gd name="connsiteX53" fmla="*/ 10152517 w 16682562"/>
                <a:gd name="connsiteY53" fmla="*/ 5047309 h 13724551"/>
                <a:gd name="connsiteX54" fmla="*/ 11109603 w 16682562"/>
                <a:gd name="connsiteY54" fmla="*/ 5418783 h 13724551"/>
                <a:gd name="connsiteX55" fmla="*/ 11919572 w 16682562"/>
                <a:gd name="connsiteY55" fmla="*/ 5692305 h 13724551"/>
                <a:gd name="connsiteX56" fmla="*/ 12868275 w 16682562"/>
                <a:gd name="connsiteY56" fmla="*/ 5447094 h 13724551"/>
                <a:gd name="connsiteX57" fmla="*/ 13844296 w 16682562"/>
                <a:gd name="connsiteY57" fmla="*/ 4845259 h 13724551"/>
                <a:gd name="connsiteX58" fmla="*/ 13886291 w 16682562"/>
                <a:gd name="connsiteY58" fmla="*/ 4010891 h 13724551"/>
                <a:gd name="connsiteX59" fmla="*/ 14370431 w 16682562"/>
                <a:gd name="connsiteY59" fmla="*/ 4519243 h 13724551"/>
                <a:gd name="connsiteX60" fmla="*/ 15323320 w 16682562"/>
                <a:gd name="connsiteY60" fmla="*/ 4617516 h 13724551"/>
                <a:gd name="connsiteX61" fmla="*/ 16350939 w 16682562"/>
                <a:gd name="connsiteY61" fmla="*/ 4742375 h 13724551"/>
                <a:gd name="connsiteX62" fmla="*/ 16362364 w 16682562"/>
                <a:gd name="connsiteY62" fmla="*/ 5049655 h 13724551"/>
                <a:gd name="connsiteX63" fmla="*/ 16682563 w 16682562"/>
                <a:gd name="connsiteY63" fmla="*/ 5487558 h 13724551"/>
                <a:gd name="connsiteX0" fmla="*/ 16682563 w 16682562"/>
                <a:gd name="connsiteY0" fmla="*/ 5487558 h 13724551"/>
                <a:gd name="connsiteX1" fmla="*/ 16432262 w 16682562"/>
                <a:gd name="connsiteY1" fmla="*/ 6514944 h 13724551"/>
                <a:gd name="connsiteX2" fmla="*/ 16106317 w 16682562"/>
                <a:gd name="connsiteY2" fmla="*/ 7056248 h 13724551"/>
                <a:gd name="connsiteX3" fmla="*/ 16305649 w 16682562"/>
                <a:gd name="connsiteY3" fmla="*/ 7443577 h 13724551"/>
                <a:gd name="connsiteX4" fmla="*/ 16287189 w 16682562"/>
                <a:gd name="connsiteY4" fmla="*/ 7840184 h 13724551"/>
                <a:gd name="connsiteX5" fmla="*/ 16372801 w 16682562"/>
                <a:gd name="connsiteY5" fmla="*/ 8406449 h 13724551"/>
                <a:gd name="connsiteX6" fmla="*/ 16070155 w 16682562"/>
                <a:gd name="connsiteY6" fmla="*/ 8626835 h 13724551"/>
                <a:gd name="connsiteX7" fmla="*/ 15805690 w 16682562"/>
                <a:gd name="connsiteY7" fmla="*/ 9121026 h 13724551"/>
                <a:gd name="connsiteX8" fmla="*/ 15195097 w 16682562"/>
                <a:gd name="connsiteY8" fmla="*/ 8782769 h 13724551"/>
                <a:gd name="connsiteX9" fmla="*/ 15011380 w 16682562"/>
                <a:gd name="connsiteY9" fmla="*/ 9737619 h 13724551"/>
                <a:gd name="connsiteX10" fmla="*/ 14908430 w 16682562"/>
                <a:gd name="connsiteY10" fmla="*/ 10626514 h 13724551"/>
                <a:gd name="connsiteX11" fmla="*/ 14904684 w 16682562"/>
                <a:gd name="connsiteY11" fmla="*/ 11449953 h 13724551"/>
                <a:gd name="connsiteX12" fmla="*/ 14929927 w 16682562"/>
                <a:gd name="connsiteY12" fmla="*/ 13080873 h 13724551"/>
                <a:gd name="connsiteX13" fmla="*/ 12952786 w 16682562"/>
                <a:gd name="connsiteY13" fmla="*/ 13531626 h 13724551"/>
                <a:gd name="connsiteX14" fmla="*/ 11934663 w 16682562"/>
                <a:gd name="connsiteY14" fmla="*/ 13579876 h 13724551"/>
                <a:gd name="connsiteX15" fmla="*/ 8506848 w 16682562"/>
                <a:gd name="connsiteY15" fmla="*/ 13724551 h 13724551"/>
                <a:gd name="connsiteX16" fmla="*/ 7985095 w 16682562"/>
                <a:gd name="connsiteY16" fmla="*/ 13079469 h 13724551"/>
                <a:gd name="connsiteX17" fmla="*/ 7400308 w 16682562"/>
                <a:gd name="connsiteY17" fmla="*/ 13049324 h 13724551"/>
                <a:gd name="connsiteX18" fmla="*/ 6972273 w 16682562"/>
                <a:gd name="connsiteY18" fmla="*/ 13320621 h 13724551"/>
                <a:gd name="connsiteX19" fmla="*/ 5181729 w 16682562"/>
                <a:gd name="connsiteY19" fmla="*/ 13236222 h 13724551"/>
                <a:gd name="connsiteX20" fmla="*/ 4397998 w 16682562"/>
                <a:gd name="connsiteY20" fmla="*/ 12603205 h 13724551"/>
                <a:gd name="connsiteX21" fmla="*/ 2908896 w 16682562"/>
                <a:gd name="connsiteY21" fmla="*/ 11795351 h 13724551"/>
                <a:gd name="connsiteX22" fmla="*/ 1263043 w 16682562"/>
                <a:gd name="connsiteY22" fmla="*/ 11083958 h 13724551"/>
                <a:gd name="connsiteX23" fmla="*/ 485320 w 16682562"/>
                <a:gd name="connsiteY23" fmla="*/ 10631801 h 13724551"/>
                <a:gd name="connsiteX24" fmla="*/ 0 w 16682562"/>
                <a:gd name="connsiteY24" fmla="*/ 10338689 h 13724551"/>
                <a:gd name="connsiteX25" fmla="*/ 1003686 w 16682562"/>
                <a:gd name="connsiteY25" fmla="*/ 9592724 h 13724551"/>
                <a:gd name="connsiteX26" fmla="*/ 2902551 w 16682562"/>
                <a:gd name="connsiteY26" fmla="*/ 8408325 h 13724551"/>
                <a:gd name="connsiteX27" fmla="*/ 2558940 w 16682562"/>
                <a:gd name="connsiteY27" fmla="*/ 7874894 h 13724551"/>
                <a:gd name="connsiteX28" fmla="*/ 2402508 w 16682562"/>
                <a:gd name="connsiteY28" fmla="*/ 7187811 h 13724551"/>
                <a:gd name="connsiteX29" fmla="*/ 2730740 w 16682562"/>
                <a:gd name="connsiteY29" fmla="*/ 7160640 h 13724551"/>
                <a:gd name="connsiteX30" fmla="*/ 2947754 w 16682562"/>
                <a:gd name="connsiteY30" fmla="*/ 6690495 h 13724551"/>
                <a:gd name="connsiteX31" fmla="*/ 3499325 w 16682562"/>
                <a:gd name="connsiteY31" fmla="*/ 6247478 h 13724551"/>
                <a:gd name="connsiteX32" fmla="*/ 3680166 w 16682562"/>
                <a:gd name="connsiteY32" fmla="*/ 5370480 h 13724551"/>
                <a:gd name="connsiteX33" fmla="*/ 4186528 w 16682562"/>
                <a:gd name="connsiteY33" fmla="*/ 5379516 h 13724551"/>
                <a:gd name="connsiteX34" fmla="*/ 4837569 w 16682562"/>
                <a:gd name="connsiteY34" fmla="*/ 5849666 h 13724551"/>
                <a:gd name="connsiteX35" fmla="*/ 5352976 w 16682562"/>
                <a:gd name="connsiteY35" fmla="*/ 5768299 h 13724551"/>
                <a:gd name="connsiteX36" fmla="*/ 5741786 w 16682562"/>
                <a:gd name="connsiteY36" fmla="*/ 5397604 h 13724551"/>
                <a:gd name="connsiteX37" fmla="*/ 6157723 w 16682562"/>
                <a:gd name="connsiteY37" fmla="*/ 5234863 h 13724551"/>
                <a:gd name="connsiteX38" fmla="*/ 6745471 w 16682562"/>
                <a:gd name="connsiteY38" fmla="*/ 4665270 h 13724551"/>
                <a:gd name="connsiteX39" fmla="*/ 6890140 w 16682562"/>
                <a:gd name="connsiteY39" fmla="*/ 3815394 h 13724551"/>
                <a:gd name="connsiteX40" fmla="*/ 7568305 w 16682562"/>
                <a:gd name="connsiteY40" fmla="*/ 3245800 h 13724551"/>
                <a:gd name="connsiteX41" fmla="*/ 8137967 w 16682562"/>
                <a:gd name="connsiteY41" fmla="*/ 2802779 h 13724551"/>
                <a:gd name="connsiteX42" fmla="*/ 8463480 w 16682562"/>
                <a:gd name="connsiteY42" fmla="*/ 1998112 h 13724551"/>
                <a:gd name="connsiteX43" fmla="*/ 9024093 w 16682562"/>
                <a:gd name="connsiteY43" fmla="*/ 1645505 h 13724551"/>
                <a:gd name="connsiteX44" fmla="*/ 9675138 w 16682562"/>
                <a:gd name="connsiteY44" fmla="*/ 1292903 h 13724551"/>
                <a:gd name="connsiteX45" fmla="*/ 9558580 w 16682562"/>
                <a:gd name="connsiteY45" fmla="*/ 744619 h 13724551"/>
                <a:gd name="connsiteX46" fmla="*/ 10353296 w 16682562"/>
                <a:gd name="connsiteY46" fmla="*/ 72335 h 13724551"/>
                <a:gd name="connsiteX47" fmla="*/ 10832530 w 16682562"/>
                <a:gd name="connsiteY47" fmla="*/ 1 h 13724551"/>
                <a:gd name="connsiteX48" fmla="*/ 11058585 w 16682562"/>
                <a:gd name="connsiteY48" fmla="*/ 452070 h 13724551"/>
                <a:gd name="connsiteX49" fmla="*/ 11411229 w 16682562"/>
                <a:gd name="connsiteY49" fmla="*/ 831801 h 13724551"/>
                <a:gd name="connsiteX50" fmla="*/ 9078849 w 16682562"/>
                <a:gd name="connsiteY50" fmla="*/ 3798207 h 13724551"/>
                <a:gd name="connsiteX51" fmla="*/ 9086459 w 16682562"/>
                <a:gd name="connsiteY51" fmla="*/ 4346185 h 13724551"/>
                <a:gd name="connsiteX52" fmla="*/ 9761321 w 16682562"/>
                <a:gd name="connsiteY52" fmla="*/ 4249039 h 13724551"/>
                <a:gd name="connsiteX53" fmla="*/ 10152517 w 16682562"/>
                <a:gd name="connsiteY53" fmla="*/ 5047309 h 13724551"/>
                <a:gd name="connsiteX54" fmla="*/ 11109603 w 16682562"/>
                <a:gd name="connsiteY54" fmla="*/ 5418783 h 13724551"/>
                <a:gd name="connsiteX55" fmla="*/ 11919572 w 16682562"/>
                <a:gd name="connsiteY55" fmla="*/ 5692305 h 13724551"/>
                <a:gd name="connsiteX56" fmla="*/ 12868275 w 16682562"/>
                <a:gd name="connsiteY56" fmla="*/ 5447094 h 13724551"/>
                <a:gd name="connsiteX57" fmla="*/ 13844296 w 16682562"/>
                <a:gd name="connsiteY57" fmla="*/ 4845259 h 13724551"/>
                <a:gd name="connsiteX58" fmla="*/ 13886291 w 16682562"/>
                <a:gd name="connsiteY58" fmla="*/ 4010891 h 13724551"/>
                <a:gd name="connsiteX59" fmla="*/ 14370431 w 16682562"/>
                <a:gd name="connsiteY59" fmla="*/ 4519243 h 13724551"/>
                <a:gd name="connsiteX60" fmla="*/ 15323320 w 16682562"/>
                <a:gd name="connsiteY60" fmla="*/ 4617516 h 13724551"/>
                <a:gd name="connsiteX61" fmla="*/ 16350939 w 16682562"/>
                <a:gd name="connsiteY61" fmla="*/ 4742375 h 13724551"/>
                <a:gd name="connsiteX62" fmla="*/ 16362364 w 16682562"/>
                <a:gd name="connsiteY62" fmla="*/ 5049655 h 13724551"/>
                <a:gd name="connsiteX63" fmla="*/ 16682563 w 16682562"/>
                <a:gd name="connsiteY63" fmla="*/ 5487558 h 13724551"/>
                <a:gd name="connsiteX0" fmla="*/ 16682563 w 16682562"/>
                <a:gd name="connsiteY0" fmla="*/ 5487558 h 13724551"/>
                <a:gd name="connsiteX1" fmla="*/ 16432262 w 16682562"/>
                <a:gd name="connsiteY1" fmla="*/ 6514944 h 13724551"/>
                <a:gd name="connsiteX2" fmla="*/ 16106317 w 16682562"/>
                <a:gd name="connsiteY2" fmla="*/ 7056248 h 13724551"/>
                <a:gd name="connsiteX3" fmla="*/ 16305649 w 16682562"/>
                <a:gd name="connsiteY3" fmla="*/ 7443577 h 13724551"/>
                <a:gd name="connsiteX4" fmla="*/ 16287189 w 16682562"/>
                <a:gd name="connsiteY4" fmla="*/ 7840184 h 13724551"/>
                <a:gd name="connsiteX5" fmla="*/ 16372801 w 16682562"/>
                <a:gd name="connsiteY5" fmla="*/ 8406449 h 13724551"/>
                <a:gd name="connsiteX6" fmla="*/ 16070155 w 16682562"/>
                <a:gd name="connsiteY6" fmla="*/ 8626835 h 13724551"/>
                <a:gd name="connsiteX7" fmla="*/ 15805690 w 16682562"/>
                <a:gd name="connsiteY7" fmla="*/ 9121026 h 13724551"/>
                <a:gd name="connsiteX8" fmla="*/ 15195097 w 16682562"/>
                <a:gd name="connsiteY8" fmla="*/ 8782769 h 13724551"/>
                <a:gd name="connsiteX9" fmla="*/ 15011380 w 16682562"/>
                <a:gd name="connsiteY9" fmla="*/ 9737619 h 13724551"/>
                <a:gd name="connsiteX10" fmla="*/ 14908430 w 16682562"/>
                <a:gd name="connsiteY10" fmla="*/ 10626514 h 13724551"/>
                <a:gd name="connsiteX11" fmla="*/ 14904684 w 16682562"/>
                <a:gd name="connsiteY11" fmla="*/ 11449953 h 13724551"/>
                <a:gd name="connsiteX12" fmla="*/ 14929927 w 16682562"/>
                <a:gd name="connsiteY12" fmla="*/ 13080873 h 13724551"/>
                <a:gd name="connsiteX13" fmla="*/ 12952786 w 16682562"/>
                <a:gd name="connsiteY13" fmla="*/ 13531626 h 13724551"/>
                <a:gd name="connsiteX14" fmla="*/ 11934663 w 16682562"/>
                <a:gd name="connsiteY14" fmla="*/ 13579876 h 13724551"/>
                <a:gd name="connsiteX15" fmla="*/ 8506848 w 16682562"/>
                <a:gd name="connsiteY15" fmla="*/ 13724551 h 13724551"/>
                <a:gd name="connsiteX16" fmla="*/ 7985095 w 16682562"/>
                <a:gd name="connsiteY16" fmla="*/ 13079469 h 13724551"/>
                <a:gd name="connsiteX17" fmla="*/ 7400308 w 16682562"/>
                <a:gd name="connsiteY17" fmla="*/ 13049324 h 13724551"/>
                <a:gd name="connsiteX18" fmla="*/ 6972273 w 16682562"/>
                <a:gd name="connsiteY18" fmla="*/ 13320621 h 13724551"/>
                <a:gd name="connsiteX19" fmla="*/ 5181729 w 16682562"/>
                <a:gd name="connsiteY19" fmla="*/ 13236222 h 13724551"/>
                <a:gd name="connsiteX20" fmla="*/ 4397998 w 16682562"/>
                <a:gd name="connsiteY20" fmla="*/ 12603205 h 13724551"/>
                <a:gd name="connsiteX21" fmla="*/ 2908896 w 16682562"/>
                <a:gd name="connsiteY21" fmla="*/ 11795351 h 13724551"/>
                <a:gd name="connsiteX22" fmla="*/ 1263043 w 16682562"/>
                <a:gd name="connsiteY22" fmla="*/ 11083958 h 13724551"/>
                <a:gd name="connsiteX23" fmla="*/ 485320 w 16682562"/>
                <a:gd name="connsiteY23" fmla="*/ 10631801 h 13724551"/>
                <a:gd name="connsiteX24" fmla="*/ 0 w 16682562"/>
                <a:gd name="connsiteY24" fmla="*/ 10338689 h 13724551"/>
                <a:gd name="connsiteX25" fmla="*/ 1003686 w 16682562"/>
                <a:gd name="connsiteY25" fmla="*/ 9592724 h 13724551"/>
                <a:gd name="connsiteX26" fmla="*/ 2902551 w 16682562"/>
                <a:gd name="connsiteY26" fmla="*/ 8408325 h 13724551"/>
                <a:gd name="connsiteX27" fmla="*/ 2558940 w 16682562"/>
                <a:gd name="connsiteY27" fmla="*/ 7874894 h 13724551"/>
                <a:gd name="connsiteX28" fmla="*/ 2402508 w 16682562"/>
                <a:gd name="connsiteY28" fmla="*/ 7187811 h 13724551"/>
                <a:gd name="connsiteX29" fmla="*/ 2730740 w 16682562"/>
                <a:gd name="connsiteY29" fmla="*/ 7160640 h 13724551"/>
                <a:gd name="connsiteX30" fmla="*/ 2947754 w 16682562"/>
                <a:gd name="connsiteY30" fmla="*/ 6690495 h 13724551"/>
                <a:gd name="connsiteX31" fmla="*/ 3499325 w 16682562"/>
                <a:gd name="connsiteY31" fmla="*/ 6247478 h 13724551"/>
                <a:gd name="connsiteX32" fmla="*/ 3680166 w 16682562"/>
                <a:gd name="connsiteY32" fmla="*/ 5370480 h 13724551"/>
                <a:gd name="connsiteX33" fmla="*/ 4186528 w 16682562"/>
                <a:gd name="connsiteY33" fmla="*/ 5379516 h 13724551"/>
                <a:gd name="connsiteX34" fmla="*/ 4837569 w 16682562"/>
                <a:gd name="connsiteY34" fmla="*/ 5849666 h 13724551"/>
                <a:gd name="connsiteX35" fmla="*/ 5352976 w 16682562"/>
                <a:gd name="connsiteY35" fmla="*/ 5768299 h 13724551"/>
                <a:gd name="connsiteX36" fmla="*/ 5741786 w 16682562"/>
                <a:gd name="connsiteY36" fmla="*/ 5397604 h 13724551"/>
                <a:gd name="connsiteX37" fmla="*/ 6157723 w 16682562"/>
                <a:gd name="connsiteY37" fmla="*/ 5234863 h 13724551"/>
                <a:gd name="connsiteX38" fmla="*/ 6745471 w 16682562"/>
                <a:gd name="connsiteY38" fmla="*/ 4665270 h 13724551"/>
                <a:gd name="connsiteX39" fmla="*/ 6890140 w 16682562"/>
                <a:gd name="connsiteY39" fmla="*/ 3815394 h 13724551"/>
                <a:gd name="connsiteX40" fmla="*/ 7568305 w 16682562"/>
                <a:gd name="connsiteY40" fmla="*/ 3245800 h 13724551"/>
                <a:gd name="connsiteX41" fmla="*/ 8137967 w 16682562"/>
                <a:gd name="connsiteY41" fmla="*/ 2802779 h 13724551"/>
                <a:gd name="connsiteX42" fmla="*/ 8463480 w 16682562"/>
                <a:gd name="connsiteY42" fmla="*/ 1998112 h 13724551"/>
                <a:gd name="connsiteX43" fmla="*/ 9024093 w 16682562"/>
                <a:gd name="connsiteY43" fmla="*/ 1645505 h 13724551"/>
                <a:gd name="connsiteX44" fmla="*/ 9675138 w 16682562"/>
                <a:gd name="connsiteY44" fmla="*/ 1292903 h 13724551"/>
                <a:gd name="connsiteX45" fmla="*/ 9558580 w 16682562"/>
                <a:gd name="connsiteY45" fmla="*/ 744619 h 13724551"/>
                <a:gd name="connsiteX46" fmla="*/ 10353296 w 16682562"/>
                <a:gd name="connsiteY46" fmla="*/ 72335 h 13724551"/>
                <a:gd name="connsiteX47" fmla="*/ 10832530 w 16682562"/>
                <a:gd name="connsiteY47" fmla="*/ 1 h 13724551"/>
                <a:gd name="connsiteX48" fmla="*/ 11058585 w 16682562"/>
                <a:gd name="connsiteY48" fmla="*/ 452070 h 13724551"/>
                <a:gd name="connsiteX49" fmla="*/ 8463027 w 16682562"/>
                <a:gd name="connsiteY49" fmla="*/ 3408723 h 13724551"/>
                <a:gd name="connsiteX50" fmla="*/ 9078849 w 16682562"/>
                <a:gd name="connsiteY50" fmla="*/ 3798207 h 13724551"/>
                <a:gd name="connsiteX51" fmla="*/ 9086459 w 16682562"/>
                <a:gd name="connsiteY51" fmla="*/ 4346185 h 13724551"/>
                <a:gd name="connsiteX52" fmla="*/ 9761321 w 16682562"/>
                <a:gd name="connsiteY52" fmla="*/ 4249039 h 13724551"/>
                <a:gd name="connsiteX53" fmla="*/ 10152517 w 16682562"/>
                <a:gd name="connsiteY53" fmla="*/ 5047309 h 13724551"/>
                <a:gd name="connsiteX54" fmla="*/ 11109603 w 16682562"/>
                <a:gd name="connsiteY54" fmla="*/ 5418783 h 13724551"/>
                <a:gd name="connsiteX55" fmla="*/ 11919572 w 16682562"/>
                <a:gd name="connsiteY55" fmla="*/ 5692305 h 13724551"/>
                <a:gd name="connsiteX56" fmla="*/ 12868275 w 16682562"/>
                <a:gd name="connsiteY56" fmla="*/ 5447094 h 13724551"/>
                <a:gd name="connsiteX57" fmla="*/ 13844296 w 16682562"/>
                <a:gd name="connsiteY57" fmla="*/ 4845259 h 13724551"/>
                <a:gd name="connsiteX58" fmla="*/ 13886291 w 16682562"/>
                <a:gd name="connsiteY58" fmla="*/ 4010891 h 13724551"/>
                <a:gd name="connsiteX59" fmla="*/ 14370431 w 16682562"/>
                <a:gd name="connsiteY59" fmla="*/ 4519243 h 13724551"/>
                <a:gd name="connsiteX60" fmla="*/ 15323320 w 16682562"/>
                <a:gd name="connsiteY60" fmla="*/ 4617516 h 13724551"/>
                <a:gd name="connsiteX61" fmla="*/ 16350939 w 16682562"/>
                <a:gd name="connsiteY61" fmla="*/ 4742375 h 13724551"/>
                <a:gd name="connsiteX62" fmla="*/ 16362364 w 16682562"/>
                <a:gd name="connsiteY62" fmla="*/ 5049655 h 13724551"/>
                <a:gd name="connsiteX63" fmla="*/ 16682563 w 16682562"/>
                <a:gd name="connsiteY63" fmla="*/ 5487558 h 13724551"/>
                <a:gd name="connsiteX0" fmla="*/ 16682563 w 16682562"/>
                <a:gd name="connsiteY0" fmla="*/ 5487558 h 13724551"/>
                <a:gd name="connsiteX1" fmla="*/ 16432262 w 16682562"/>
                <a:gd name="connsiteY1" fmla="*/ 6514944 h 13724551"/>
                <a:gd name="connsiteX2" fmla="*/ 16106317 w 16682562"/>
                <a:gd name="connsiteY2" fmla="*/ 7056248 h 13724551"/>
                <a:gd name="connsiteX3" fmla="*/ 16305649 w 16682562"/>
                <a:gd name="connsiteY3" fmla="*/ 7443577 h 13724551"/>
                <a:gd name="connsiteX4" fmla="*/ 16287189 w 16682562"/>
                <a:gd name="connsiteY4" fmla="*/ 7840184 h 13724551"/>
                <a:gd name="connsiteX5" fmla="*/ 16372801 w 16682562"/>
                <a:gd name="connsiteY5" fmla="*/ 8406449 h 13724551"/>
                <a:gd name="connsiteX6" fmla="*/ 16070155 w 16682562"/>
                <a:gd name="connsiteY6" fmla="*/ 8626835 h 13724551"/>
                <a:gd name="connsiteX7" fmla="*/ 15805690 w 16682562"/>
                <a:gd name="connsiteY7" fmla="*/ 9121026 h 13724551"/>
                <a:gd name="connsiteX8" fmla="*/ 15195097 w 16682562"/>
                <a:gd name="connsiteY8" fmla="*/ 8782769 h 13724551"/>
                <a:gd name="connsiteX9" fmla="*/ 15011380 w 16682562"/>
                <a:gd name="connsiteY9" fmla="*/ 9737619 h 13724551"/>
                <a:gd name="connsiteX10" fmla="*/ 14908430 w 16682562"/>
                <a:gd name="connsiteY10" fmla="*/ 10626514 h 13724551"/>
                <a:gd name="connsiteX11" fmla="*/ 14904684 w 16682562"/>
                <a:gd name="connsiteY11" fmla="*/ 11449953 h 13724551"/>
                <a:gd name="connsiteX12" fmla="*/ 14929927 w 16682562"/>
                <a:gd name="connsiteY12" fmla="*/ 13080873 h 13724551"/>
                <a:gd name="connsiteX13" fmla="*/ 12952786 w 16682562"/>
                <a:gd name="connsiteY13" fmla="*/ 13531626 h 13724551"/>
                <a:gd name="connsiteX14" fmla="*/ 11934663 w 16682562"/>
                <a:gd name="connsiteY14" fmla="*/ 13579876 h 13724551"/>
                <a:gd name="connsiteX15" fmla="*/ 8506848 w 16682562"/>
                <a:gd name="connsiteY15" fmla="*/ 13724551 h 13724551"/>
                <a:gd name="connsiteX16" fmla="*/ 7985095 w 16682562"/>
                <a:gd name="connsiteY16" fmla="*/ 13079469 h 13724551"/>
                <a:gd name="connsiteX17" fmla="*/ 7400308 w 16682562"/>
                <a:gd name="connsiteY17" fmla="*/ 13049324 h 13724551"/>
                <a:gd name="connsiteX18" fmla="*/ 6972273 w 16682562"/>
                <a:gd name="connsiteY18" fmla="*/ 13320621 h 13724551"/>
                <a:gd name="connsiteX19" fmla="*/ 5181729 w 16682562"/>
                <a:gd name="connsiteY19" fmla="*/ 13236222 h 13724551"/>
                <a:gd name="connsiteX20" fmla="*/ 4397998 w 16682562"/>
                <a:gd name="connsiteY20" fmla="*/ 12603205 h 13724551"/>
                <a:gd name="connsiteX21" fmla="*/ 2908896 w 16682562"/>
                <a:gd name="connsiteY21" fmla="*/ 11795351 h 13724551"/>
                <a:gd name="connsiteX22" fmla="*/ 1263043 w 16682562"/>
                <a:gd name="connsiteY22" fmla="*/ 11083958 h 13724551"/>
                <a:gd name="connsiteX23" fmla="*/ 485320 w 16682562"/>
                <a:gd name="connsiteY23" fmla="*/ 10631801 h 13724551"/>
                <a:gd name="connsiteX24" fmla="*/ 0 w 16682562"/>
                <a:gd name="connsiteY24" fmla="*/ 10338689 h 13724551"/>
                <a:gd name="connsiteX25" fmla="*/ 1003686 w 16682562"/>
                <a:gd name="connsiteY25" fmla="*/ 9592724 h 13724551"/>
                <a:gd name="connsiteX26" fmla="*/ 2902551 w 16682562"/>
                <a:gd name="connsiteY26" fmla="*/ 8408325 h 13724551"/>
                <a:gd name="connsiteX27" fmla="*/ 2558940 w 16682562"/>
                <a:gd name="connsiteY27" fmla="*/ 7874894 h 13724551"/>
                <a:gd name="connsiteX28" fmla="*/ 2402508 w 16682562"/>
                <a:gd name="connsiteY28" fmla="*/ 7187811 h 13724551"/>
                <a:gd name="connsiteX29" fmla="*/ 2730740 w 16682562"/>
                <a:gd name="connsiteY29" fmla="*/ 7160640 h 13724551"/>
                <a:gd name="connsiteX30" fmla="*/ 2947754 w 16682562"/>
                <a:gd name="connsiteY30" fmla="*/ 6690495 h 13724551"/>
                <a:gd name="connsiteX31" fmla="*/ 3499325 w 16682562"/>
                <a:gd name="connsiteY31" fmla="*/ 6247478 h 13724551"/>
                <a:gd name="connsiteX32" fmla="*/ 3680166 w 16682562"/>
                <a:gd name="connsiteY32" fmla="*/ 5370480 h 13724551"/>
                <a:gd name="connsiteX33" fmla="*/ 4186528 w 16682562"/>
                <a:gd name="connsiteY33" fmla="*/ 5379516 h 13724551"/>
                <a:gd name="connsiteX34" fmla="*/ 4837569 w 16682562"/>
                <a:gd name="connsiteY34" fmla="*/ 5849666 h 13724551"/>
                <a:gd name="connsiteX35" fmla="*/ 5352976 w 16682562"/>
                <a:gd name="connsiteY35" fmla="*/ 5768299 h 13724551"/>
                <a:gd name="connsiteX36" fmla="*/ 5741786 w 16682562"/>
                <a:gd name="connsiteY36" fmla="*/ 5397604 h 13724551"/>
                <a:gd name="connsiteX37" fmla="*/ 6157723 w 16682562"/>
                <a:gd name="connsiteY37" fmla="*/ 5234863 h 13724551"/>
                <a:gd name="connsiteX38" fmla="*/ 6745471 w 16682562"/>
                <a:gd name="connsiteY38" fmla="*/ 4665270 h 13724551"/>
                <a:gd name="connsiteX39" fmla="*/ 6890140 w 16682562"/>
                <a:gd name="connsiteY39" fmla="*/ 3815394 h 13724551"/>
                <a:gd name="connsiteX40" fmla="*/ 7568305 w 16682562"/>
                <a:gd name="connsiteY40" fmla="*/ 3245800 h 13724551"/>
                <a:gd name="connsiteX41" fmla="*/ 8137967 w 16682562"/>
                <a:gd name="connsiteY41" fmla="*/ 2802779 h 13724551"/>
                <a:gd name="connsiteX42" fmla="*/ 8463480 w 16682562"/>
                <a:gd name="connsiteY42" fmla="*/ 1998112 h 13724551"/>
                <a:gd name="connsiteX43" fmla="*/ 9024093 w 16682562"/>
                <a:gd name="connsiteY43" fmla="*/ 1645505 h 13724551"/>
                <a:gd name="connsiteX44" fmla="*/ 9675138 w 16682562"/>
                <a:gd name="connsiteY44" fmla="*/ 1292903 h 13724551"/>
                <a:gd name="connsiteX45" fmla="*/ 9558580 w 16682562"/>
                <a:gd name="connsiteY45" fmla="*/ 744619 h 13724551"/>
                <a:gd name="connsiteX46" fmla="*/ 10353296 w 16682562"/>
                <a:gd name="connsiteY46" fmla="*/ 72335 h 13724551"/>
                <a:gd name="connsiteX47" fmla="*/ 10832530 w 16682562"/>
                <a:gd name="connsiteY47" fmla="*/ 1 h 13724551"/>
                <a:gd name="connsiteX48" fmla="*/ 11058585 w 16682562"/>
                <a:gd name="connsiteY48" fmla="*/ 452070 h 13724551"/>
                <a:gd name="connsiteX49" fmla="*/ 8856118 w 16682562"/>
                <a:gd name="connsiteY49" fmla="*/ 3184643 h 13724551"/>
                <a:gd name="connsiteX50" fmla="*/ 9078849 w 16682562"/>
                <a:gd name="connsiteY50" fmla="*/ 3798207 h 13724551"/>
                <a:gd name="connsiteX51" fmla="*/ 9086459 w 16682562"/>
                <a:gd name="connsiteY51" fmla="*/ 4346185 h 13724551"/>
                <a:gd name="connsiteX52" fmla="*/ 9761321 w 16682562"/>
                <a:gd name="connsiteY52" fmla="*/ 4249039 h 13724551"/>
                <a:gd name="connsiteX53" fmla="*/ 10152517 w 16682562"/>
                <a:gd name="connsiteY53" fmla="*/ 5047309 h 13724551"/>
                <a:gd name="connsiteX54" fmla="*/ 11109603 w 16682562"/>
                <a:gd name="connsiteY54" fmla="*/ 5418783 h 13724551"/>
                <a:gd name="connsiteX55" fmla="*/ 11919572 w 16682562"/>
                <a:gd name="connsiteY55" fmla="*/ 5692305 h 13724551"/>
                <a:gd name="connsiteX56" fmla="*/ 12868275 w 16682562"/>
                <a:gd name="connsiteY56" fmla="*/ 5447094 h 13724551"/>
                <a:gd name="connsiteX57" fmla="*/ 13844296 w 16682562"/>
                <a:gd name="connsiteY57" fmla="*/ 4845259 h 13724551"/>
                <a:gd name="connsiteX58" fmla="*/ 13886291 w 16682562"/>
                <a:gd name="connsiteY58" fmla="*/ 4010891 h 13724551"/>
                <a:gd name="connsiteX59" fmla="*/ 14370431 w 16682562"/>
                <a:gd name="connsiteY59" fmla="*/ 4519243 h 13724551"/>
                <a:gd name="connsiteX60" fmla="*/ 15323320 w 16682562"/>
                <a:gd name="connsiteY60" fmla="*/ 4617516 h 13724551"/>
                <a:gd name="connsiteX61" fmla="*/ 16350939 w 16682562"/>
                <a:gd name="connsiteY61" fmla="*/ 4742375 h 13724551"/>
                <a:gd name="connsiteX62" fmla="*/ 16362364 w 16682562"/>
                <a:gd name="connsiteY62" fmla="*/ 5049655 h 13724551"/>
                <a:gd name="connsiteX63" fmla="*/ 16682563 w 16682562"/>
                <a:gd name="connsiteY63" fmla="*/ 5487558 h 13724551"/>
                <a:gd name="connsiteX0" fmla="*/ 16682563 w 16682562"/>
                <a:gd name="connsiteY0" fmla="*/ 5487558 h 13724551"/>
                <a:gd name="connsiteX1" fmla="*/ 16432262 w 16682562"/>
                <a:gd name="connsiteY1" fmla="*/ 6514944 h 13724551"/>
                <a:gd name="connsiteX2" fmla="*/ 16106317 w 16682562"/>
                <a:gd name="connsiteY2" fmla="*/ 7056248 h 13724551"/>
                <a:gd name="connsiteX3" fmla="*/ 16305649 w 16682562"/>
                <a:gd name="connsiteY3" fmla="*/ 7443577 h 13724551"/>
                <a:gd name="connsiteX4" fmla="*/ 16287189 w 16682562"/>
                <a:gd name="connsiteY4" fmla="*/ 7840184 h 13724551"/>
                <a:gd name="connsiteX5" fmla="*/ 16372801 w 16682562"/>
                <a:gd name="connsiteY5" fmla="*/ 8406449 h 13724551"/>
                <a:gd name="connsiteX6" fmla="*/ 16070155 w 16682562"/>
                <a:gd name="connsiteY6" fmla="*/ 8626835 h 13724551"/>
                <a:gd name="connsiteX7" fmla="*/ 15805690 w 16682562"/>
                <a:gd name="connsiteY7" fmla="*/ 9121026 h 13724551"/>
                <a:gd name="connsiteX8" fmla="*/ 15195097 w 16682562"/>
                <a:gd name="connsiteY8" fmla="*/ 8782769 h 13724551"/>
                <a:gd name="connsiteX9" fmla="*/ 15011380 w 16682562"/>
                <a:gd name="connsiteY9" fmla="*/ 9737619 h 13724551"/>
                <a:gd name="connsiteX10" fmla="*/ 14908430 w 16682562"/>
                <a:gd name="connsiteY10" fmla="*/ 10626514 h 13724551"/>
                <a:gd name="connsiteX11" fmla="*/ 14904684 w 16682562"/>
                <a:gd name="connsiteY11" fmla="*/ 11449953 h 13724551"/>
                <a:gd name="connsiteX12" fmla="*/ 14929927 w 16682562"/>
                <a:gd name="connsiteY12" fmla="*/ 13080873 h 13724551"/>
                <a:gd name="connsiteX13" fmla="*/ 12952786 w 16682562"/>
                <a:gd name="connsiteY13" fmla="*/ 13531626 h 13724551"/>
                <a:gd name="connsiteX14" fmla="*/ 11934663 w 16682562"/>
                <a:gd name="connsiteY14" fmla="*/ 13579876 h 13724551"/>
                <a:gd name="connsiteX15" fmla="*/ 8506848 w 16682562"/>
                <a:gd name="connsiteY15" fmla="*/ 13724551 h 13724551"/>
                <a:gd name="connsiteX16" fmla="*/ 7985095 w 16682562"/>
                <a:gd name="connsiteY16" fmla="*/ 13079469 h 13724551"/>
                <a:gd name="connsiteX17" fmla="*/ 7400308 w 16682562"/>
                <a:gd name="connsiteY17" fmla="*/ 13049324 h 13724551"/>
                <a:gd name="connsiteX18" fmla="*/ 6972273 w 16682562"/>
                <a:gd name="connsiteY18" fmla="*/ 13320621 h 13724551"/>
                <a:gd name="connsiteX19" fmla="*/ 5181729 w 16682562"/>
                <a:gd name="connsiteY19" fmla="*/ 13236222 h 13724551"/>
                <a:gd name="connsiteX20" fmla="*/ 4397998 w 16682562"/>
                <a:gd name="connsiteY20" fmla="*/ 12603205 h 13724551"/>
                <a:gd name="connsiteX21" fmla="*/ 2908896 w 16682562"/>
                <a:gd name="connsiteY21" fmla="*/ 11795351 h 13724551"/>
                <a:gd name="connsiteX22" fmla="*/ 1263043 w 16682562"/>
                <a:gd name="connsiteY22" fmla="*/ 11083958 h 13724551"/>
                <a:gd name="connsiteX23" fmla="*/ 485320 w 16682562"/>
                <a:gd name="connsiteY23" fmla="*/ 10631801 h 13724551"/>
                <a:gd name="connsiteX24" fmla="*/ 0 w 16682562"/>
                <a:gd name="connsiteY24" fmla="*/ 10338689 h 13724551"/>
                <a:gd name="connsiteX25" fmla="*/ 1003686 w 16682562"/>
                <a:gd name="connsiteY25" fmla="*/ 9592724 h 13724551"/>
                <a:gd name="connsiteX26" fmla="*/ 2902551 w 16682562"/>
                <a:gd name="connsiteY26" fmla="*/ 8408325 h 13724551"/>
                <a:gd name="connsiteX27" fmla="*/ 2558940 w 16682562"/>
                <a:gd name="connsiteY27" fmla="*/ 7874894 h 13724551"/>
                <a:gd name="connsiteX28" fmla="*/ 2402508 w 16682562"/>
                <a:gd name="connsiteY28" fmla="*/ 7187811 h 13724551"/>
                <a:gd name="connsiteX29" fmla="*/ 2730740 w 16682562"/>
                <a:gd name="connsiteY29" fmla="*/ 7160640 h 13724551"/>
                <a:gd name="connsiteX30" fmla="*/ 2947754 w 16682562"/>
                <a:gd name="connsiteY30" fmla="*/ 6690495 h 13724551"/>
                <a:gd name="connsiteX31" fmla="*/ 3499325 w 16682562"/>
                <a:gd name="connsiteY31" fmla="*/ 6247478 h 13724551"/>
                <a:gd name="connsiteX32" fmla="*/ 3680166 w 16682562"/>
                <a:gd name="connsiteY32" fmla="*/ 5370480 h 13724551"/>
                <a:gd name="connsiteX33" fmla="*/ 4186528 w 16682562"/>
                <a:gd name="connsiteY33" fmla="*/ 5379516 h 13724551"/>
                <a:gd name="connsiteX34" fmla="*/ 4837569 w 16682562"/>
                <a:gd name="connsiteY34" fmla="*/ 5849666 h 13724551"/>
                <a:gd name="connsiteX35" fmla="*/ 5352976 w 16682562"/>
                <a:gd name="connsiteY35" fmla="*/ 5768299 h 13724551"/>
                <a:gd name="connsiteX36" fmla="*/ 5741786 w 16682562"/>
                <a:gd name="connsiteY36" fmla="*/ 5397604 h 13724551"/>
                <a:gd name="connsiteX37" fmla="*/ 6157723 w 16682562"/>
                <a:gd name="connsiteY37" fmla="*/ 5234863 h 13724551"/>
                <a:gd name="connsiteX38" fmla="*/ 6745471 w 16682562"/>
                <a:gd name="connsiteY38" fmla="*/ 4665270 h 13724551"/>
                <a:gd name="connsiteX39" fmla="*/ 6890140 w 16682562"/>
                <a:gd name="connsiteY39" fmla="*/ 3815394 h 13724551"/>
                <a:gd name="connsiteX40" fmla="*/ 7568305 w 16682562"/>
                <a:gd name="connsiteY40" fmla="*/ 3245800 h 13724551"/>
                <a:gd name="connsiteX41" fmla="*/ 8137967 w 16682562"/>
                <a:gd name="connsiteY41" fmla="*/ 2802779 h 13724551"/>
                <a:gd name="connsiteX42" fmla="*/ 8463480 w 16682562"/>
                <a:gd name="connsiteY42" fmla="*/ 1998112 h 13724551"/>
                <a:gd name="connsiteX43" fmla="*/ 9024093 w 16682562"/>
                <a:gd name="connsiteY43" fmla="*/ 1645505 h 13724551"/>
                <a:gd name="connsiteX44" fmla="*/ 9675138 w 16682562"/>
                <a:gd name="connsiteY44" fmla="*/ 1292903 h 13724551"/>
                <a:gd name="connsiteX45" fmla="*/ 9558580 w 16682562"/>
                <a:gd name="connsiteY45" fmla="*/ 744619 h 13724551"/>
                <a:gd name="connsiteX46" fmla="*/ 10353296 w 16682562"/>
                <a:gd name="connsiteY46" fmla="*/ 72335 h 13724551"/>
                <a:gd name="connsiteX47" fmla="*/ 10832530 w 16682562"/>
                <a:gd name="connsiteY47" fmla="*/ 1 h 13724551"/>
                <a:gd name="connsiteX48" fmla="*/ 8856118 w 16682562"/>
                <a:gd name="connsiteY48" fmla="*/ 3184643 h 13724551"/>
                <a:gd name="connsiteX49" fmla="*/ 9078849 w 16682562"/>
                <a:gd name="connsiteY49" fmla="*/ 3798207 h 13724551"/>
                <a:gd name="connsiteX50" fmla="*/ 9086459 w 16682562"/>
                <a:gd name="connsiteY50" fmla="*/ 4346185 h 13724551"/>
                <a:gd name="connsiteX51" fmla="*/ 9761321 w 16682562"/>
                <a:gd name="connsiteY51" fmla="*/ 4249039 h 13724551"/>
                <a:gd name="connsiteX52" fmla="*/ 10152517 w 16682562"/>
                <a:gd name="connsiteY52" fmla="*/ 5047309 h 13724551"/>
                <a:gd name="connsiteX53" fmla="*/ 11109603 w 16682562"/>
                <a:gd name="connsiteY53" fmla="*/ 5418783 h 13724551"/>
                <a:gd name="connsiteX54" fmla="*/ 11919572 w 16682562"/>
                <a:gd name="connsiteY54" fmla="*/ 5692305 h 13724551"/>
                <a:gd name="connsiteX55" fmla="*/ 12868275 w 16682562"/>
                <a:gd name="connsiteY55" fmla="*/ 5447094 h 13724551"/>
                <a:gd name="connsiteX56" fmla="*/ 13844296 w 16682562"/>
                <a:gd name="connsiteY56" fmla="*/ 4845259 h 13724551"/>
                <a:gd name="connsiteX57" fmla="*/ 13886291 w 16682562"/>
                <a:gd name="connsiteY57" fmla="*/ 4010891 h 13724551"/>
                <a:gd name="connsiteX58" fmla="*/ 14370431 w 16682562"/>
                <a:gd name="connsiteY58" fmla="*/ 4519243 h 13724551"/>
                <a:gd name="connsiteX59" fmla="*/ 15323320 w 16682562"/>
                <a:gd name="connsiteY59" fmla="*/ 4617516 h 13724551"/>
                <a:gd name="connsiteX60" fmla="*/ 16350939 w 16682562"/>
                <a:gd name="connsiteY60" fmla="*/ 4742375 h 13724551"/>
                <a:gd name="connsiteX61" fmla="*/ 16362364 w 16682562"/>
                <a:gd name="connsiteY61" fmla="*/ 5049655 h 13724551"/>
                <a:gd name="connsiteX62" fmla="*/ 16682563 w 16682562"/>
                <a:gd name="connsiteY62" fmla="*/ 5487558 h 13724551"/>
                <a:gd name="connsiteX0" fmla="*/ 16682563 w 16682562"/>
                <a:gd name="connsiteY0" fmla="*/ 5415225 h 13652218"/>
                <a:gd name="connsiteX1" fmla="*/ 16432262 w 16682562"/>
                <a:gd name="connsiteY1" fmla="*/ 6442611 h 13652218"/>
                <a:gd name="connsiteX2" fmla="*/ 16106317 w 16682562"/>
                <a:gd name="connsiteY2" fmla="*/ 6983915 h 13652218"/>
                <a:gd name="connsiteX3" fmla="*/ 16305649 w 16682562"/>
                <a:gd name="connsiteY3" fmla="*/ 7371244 h 13652218"/>
                <a:gd name="connsiteX4" fmla="*/ 16287189 w 16682562"/>
                <a:gd name="connsiteY4" fmla="*/ 7767851 h 13652218"/>
                <a:gd name="connsiteX5" fmla="*/ 16372801 w 16682562"/>
                <a:gd name="connsiteY5" fmla="*/ 8334116 h 13652218"/>
                <a:gd name="connsiteX6" fmla="*/ 16070155 w 16682562"/>
                <a:gd name="connsiteY6" fmla="*/ 8554502 h 13652218"/>
                <a:gd name="connsiteX7" fmla="*/ 15805690 w 16682562"/>
                <a:gd name="connsiteY7" fmla="*/ 9048693 h 13652218"/>
                <a:gd name="connsiteX8" fmla="*/ 15195097 w 16682562"/>
                <a:gd name="connsiteY8" fmla="*/ 8710436 h 13652218"/>
                <a:gd name="connsiteX9" fmla="*/ 15011380 w 16682562"/>
                <a:gd name="connsiteY9" fmla="*/ 9665286 h 13652218"/>
                <a:gd name="connsiteX10" fmla="*/ 14908430 w 16682562"/>
                <a:gd name="connsiteY10" fmla="*/ 10554181 h 13652218"/>
                <a:gd name="connsiteX11" fmla="*/ 14904684 w 16682562"/>
                <a:gd name="connsiteY11" fmla="*/ 11377620 h 13652218"/>
                <a:gd name="connsiteX12" fmla="*/ 14929927 w 16682562"/>
                <a:gd name="connsiteY12" fmla="*/ 13008540 h 13652218"/>
                <a:gd name="connsiteX13" fmla="*/ 12952786 w 16682562"/>
                <a:gd name="connsiteY13" fmla="*/ 13459293 h 13652218"/>
                <a:gd name="connsiteX14" fmla="*/ 11934663 w 16682562"/>
                <a:gd name="connsiteY14" fmla="*/ 13507543 h 13652218"/>
                <a:gd name="connsiteX15" fmla="*/ 8506848 w 16682562"/>
                <a:gd name="connsiteY15" fmla="*/ 13652218 h 13652218"/>
                <a:gd name="connsiteX16" fmla="*/ 7985095 w 16682562"/>
                <a:gd name="connsiteY16" fmla="*/ 13007136 h 13652218"/>
                <a:gd name="connsiteX17" fmla="*/ 7400308 w 16682562"/>
                <a:gd name="connsiteY17" fmla="*/ 12976991 h 13652218"/>
                <a:gd name="connsiteX18" fmla="*/ 6972273 w 16682562"/>
                <a:gd name="connsiteY18" fmla="*/ 13248288 h 13652218"/>
                <a:gd name="connsiteX19" fmla="*/ 5181729 w 16682562"/>
                <a:gd name="connsiteY19" fmla="*/ 13163889 h 13652218"/>
                <a:gd name="connsiteX20" fmla="*/ 4397998 w 16682562"/>
                <a:gd name="connsiteY20" fmla="*/ 12530872 h 13652218"/>
                <a:gd name="connsiteX21" fmla="*/ 2908896 w 16682562"/>
                <a:gd name="connsiteY21" fmla="*/ 11723018 h 13652218"/>
                <a:gd name="connsiteX22" fmla="*/ 1263043 w 16682562"/>
                <a:gd name="connsiteY22" fmla="*/ 11011625 h 13652218"/>
                <a:gd name="connsiteX23" fmla="*/ 485320 w 16682562"/>
                <a:gd name="connsiteY23" fmla="*/ 10559468 h 13652218"/>
                <a:gd name="connsiteX24" fmla="*/ 0 w 16682562"/>
                <a:gd name="connsiteY24" fmla="*/ 10266356 h 13652218"/>
                <a:gd name="connsiteX25" fmla="*/ 1003686 w 16682562"/>
                <a:gd name="connsiteY25" fmla="*/ 9520391 h 13652218"/>
                <a:gd name="connsiteX26" fmla="*/ 2902551 w 16682562"/>
                <a:gd name="connsiteY26" fmla="*/ 8335992 h 13652218"/>
                <a:gd name="connsiteX27" fmla="*/ 2558940 w 16682562"/>
                <a:gd name="connsiteY27" fmla="*/ 7802561 h 13652218"/>
                <a:gd name="connsiteX28" fmla="*/ 2402508 w 16682562"/>
                <a:gd name="connsiteY28" fmla="*/ 7115478 h 13652218"/>
                <a:gd name="connsiteX29" fmla="*/ 2730740 w 16682562"/>
                <a:gd name="connsiteY29" fmla="*/ 7088307 h 13652218"/>
                <a:gd name="connsiteX30" fmla="*/ 2947754 w 16682562"/>
                <a:gd name="connsiteY30" fmla="*/ 6618162 h 13652218"/>
                <a:gd name="connsiteX31" fmla="*/ 3499325 w 16682562"/>
                <a:gd name="connsiteY31" fmla="*/ 6175145 h 13652218"/>
                <a:gd name="connsiteX32" fmla="*/ 3680166 w 16682562"/>
                <a:gd name="connsiteY32" fmla="*/ 5298147 h 13652218"/>
                <a:gd name="connsiteX33" fmla="*/ 4186528 w 16682562"/>
                <a:gd name="connsiteY33" fmla="*/ 5307183 h 13652218"/>
                <a:gd name="connsiteX34" fmla="*/ 4837569 w 16682562"/>
                <a:gd name="connsiteY34" fmla="*/ 5777333 h 13652218"/>
                <a:gd name="connsiteX35" fmla="*/ 5352976 w 16682562"/>
                <a:gd name="connsiteY35" fmla="*/ 5695966 h 13652218"/>
                <a:gd name="connsiteX36" fmla="*/ 5741786 w 16682562"/>
                <a:gd name="connsiteY36" fmla="*/ 5325271 h 13652218"/>
                <a:gd name="connsiteX37" fmla="*/ 6157723 w 16682562"/>
                <a:gd name="connsiteY37" fmla="*/ 5162530 h 13652218"/>
                <a:gd name="connsiteX38" fmla="*/ 6745471 w 16682562"/>
                <a:gd name="connsiteY38" fmla="*/ 4592937 h 13652218"/>
                <a:gd name="connsiteX39" fmla="*/ 6890140 w 16682562"/>
                <a:gd name="connsiteY39" fmla="*/ 3743061 h 13652218"/>
                <a:gd name="connsiteX40" fmla="*/ 7568305 w 16682562"/>
                <a:gd name="connsiteY40" fmla="*/ 3173467 h 13652218"/>
                <a:gd name="connsiteX41" fmla="*/ 8137967 w 16682562"/>
                <a:gd name="connsiteY41" fmla="*/ 2730446 h 13652218"/>
                <a:gd name="connsiteX42" fmla="*/ 8463480 w 16682562"/>
                <a:gd name="connsiteY42" fmla="*/ 1925779 h 13652218"/>
                <a:gd name="connsiteX43" fmla="*/ 9024093 w 16682562"/>
                <a:gd name="connsiteY43" fmla="*/ 1573172 h 13652218"/>
                <a:gd name="connsiteX44" fmla="*/ 9675138 w 16682562"/>
                <a:gd name="connsiteY44" fmla="*/ 1220570 h 13652218"/>
                <a:gd name="connsiteX45" fmla="*/ 9558580 w 16682562"/>
                <a:gd name="connsiteY45" fmla="*/ 672286 h 13652218"/>
                <a:gd name="connsiteX46" fmla="*/ 10353296 w 16682562"/>
                <a:gd name="connsiteY46" fmla="*/ 2 h 13652218"/>
                <a:gd name="connsiteX47" fmla="*/ 8856118 w 16682562"/>
                <a:gd name="connsiteY47" fmla="*/ 3112310 h 13652218"/>
                <a:gd name="connsiteX48" fmla="*/ 9078849 w 16682562"/>
                <a:gd name="connsiteY48" fmla="*/ 3725874 h 13652218"/>
                <a:gd name="connsiteX49" fmla="*/ 9086459 w 16682562"/>
                <a:gd name="connsiteY49" fmla="*/ 4273852 h 13652218"/>
                <a:gd name="connsiteX50" fmla="*/ 9761321 w 16682562"/>
                <a:gd name="connsiteY50" fmla="*/ 4176706 h 13652218"/>
                <a:gd name="connsiteX51" fmla="*/ 10152517 w 16682562"/>
                <a:gd name="connsiteY51" fmla="*/ 4974976 h 13652218"/>
                <a:gd name="connsiteX52" fmla="*/ 11109603 w 16682562"/>
                <a:gd name="connsiteY52" fmla="*/ 5346450 h 13652218"/>
                <a:gd name="connsiteX53" fmla="*/ 11919572 w 16682562"/>
                <a:gd name="connsiteY53" fmla="*/ 5619972 h 13652218"/>
                <a:gd name="connsiteX54" fmla="*/ 12868275 w 16682562"/>
                <a:gd name="connsiteY54" fmla="*/ 5374761 h 13652218"/>
                <a:gd name="connsiteX55" fmla="*/ 13844296 w 16682562"/>
                <a:gd name="connsiteY55" fmla="*/ 4772926 h 13652218"/>
                <a:gd name="connsiteX56" fmla="*/ 13886291 w 16682562"/>
                <a:gd name="connsiteY56" fmla="*/ 3938558 h 13652218"/>
                <a:gd name="connsiteX57" fmla="*/ 14370431 w 16682562"/>
                <a:gd name="connsiteY57" fmla="*/ 4446910 h 13652218"/>
                <a:gd name="connsiteX58" fmla="*/ 15323320 w 16682562"/>
                <a:gd name="connsiteY58" fmla="*/ 4545183 h 13652218"/>
                <a:gd name="connsiteX59" fmla="*/ 16350939 w 16682562"/>
                <a:gd name="connsiteY59" fmla="*/ 4670042 h 13652218"/>
                <a:gd name="connsiteX60" fmla="*/ 16362364 w 16682562"/>
                <a:gd name="connsiteY60" fmla="*/ 4977322 h 13652218"/>
                <a:gd name="connsiteX61" fmla="*/ 16682563 w 16682562"/>
                <a:gd name="connsiteY61" fmla="*/ 5415225 h 13652218"/>
                <a:gd name="connsiteX0" fmla="*/ 16682563 w 16682562"/>
                <a:gd name="connsiteY0" fmla="*/ 4742941 h 12979934"/>
                <a:gd name="connsiteX1" fmla="*/ 16432262 w 16682562"/>
                <a:gd name="connsiteY1" fmla="*/ 5770327 h 12979934"/>
                <a:gd name="connsiteX2" fmla="*/ 16106317 w 16682562"/>
                <a:gd name="connsiteY2" fmla="*/ 6311631 h 12979934"/>
                <a:gd name="connsiteX3" fmla="*/ 16305649 w 16682562"/>
                <a:gd name="connsiteY3" fmla="*/ 6698960 h 12979934"/>
                <a:gd name="connsiteX4" fmla="*/ 16287189 w 16682562"/>
                <a:gd name="connsiteY4" fmla="*/ 7095567 h 12979934"/>
                <a:gd name="connsiteX5" fmla="*/ 16372801 w 16682562"/>
                <a:gd name="connsiteY5" fmla="*/ 7661832 h 12979934"/>
                <a:gd name="connsiteX6" fmla="*/ 16070155 w 16682562"/>
                <a:gd name="connsiteY6" fmla="*/ 7882218 h 12979934"/>
                <a:gd name="connsiteX7" fmla="*/ 15805690 w 16682562"/>
                <a:gd name="connsiteY7" fmla="*/ 8376409 h 12979934"/>
                <a:gd name="connsiteX8" fmla="*/ 15195097 w 16682562"/>
                <a:gd name="connsiteY8" fmla="*/ 8038152 h 12979934"/>
                <a:gd name="connsiteX9" fmla="*/ 15011380 w 16682562"/>
                <a:gd name="connsiteY9" fmla="*/ 8993002 h 12979934"/>
                <a:gd name="connsiteX10" fmla="*/ 14908430 w 16682562"/>
                <a:gd name="connsiteY10" fmla="*/ 9881897 h 12979934"/>
                <a:gd name="connsiteX11" fmla="*/ 14904684 w 16682562"/>
                <a:gd name="connsiteY11" fmla="*/ 10705336 h 12979934"/>
                <a:gd name="connsiteX12" fmla="*/ 14929927 w 16682562"/>
                <a:gd name="connsiteY12" fmla="*/ 12336256 h 12979934"/>
                <a:gd name="connsiteX13" fmla="*/ 12952786 w 16682562"/>
                <a:gd name="connsiteY13" fmla="*/ 12787009 h 12979934"/>
                <a:gd name="connsiteX14" fmla="*/ 11934663 w 16682562"/>
                <a:gd name="connsiteY14" fmla="*/ 12835259 h 12979934"/>
                <a:gd name="connsiteX15" fmla="*/ 8506848 w 16682562"/>
                <a:gd name="connsiteY15" fmla="*/ 12979934 h 12979934"/>
                <a:gd name="connsiteX16" fmla="*/ 7985095 w 16682562"/>
                <a:gd name="connsiteY16" fmla="*/ 12334852 h 12979934"/>
                <a:gd name="connsiteX17" fmla="*/ 7400308 w 16682562"/>
                <a:gd name="connsiteY17" fmla="*/ 12304707 h 12979934"/>
                <a:gd name="connsiteX18" fmla="*/ 6972273 w 16682562"/>
                <a:gd name="connsiteY18" fmla="*/ 12576004 h 12979934"/>
                <a:gd name="connsiteX19" fmla="*/ 5181729 w 16682562"/>
                <a:gd name="connsiteY19" fmla="*/ 12491605 h 12979934"/>
                <a:gd name="connsiteX20" fmla="*/ 4397998 w 16682562"/>
                <a:gd name="connsiteY20" fmla="*/ 11858588 h 12979934"/>
                <a:gd name="connsiteX21" fmla="*/ 2908896 w 16682562"/>
                <a:gd name="connsiteY21" fmla="*/ 11050734 h 12979934"/>
                <a:gd name="connsiteX22" fmla="*/ 1263043 w 16682562"/>
                <a:gd name="connsiteY22" fmla="*/ 10339341 h 12979934"/>
                <a:gd name="connsiteX23" fmla="*/ 485320 w 16682562"/>
                <a:gd name="connsiteY23" fmla="*/ 9887184 h 12979934"/>
                <a:gd name="connsiteX24" fmla="*/ 0 w 16682562"/>
                <a:gd name="connsiteY24" fmla="*/ 9594072 h 12979934"/>
                <a:gd name="connsiteX25" fmla="*/ 1003686 w 16682562"/>
                <a:gd name="connsiteY25" fmla="*/ 8848107 h 12979934"/>
                <a:gd name="connsiteX26" fmla="*/ 2902551 w 16682562"/>
                <a:gd name="connsiteY26" fmla="*/ 7663708 h 12979934"/>
                <a:gd name="connsiteX27" fmla="*/ 2558940 w 16682562"/>
                <a:gd name="connsiteY27" fmla="*/ 7130277 h 12979934"/>
                <a:gd name="connsiteX28" fmla="*/ 2402508 w 16682562"/>
                <a:gd name="connsiteY28" fmla="*/ 6443194 h 12979934"/>
                <a:gd name="connsiteX29" fmla="*/ 2730740 w 16682562"/>
                <a:gd name="connsiteY29" fmla="*/ 6416023 h 12979934"/>
                <a:gd name="connsiteX30" fmla="*/ 2947754 w 16682562"/>
                <a:gd name="connsiteY30" fmla="*/ 5945878 h 12979934"/>
                <a:gd name="connsiteX31" fmla="*/ 3499325 w 16682562"/>
                <a:gd name="connsiteY31" fmla="*/ 5502861 h 12979934"/>
                <a:gd name="connsiteX32" fmla="*/ 3680166 w 16682562"/>
                <a:gd name="connsiteY32" fmla="*/ 4625863 h 12979934"/>
                <a:gd name="connsiteX33" fmla="*/ 4186528 w 16682562"/>
                <a:gd name="connsiteY33" fmla="*/ 4634899 h 12979934"/>
                <a:gd name="connsiteX34" fmla="*/ 4837569 w 16682562"/>
                <a:gd name="connsiteY34" fmla="*/ 5105049 h 12979934"/>
                <a:gd name="connsiteX35" fmla="*/ 5352976 w 16682562"/>
                <a:gd name="connsiteY35" fmla="*/ 5023682 h 12979934"/>
                <a:gd name="connsiteX36" fmla="*/ 5741786 w 16682562"/>
                <a:gd name="connsiteY36" fmla="*/ 4652987 h 12979934"/>
                <a:gd name="connsiteX37" fmla="*/ 6157723 w 16682562"/>
                <a:gd name="connsiteY37" fmla="*/ 4490246 h 12979934"/>
                <a:gd name="connsiteX38" fmla="*/ 6745471 w 16682562"/>
                <a:gd name="connsiteY38" fmla="*/ 3920653 h 12979934"/>
                <a:gd name="connsiteX39" fmla="*/ 6890140 w 16682562"/>
                <a:gd name="connsiteY39" fmla="*/ 3070777 h 12979934"/>
                <a:gd name="connsiteX40" fmla="*/ 7568305 w 16682562"/>
                <a:gd name="connsiteY40" fmla="*/ 2501183 h 12979934"/>
                <a:gd name="connsiteX41" fmla="*/ 8137967 w 16682562"/>
                <a:gd name="connsiteY41" fmla="*/ 2058162 h 12979934"/>
                <a:gd name="connsiteX42" fmla="*/ 8463480 w 16682562"/>
                <a:gd name="connsiteY42" fmla="*/ 1253495 h 12979934"/>
                <a:gd name="connsiteX43" fmla="*/ 9024093 w 16682562"/>
                <a:gd name="connsiteY43" fmla="*/ 900888 h 12979934"/>
                <a:gd name="connsiteX44" fmla="*/ 9675138 w 16682562"/>
                <a:gd name="connsiteY44" fmla="*/ 548286 h 12979934"/>
                <a:gd name="connsiteX45" fmla="*/ 9558580 w 16682562"/>
                <a:gd name="connsiteY45" fmla="*/ 2 h 12979934"/>
                <a:gd name="connsiteX46" fmla="*/ 8856118 w 16682562"/>
                <a:gd name="connsiteY46" fmla="*/ 2440026 h 12979934"/>
                <a:gd name="connsiteX47" fmla="*/ 9078849 w 16682562"/>
                <a:gd name="connsiteY47" fmla="*/ 3053590 h 12979934"/>
                <a:gd name="connsiteX48" fmla="*/ 9086459 w 16682562"/>
                <a:gd name="connsiteY48" fmla="*/ 3601568 h 12979934"/>
                <a:gd name="connsiteX49" fmla="*/ 9761321 w 16682562"/>
                <a:gd name="connsiteY49" fmla="*/ 3504422 h 12979934"/>
                <a:gd name="connsiteX50" fmla="*/ 10152517 w 16682562"/>
                <a:gd name="connsiteY50" fmla="*/ 4302692 h 12979934"/>
                <a:gd name="connsiteX51" fmla="*/ 11109603 w 16682562"/>
                <a:gd name="connsiteY51" fmla="*/ 4674166 h 12979934"/>
                <a:gd name="connsiteX52" fmla="*/ 11919572 w 16682562"/>
                <a:gd name="connsiteY52" fmla="*/ 4947688 h 12979934"/>
                <a:gd name="connsiteX53" fmla="*/ 12868275 w 16682562"/>
                <a:gd name="connsiteY53" fmla="*/ 4702477 h 12979934"/>
                <a:gd name="connsiteX54" fmla="*/ 13844296 w 16682562"/>
                <a:gd name="connsiteY54" fmla="*/ 4100642 h 12979934"/>
                <a:gd name="connsiteX55" fmla="*/ 13886291 w 16682562"/>
                <a:gd name="connsiteY55" fmla="*/ 3266274 h 12979934"/>
                <a:gd name="connsiteX56" fmla="*/ 14370431 w 16682562"/>
                <a:gd name="connsiteY56" fmla="*/ 3774626 h 12979934"/>
                <a:gd name="connsiteX57" fmla="*/ 15323320 w 16682562"/>
                <a:gd name="connsiteY57" fmla="*/ 3872899 h 12979934"/>
                <a:gd name="connsiteX58" fmla="*/ 16350939 w 16682562"/>
                <a:gd name="connsiteY58" fmla="*/ 3997758 h 12979934"/>
                <a:gd name="connsiteX59" fmla="*/ 16362364 w 16682562"/>
                <a:gd name="connsiteY59" fmla="*/ 4305038 h 12979934"/>
                <a:gd name="connsiteX60" fmla="*/ 16682563 w 16682562"/>
                <a:gd name="connsiteY60" fmla="*/ 4742941 h 12979934"/>
                <a:gd name="connsiteX0" fmla="*/ 16682563 w 16682562"/>
                <a:gd name="connsiteY0" fmla="*/ 4194654 h 12431647"/>
                <a:gd name="connsiteX1" fmla="*/ 16432262 w 16682562"/>
                <a:gd name="connsiteY1" fmla="*/ 5222040 h 12431647"/>
                <a:gd name="connsiteX2" fmla="*/ 16106317 w 16682562"/>
                <a:gd name="connsiteY2" fmla="*/ 5763344 h 12431647"/>
                <a:gd name="connsiteX3" fmla="*/ 16305649 w 16682562"/>
                <a:gd name="connsiteY3" fmla="*/ 6150673 h 12431647"/>
                <a:gd name="connsiteX4" fmla="*/ 16287189 w 16682562"/>
                <a:gd name="connsiteY4" fmla="*/ 6547280 h 12431647"/>
                <a:gd name="connsiteX5" fmla="*/ 16372801 w 16682562"/>
                <a:gd name="connsiteY5" fmla="*/ 7113545 h 12431647"/>
                <a:gd name="connsiteX6" fmla="*/ 16070155 w 16682562"/>
                <a:gd name="connsiteY6" fmla="*/ 7333931 h 12431647"/>
                <a:gd name="connsiteX7" fmla="*/ 15805690 w 16682562"/>
                <a:gd name="connsiteY7" fmla="*/ 7828122 h 12431647"/>
                <a:gd name="connsiteX8" fmla="*/ 15195097 w 16682562"/>
                <a:gd name="connsiteY8" fmla="*/ 7489865 h 12431647"/>
                <a:gd name="connsiteX9" fmla="*/ 15011380 w 16682562"/>
                <a:gd name="connsiteY9" fmla="*/ 8444715 h 12431647"/>
                <a:gd name="connsiteX10" fmla="*/ 14908430 w 16682562"/>
                <a:gd name="connsiteY10" fmla="*/ 9333610 h 12431647"/>
                <a:gd name="connsiteX11" fmla="*/ 14904684 w 16682562"/>
                <a:gd name="connsiteY11" fmla="*/ 10157049 h 12431647"/>
                <a:gd name="connsiteX12" fmla="*/ 14929927 w 16682562"/>
                <a:gd name="connsiteY12" fmla="*/ 11787969 h 12431647"/>
                <a:gd name="connsiteX13" fmla="*/ 12952786 w 16682562"/>
                <a:gd name="connsiteY13" fmla="*/ 12238722 h 12431647"/>
                <a:gd name="connsiteX14" fmla="*/ 11934663 w 16682562"/>
                <a:gd name="connsiteY14" fmla="*/ 12286972 h 12431647"/>
                <a:gd name="connsiteX15" fmla="*/ 8506848 w 16682562"/>
                <a:gd name="connsiteY15" fmla="*/ 12431647 h 12431647"/>
                <a:gd name="connsiteX16" fmla="*/ 7985095 w 16682562"/>
                <a:gd name="connsiteY16" fmla="*/ 11786565 h 12431647"/>
                <a:gd name="connsiteX17" fmla="*/ 7400308 w 16682562"/>
                <a:gd name="connsiteY17" fmla="*/ 11756420 h 12431647"/>
                <a:gd name="connsiteX18" fmla="*/ 6972273 w 16682562"/>
                <a:gd name="connsiteY18" fmla="*/ 12027717 h 12431647"/>
                <a:gd name="connsiteX19" fmla="*/ 5181729 w 16682562"/>
                <a:gd name="connsiteY19" fmla="*/ 11943318 h 12431647"/>
                <a:gd name="connsiteX20" fmla="*/ 4397998 w 16682562"/>
                <a:gd name="connsiteY20" fmla="*/ 11310301 h 12431647"/>
                <a:gd name="connsiteX21" fmla="*/ 2908896 w 16682562"/>
                <a:gd name="connsiteY21" fmla="*/ 10502447 h 12431647"/>
                <a:gd name="connsiteX22" fmla="*/ 1263043 w 16682562"/>
                <a:gd name="connsiteY22" fmla="*/ 9791054 h 12431647"/>
                <a:gd name="connsiteX23" fmla="*/ 485320 w 16682562"/>
                <a:gd name="connsiteY23" fmla="*/ 9338897 h 12431647"/>
                <a:gd name="connsiteX24" fmla="*/ 0 w 16682562"/>
                <a:gd name="connsiteY24" fmla="*/ 9045785 h 12431647"/>
                <a:gd name="connsiteX25" fmla="*/ 1003686 w 16682562"/>
                <a:gd name="connsiteY25" fmla="*/ 8299820 h 12431647"/>
                <a:gd name="connsiteX26" fmla="*/ 2902551 w 16682562"/>
                <a:gd name="connsiteY26" fmla="*/ 7115421 h 12431647"/>
                <a:gd name="connsiteX27" fmla="*/ 2558940 w 16682562"/>
                <a:gd name="connsiteY27" fmla="*/ 6581990 h 12431647"/>
                <a:gd name="connsiteX28" fmla="*/ 2402508 w 16682562"/>
                <a:gd name="connsiteY28" fmla="*/ 5894907 h 12431647"/>
                <a:gd name="connsiteX29" fmla="*/ 2730740 w 16682562"/>
                <a:gd name="connsiteY29" fmla="*/ 5867736 h 12431647"/>
                <a:gd name="connsiteX30" fmla="*/ 2947754 w 16682562"/>
                <a:gd name="connsiteY30" fmla="*/ 5397591 h 12431647"/>
                <a:gd name="connsiteX31" fmla="*/ 3499325 w 16682562"/>
                <a:gd name="connsiteY31" fmla="*/ 4954574 h 12431647"/>
                <a:gd name="connsiteX32" fmla="*/ 3680166 w 16682562"/>
                <a:gd name="connsiteY32" fmla="*/ 4077576 h 12431647"/>
                <a:gd name="connsiteX33" fmla="*/ 4186528 w 16682562"/>
                <a:gd name="connsiteY33" fmla="*/ 4086612 h 12431647"/>
                <a:gd name="connsiteX34" fmla="*/ 4837569 w 16682562"/>
                <a:gd name="connsiteY34" fmla="*/ 4556762 h 12431647"/>
                <a:gd name="connsiteX35" fmla="*/ 5352976 w 16682562"/>
                <a:gd name="connsiteY35" fmla="*/ 4475395 h 12431647"/>
                <a:gd name="connsiteX36" fmla="*/ 5741786 w 16682562"/>
                <a:gd name="connsiteY36" fmla="*/ 4104700 h 12431647"/>
                <a:gd name="connsiteX37" fmla="*/ 6157723 w 16682562"/>
                <a:gd name="connsiteY37" fmla="*/ 3941959 h 12431647"/>
                <a:gd name="connsiteX38" fmla="*/ 6745471 w 16682562"/>
                <a:gd name="connsiteY38" fmla="*/ 3372366 h 12431647"/>
                <a:gd name="connsiteX39" fmla="*/ 6890140 w 16682562"/>
                <a:gd name="connsiteY39" fmla="*/ 2522490 h 12431647"/>
                <a:gd name="connsiteX40" fmla="*/ 7568305 w 16682562"/>
                <a:gd name="connsiteY40" fmla="*/ 1952896 h 12431647"/>
                <a:gd name="connsiteX41" fmla="*/ 8137967 w 16682562"/>
                <a:gd name="connsiteY41" fmla="*/ 1509875 h 12431647"/>
                <a:gd name="connsiteX42" fmla="*/ 8463480 w 16682562"/>
                <a:gd name="connsiteY42" fmla="*/ 705208 h 12431647"/>
                <a:gd name="connsiteX43" fmla="*/ 9024093 w 16682562"/>
                <a:gd name="connsiteY43" fmla="*/ 352601 h 12431647"/>
                <a:gd name="connsiteX44" fmla="*/ 9675138 w 16682562"/>
                <a:gd name="connsiteY44" fmla="*/ -1 h 12431647"/>
                <a:gd name="connsiteX45" fmla="*/ 8856118 w 16682562"/>
                <a:gd name="connsiteY45" fmla="*/ 1891739 h 12431647"/>
                <a:gd name="connsiteX46" fmla="*/ 9078849 w 16682562"/>
                <a:gd name="connsiteY46" fmla="*/ 2505303 h 12431647"/>
                <a:gd name="connsiteX47" fmla="*/ 9086459 w 16682562"/>
                <a:gd name="connsiteY47" fmla="*/ 3053281 h 12431647"/>
                <a:gd name="connsiteX48" fmla="*/ 9761321 w 16682562"/>
                <a:gd name="connsiteY48" fmla="*/ 2956135 h 12431647"/>
                <a:gd name="connsiteX49" fmla="*/ 10152517 w 16682562"/>
                <a:gd name="connsiteY49" fmla="*/ 3754405 h 12431647"/>
                <a:gd name="connsiteX50" fmla="*/ 11109603 w 16682562"/>
                <a:gd name="connsiteY50" fmla="*/ 4125879 h 12431647"/>
                <a:gd name="connsiteX51" fmla="*/ 11919572 w 16682562"/>
                <a:gd name="connsiteY51" fmla="*/ 4399401 h 12431647"/>
                <a:gd name="connsiteX52" fmla="*/ 12868275 w 16682562"/>
                <a:gd name="connsiteY52" fmla="*/ 4154190 h 12431647"/>
                <a:gd name="connsiteX53" fmla="*/ 13844296 w 16682562"/>
                <a:gd name="connsiteY53" fmla="*/ 3552355 h 12431647"/>
                <a:gd name="connsiteX54" fmla="*/ 13886291 w 16682562"/>
                <a:gd name="connsiteY54" fmla="*/ 2717987 h 12431647"/>
                <a:gd name="connsiteX55" fmla="*/ 14370431 w 16682562"/>
                <a:gd name="connsiteY55" fmla="*/ 3226339 h 12431647"/>
                <a:gd name="connsiteX56" fmla="*/ 15323320 w 16682562"/>
                <a:gd name="connsiteY56" fmla="*/ 3324612 h 12431647"/>
                <a:gd name="connsiteX57" fmla="*/ 16350939 w 16682562"/>
                <a:gd name="connsiteY57" fmla="*/ 3449471 h 12431647"/>
                <a:gd name="connsiteX58" fmla="*/ 16362364 w 16682562"/>
                <a:gd name="connsiteY58" fmla="*/ 3756751 h 12431647"/>
                <a:gd name="connsiteX59" fmla="*/ 16682563 w 16682562"/>
                <a:gd name="connsiteY59" fmla="*/ 4194654 h 12431647"/>
                <a:gd name="connsiteX0" fmla="*/ 16682563 w 16682562"/>
                <a:gd name="connsiteY0" fmla="*/ 3842051 h 12079044"/>
                <a:gd name="connsiteX1" fmla="*/ 16432262 w 16682562"/>
                <a:gd name="connsiteY1" fmla="*/ 4869437 h 12079044"/>
                <a:gd name="connsiteX2" fmla="*/ 16106317 w 16682562"/>
                <a:gd name="connsiteY2" fmla="*/ 5410741 h 12079044"/>
                <a:gd name="connsiteX3" fmla="*/ 16305649 w 16682562"/>
                <a:gd name="connsiteY3" fmla="*/ 5798070 h 12079044"/>
                <a:gd name="connsiteX4" fmla="*/ 16287189 w 16682562"/>
                <a:gd name="connsiteY4" fmla="*/ 6194677 h 12079044"/>
                <a:gd name="connsiteX5" fmla="*/ 16372801 w 16682562"/>
                <a:gd name="connsiteY5" fmla="*/ 6760942 h 12079044"/>
                <a:gd name="connsiteX6" fmla="*/ 16070155 w 16682562"/>
                <a:gd name="connsiteY6" fmla="*/ 6981328 h 12079044"/>
                <a:gd name="connsiteX7" fmla="*/ 15805690 w 16682562"/>
                <a:gd name="connsiteY7" fmla="*/ 7475519 h 12079044"/>
                <a:gd name="connsiteX8" fmla="*/ 15195097 w 16682562"/>
                <a:gd name="connsiteY8" fmla="*/ 7137262 h 12079044"/>
                <a:gd name="connsiteX9" fmla="*/ 15011380 w 16682562"/>
                <a:gd name="connsiteY9" fmla="*/ 8092112 h 12079044"/>
                <a:gd name="connsiteX10" fmla="*/ 14908430 w 16682562"/>
                <a:gd name="connsiteY10" fmla="*/ 8981007 h 12079044"/>
                <a:gd name="connsiteX11" fmla="*/ 14904684 w 16682562"/>
                <a:gd name="connsiteY11" fmla="*/ 9804446 h 12079044"/>
                <a:gd name="connsiteX12" fmla="*/ 14929927 w 16682562"/>
                <a:gd name="connsiteY12" fmla="*/ 11435366 h 12079044"/>
                <a:gd name="connsiteX13" fmla="*/ 12952786 w 16682562"/>
                <a:gd name="connsiteY13" fmla="*/ 11886119 h 12079044"/>
                <a:gd name="connsiteX14" fmla="*/ 11934663 w 16682562"/>
                <a:gd name="connsiteY14" fmla="*/ 11934369 h 12079044"/>
                <a:gd name="connsiteX15" fmla="*/ 8506848 w 16682562"/>
                <a:gd name="connsiteY15" fmla="*/ 12079044 h 12079044"/>
                <a:gd name="connsiteX16" fmla="*/ 7985095 w 16682562"/>
                <a:gd name="connsiteY16" fmla="*/ 11433962 h 12079044"/>
                <a:gd name="connsiteX17" fmla="*/ 7400308 w 16682562"/>
                <a:gd name="connsiteY17" fmla="*/ 11403817 h 12079044"/>
                <a:gd name="connsiteX18" fmla="*/ 6972273 w 16682562"/>
                <a:gd name="connsiteY18" fmla="*/ 11675114 h 12079044"/>
                <a:gd name="connsiteX19" fmla="*/ 5181729 w 16682562"/>
                <a:gd name="connsiteY19" fmla="*/ 11590715 h 12079044"/>
                <a:gd name="connsiteX20" fmla="*/ 4397998 w 16682562"/>
                <a:gd name="connsiteY20" fmla="*/ 10957698 h 12079044"/>
                <a:gd name="connsiteX21" fmla="*/ 2908896 w 16682562"/>
                <a:gd name="connsiteY21" fmla="*/ 10149844 h 12079044"/>
                <a:gd name="connsiteX22" fmla="*/ 1263043 w 16682562"/>
                <a:gd name="connsiteY22" fmla="*/ 9438451 h 12079044"/>
                <a:gd name="connsiteX23" fmla="*/ 485320 w 16682562"/>
                <a:gd name="connsiteY23" fmla="*/ 8986294 h 12079044"/>
                <a:gd name="connsiteX24" fmla="*/ 0 w 16682562"/>
                <a:gd name="connsiteY24" fmla="*/ 8693182 h 12079044"/>
                <a:gd name="connsiteX25" fmla="*/ 1003686 w 16682562"/>
                <a:gd name="connsiteY25" fmla="*/ 7947217 h 12079044"/>
                <a:gd name="connsiteX26" fmla="*/ 2902551 w 16682562"/>
                <a:gd name="connsiteY26" fmla="*/ 6762818 h 12079044"/>
                <a:gd name="connsiteX27" fmla="*/ 2558940 w 16682562"/>
                <a:gd name="connsiteY27" fmla="*/ 6229387 h 12079044"/>
                <a:gd name="connsiteX28" fmla="*/ 2402508 w 16682562"/>
                <a:gd name="connsiteY28" fmla="*/ 5542304 h 12079044"/>
                <a:gd name="connsiteX29" fmla="*/ 2730740 w 16682562"/>
                <a:gd name="connsiteY29" fmla="*/ 5515133 h 12079044"/>
                <a:gd name="connsiteX30" fmla="*/ 2947754 w 16682562"/>
                <a:gd name="connsiteY30" fmla="*/ 5044988 h 12079044"/>
                <a:gd name="connsiteX31" fmla="*/ 3499325 w 16682562"/>
                <a:gd name="connsiteY31" fmla="*/ 4601971 h 12079044"/>
                <a:gd name="connsiteX32" fmla="*/ 3680166 w 16682562"/>
                <a:gd name="connsiteY32" fmla="*/ 3724973 h 12079044"/>
                <a:gd name="connsiteX33" fmla="*/ 4186528 w 16682562"/>
                <a:gd name="connsiteY33" fmla="*/ 3734009 h 12079044"/>
                <a:gd name="connsiteX34" fmla="*/ 4837569 w 16682562"/>
                <a:gd name="connsiteY34" fmla="*/ 4204159 h 12079044"/>
                <a:gd name="connsiteX35" fmla="*/ 5352976 w 16682562"/>
                <a:gd name="connsiteY35" fmla="*/ 4122792 h 12079044"/>
                <a:gd name="connsiteX36" fmla="*/ 5741786 w 16682562"/>
                <a:gd name="connsiteY36" fmla="*/ 3752097 h 12079044"/>
                <a:gd name="connsiteX37" fmla="*/ 6157723 w 16682562"/>
                <a:gd name="connsiteY37" fmla="*/ 3589356 h 12079044"/>
                <a:gd name="connsiteX38" fmla="*/ 6745471 w 16682562"/>
                <a:gd name="connsiteY38" fmla="*/ 3019763 h 12079044"/>
                <a:gd name="connsiteX39" fmla="*/ 6890140 w 16682562"/>
                <a:gd name="connsiteY39" fmla="*/ 2169887 h 12079044"/>
                <a:gd name="connsiteX40" fmla="*/ 7568305 w 16682562"/>
                <a:gd name="connsiteY40" fmla="*/ 1600293 h 12079044"/>
                <a:gd name="connsiteX41" fmla="*/ 8137967 w 16682562"/>
                <a:gd name="connsiteY41" fmla="*/ 1157272 h 12079044"/>
                <a:gd name="connsiteX42" fmla="*/ 8463480 w 16682562"/>
                <a:gd name="connsiteY42" fmla="*/ 352605 h 12079044"/>
                <a:gd name="connsiteX43" fmla="*/ 9024093 w 16682562"/>
                <a:gd name="connsiteY43" fmla="*/ -2 h 12079044"/>
                <a:gd name="connsiteX44" fmla="*/ 8856118 w 16682562"/>
                <a:gd name="connsiteY44" fmla="*/ 1539136 h 12079044"/>
                <a:gd name="connsiteX45" fmla="*/ 9078849 w 16682562"/>
                <a:gd name="connsiteY45" fmla="*/ 2152700 h 12079044"/>
                <a:gd name="connsiteX46" fmla="*/ 9086459 w 16682562"/>
                <a:gd name="connsiteY46" fmla="*/ 2700678 h 12079044"/>
                <a:gd name="connsiteX47" fmla="*/ 9761321 w 16682562"/>
                <a:gd name="connsiteY47" fmla="*/ 2603532 h 12079044"/>
                <a:gd name="connsiteX48" fmla="*/ 10152517 w 16682562"/>
                <a:gd name="connsiteY48" fmla="*/ 3401802 h 12079044"/>
                <a:gd name="connsiteX49" fmla="*/ 11109603 w 16682562"/>
                <a:gd name="connsiteY49" fmla="*/ 3773276 h 12079044"/>
                <a:gd name="connsiteX50" fmla="*/ 11919572 w 16682562"/>
                <a:gd name="connsiteY50" fmla="*/ 4046798 h 12079044"/>
                <a:gd name="connsiteX51" fmla="*/ 12868275 w 16682562"/>
                <a:gd name="connsiteY51" fmla="*/ 3801587 h 12079044"/>
                <a:gd name="connsiteX52" fmla="*/ 13844296 w 16682562"/>
                <a:gd name="connsiteY52" fmla="*/ 3199752 h 12079044"/>
                <a:gd name="connsiteX53" fmla="*/ 13886291 w 16682562"/>
                <a:gd name="connsiteY53" fmla="*/ 2365384 h 12079044"/>
                <a:gd name="connsiteX54" fmla="*/ 14370431 w 16682562"/>
                <a:gd name="connsiteY54" fmla="*/ 2873736 h 12079044"/>
                <a:gd name="connsiteX55" fmla="*/ 15323320 w 16682562"/>
                <a:gd name="connsiteY55" fmla="*/ 2972009 h 12079044"/>
                <a:gd name="connsiteX56" fmla="*/ 16350939 w 16682562"/>
                <a:gd name="connsiteY56" fmla="*/ 3096868 h 12079044"/>
                <a:gd name="connsiteX57" fmla="*/ 16362364 w 16682562"/>
                <a:gd name="connsiteY57" fmla="*/ 3404148 h 12079044"/>
                <a:gd name="connsiteX58" fmla="*/ 16682563 w 16682562"/>
                <a:gd name="connsiteY58" fmla="*/ 3842051 h 12079044"/>
                <a:gd name="connsiteX0" fmla="*/ 16682563 w 16682562"/>
                <a:gd name="connsiteY0" fmla="*/ 3489448 h 11726441"/>
                <a:gd name="connsiteX1" fmla="*/ 16432262 w 16682562"/>
                <a:gd name="connsiteY1" fmla="*/ 4516834 h 11726441"/>
                <a:gd name="connsiteX2" fmla="*/ 16106317 w 16682562"/>
                <a:gd name="connsiteY2" fmla="*/ 5058138 h 11726441"/>
                <a:gd name="connsiteX3" fmla="*/ 16305649 w 16682562"/>
                <a:gd name="connsiteY3" fmla="*/ 5445467 h 11726441"/>
                <a:gd name="connsiteX4" fmla="*/ 16287189 w 16682562"/>
                <a:gd name="connsiteY4" fmla="*/ 5842074 h 11726441"/>
                <a:gd name="connsiteX5" fmla="*/ 16372801 w 16682562"/>
                <a:gd name="connsiteY5" fmla="*/ 6408339 h 11726441"/>
                <a:gd name="connsiteX6" fmla="*/ 16070155 w 16682562"/>
                <a:gd name="connsiteY6" fmla="*/ 6628725 h 11726441"/>
                <a:gd name="connsiteX7" fmla="*/ 15805690 w 16682562"/>
                <a:gd name="connsiteY7" fmla="*/ 7122916 h 11726441"/>
                <a:gd name="connsiteX8" fmla="*/ 15195097 w 16682562"/>
                <a:gd name="connsiteY8" fmla="*/ 6784659 h 11726441"/>
                <a:gd name="connsiteX9" fmla="*/ 15011380 w 16682562"/>
                <a:gd name="connsiteY9" fmla="*/ 7739509 h 11726441"/>
                <a:gd name="connsiteX10" fmla="*/ 14908430 w 16682562"/>
                <a:gd name="connsiteY10" fmla="*/ 8628404 h 11726441"/>
                <a:gd name="connsiteX11" fmla="*/ 14904684 w 16682562"/>
                <a:gd name="connsiteY11" fmla="*/ 9451843 h 11726441"/>
                <a:gd name="connsiteX12" fmla="*/ 14929927 w 16682562"/>
                <a:gd name="connsiteY12" fmla="*/ 11082763 h 11726441"/>
                <a:gd name="connsiteX13" fmla="*/ 12952786 w 16682562"/>
                <a:gd name="connsiteY13" fmla="*/ 11533516 h 11726441"/>
                <a:gd name="connsiteX14" fmla="*/ 11934663 w 16682562"/>
                <a:gd name="connsiteY14" fmla="*/ 11581766 h 11726441"/>
                <a:gd name="connsiteX15" fmla="*/ 8506848 w 16682562"/>
                <a:gd name="connsiteY15" fmla="*/ 11726441 h 11726441"/>
                <a:gd name="connsiteX16" fmla="*/ 7985095 w 16682562"/>
                <a:gd name="connsiteY16" fmla="*/ 11081359 h 11726441"/>
                <a:gd name="connsiteX17" fmla="*/ 7400308 w 16682562"/>
                <a:gd name="connsiteY17" fmla="*/ 11051214 h 11726441"/>
                <a:gd name="connsiteX18" fmla="*/ 6972273 w 16682562"/>
                <a:gd name="connsiteY18" fmla="*/ 11322511 h 11726441"/>
                <a:gd name="connsiteX19" fmla="*/ 5181729 w 16682562"/>
                <a:gd name="connsiteY19" fmla="*/ 11238112 h 11726441"/>
                <a:gd name="connsiteX20" fmla="*/ 4397998 w 16682562"/>
                <a:gd name="connsiteY20" fmla="*/ 10605095 h 11726441"/>
                <a:gd name="connsiteX21" fmla="*/ 2908896 w 16682562"/>
                <a:gd name="connsiteY21" fmla="*/ 9797241 h 11726441"/>
                <a:gd name="connsiteX22" fmla="*/ 1263043 w 16682562"/>
                <a:gd name="connsiteY22" fmla="*/ 9085848 h 11726441"/>
                <a:gd name="connsiteX23" fmla="*/ 485320 w 16682562"/>
                <a:gd name="connsiteY23" fmla="*/ 8633691 h 11726441"/>
                <a:gd name="connsiteX24" fmla="*/ 0 w 16682562"/>
                <a:gd name="connsiteY24" fmla="*/ 8340579 h 11726441"/>
                <a:gd name="connsiteX25" fmla="*/ 1003686 w 16682562"/>
                <a:gd name="connsiteY25" fmla="*/ 7594614 h 11726441"/>
                <a:gd name="connsiteX26" fmla="*/ 2902551 w 16682562"/>
                <a:gd name="connsiteY26" fmla="*/ 6410215 h 11726441"/>
                <a:gd name="connsiteX27" fmla="*/ 2558940 w 16682562"/>
                <a:gd name="connsiteY27" fmla="*/ 5876784 h 11726441"/>
                <a:gd name="connsiteX28" fmla="*/ 2402508 w 16682562"/>
                <a:gd name="connsiteY28" fmla="*/ 5189701 h 11726441"/>
                <a:gd name="connsiteX29" fmla="*/ 2730740 w 16682562"/>
                <a:gd name="connsiteY29" fmla="*/ 5162530 h 11726441"/>
                <a:gd name="connsiteX30" fmla="*/ 2947754 w 16682562"/>
                <a:gd name="connsiteY30" fmla="*/ 4692385 h 11726441"/>
                <a:gd name="connsiteX31" fmla="*/ 3499325 w 16682562"/>
                <a:gd name="connsiteY31" fmla="*/ 4249368 h 11726441"/>
                <a:gd name="connsiteX32" fmla="*/ 3680166 w 16682562"/>
                <a:gd name="connsiteY32" fmla="*/ 3372370 h 11726441"/>
                <a:gd name="connsiteX33" fmla="*/ 4186528 w 16682562"/>
                <a:gd name="connsiteY33" fmla="*/ 3381406 h 11726441"/>
                <a:gd name="connsiteX34" fmla="*/ 4837569 w 16682562"/>
                <a:gd name="connsiteY34" fmla="*/ 3851556 h 11726441"/>
                <a:gd name="connsiteX35" fmla="*/ 5352976 w 16682562"/>
                <a:gd name="connsiteY35" fmla="*/ 3770189 h 11726441"/>
                <a:gd name="connsiteX36" fmla="*/ 5741786 w 16682562"/>
                <a:gd name="connsiteY36" fmla="*/ 3399494 h 11726441"/>
                <a:gd name="connsiteX37" fmla="*/ 6157723 w 16682562"/>
                <a:gd name="connsiteY37" fmla="*/ 3236753 h 11726441"/>
                <a:gd name="connsiteX38" fmla="*/ 6745471 w 16682562"/>
                <a:gd name="connsiteY38" fmla="*/ 2667160 h 11726441"/>
                <a:gd name="connsiteX39" fmla="*/ 6890140 w 16682562"/>
                <a:gd name="connsiteY39" fmla="*/ 1817284 h 11726441"/>
                <a:gd name="connsiteX40" fmla="*/ 7568305 w 16682562"/>
                <a:gd name="connsiteY40" fmla="*/ 1247690 h 11726441"/>
                <a:gd name="connsiteX41" fmla="*/ 8137967 w 16682562"/>
                <a:gd name="connsiteY41" fmla="*/ 804669 h 11726441"/>
                <a:gd name="connsiteX42" fmla="*/ 8463480 w 16682562"/>
                <a:gd name="connsiteY42" fmla="*/ 2 h 11726441"/>
                <a:gd name="connsiteX43" fmla="*/ 8856118 w 16682562"/>
                <a:gd name="connsiteY43" fmla="*/ 1186533 h 11726441"/>
                <a:gd name="connsiteX44" fmla="*/ 9078849 w 16682562"/>
                <a:gd name="connsiteY44" fmla="*/ 1800097 h 11726441"/>
                <a:gd name="connsiteX45" fmla="*/ 9086459 w 16682562"/>
                <a:gd name="connsiteY45" fmla="*/ 2348075 h 11726441"/>
                <a:gd name="connsiteX46" fmla="*/ 9761321 w 16682562"/>
                <a:gd name="connsiteY46" fmla="*/ 2250929 h 11726441"/>
                <a:gd name="connsiteX47" fmla="*/ 10152517 w 16682562"/>
                <a:gd name="connsiteY47" fmla="*/ 3049199 h 11726441"/>
                <a:gd name="connsiteX48" fmla="*/ 11109603 w 16682562"/>
                <a:gd name="connsiteY48" fmla="*/ 3420673 h 11726441"/>
                <a:gd name="connsiteX49" fmla="*/ 11919572 w 16682562"/>
                <a:gd name="connsiteY49" fmla="*/ 3694195 h 11726441"/>
                <a:gd name="connsiteX50" fmla="*/ 12868275 w 16682562"/>
                <a:gd name="connsiteY50" fmla="*/ 3448984 h 11726441"/>
                <a:gd name="connsiteX51" fmla="*/ 13844296 w 16682562"/>
                <a:gd name="connsiteY51" fmla="*/ 2847149 h 11726441"/>
                <a:gd name="connsiteX52" fmla="*/ 13886291 w 16682562"/>
                <a:gd name="connsiteY52" fmla="*/ 2012781 h 11726441"/>
                <a:gd name="connsiteX53" fmla="*/ 14370431 w 16682562"/>
                <a:gd name="connsiteY53" fmla="*/ 2521133 h 11726441"/>
                <a:gd name="connsiteX54" fmla="*/ 15323320 w 16682562"/>
                <a:gd name="connsiteY54" fmla="*/ 2619406 h 11726441"/>
                <a:gd name="connsiteX55" fmla="*/ 16350939 w 16682562"/>
                <a:gd name="connsiteY55" fmla="*/ 2744265 h 11726441"/>
                <a:gd name="connsiteX56" fmla="*/ 16362364 w 16682562"/>
                <a:gd name="connsiteY56" fmla="*/ 3051545 h 11726441"/>
                <a:gd name="connsiteX57" fmla="*/ 16682563 w 16682562"/>
                <a:gd name="connsiteY57" fmla="*/ 3489448 h 11726441"/>
                <a:gd name="connsiteX0" fmla="*/ 16682563 w 16682562"/>
                <a:gd name="connsiteY0" fmla="*/ 2684781 h 10921774"/>
                <a:gd name="connsiteX1" fmla="*/ 16432262 w 16682562"/>
                <a:gd name="connsiteY1" fmla="*/ 3712167 h 10921774"/>
                <a:gd name="connsiteX2" fmla="*/ 16106317 w 16682562"/>
                <a:gd name="connsiteY2" fmla="*/ 4253471 h 10921774"/>
                <a:gd name="connsiteX3" fmla="*/ 16305649 w 16682562"/>
                <a:gd name="connsiteY3" fmla="*/ 4640800 h 10921774"/>
                <a:gd name="connsiteX4" fmla="*/ 16287189 w 16682562"/>
                <a:gd name="connsiteY4" fmla="*/ 5037407 h 10921774"/>
                <a:gd name="connsiteX5" fmla="*/ 16372801 w 16682562"/>
                <a:gd name="connsiteY5" fmla="*/ 5603672 h 10921774"/>
                <a:gd name="connsiteX6" fmla="*/ 16070155 w 16682562"/>
                <a:gd name="connsiteY6" fmla="*/ 5824058 h 10921774"/>
                <a:gd name="connsiteX7" fmla="*/ 15805690 w 16682562"/>
                <a:gd name="connsiteY7" fmla="*/ 6318249 h 10921774"/>
                <a:gd name="connsiteX8" fmla="*/ 15195097 w 16682562"/>
                <a:gd name="connsiteY8" fmla="*/ 5979992 h 10921774"/>
                <a:gd name="connsiteX9" fmla="*/ 15011380 w 16682562"/>
                <a:gd name="connsiteY9" fmla="*/ 6934842 h 10921774"/>
                <a:gd name="connsiteX10" fmla="*/ 14908430 w 16682562"/>
                <a:gd name="connsiteY10" fmla="*/ 7823737 h 10921774"/>
                <a:gd name="connsiteX11" fmla="*/ 14904684 w 16682562"/>
                <a:gd name="connsiteY11" fmla="*/ 8647176 h 10921774"/>
                <a:gd name="connsiteX12" fmla="*/ 14929927 w 16682562"/>
                <a:gd name="connsiteY12" fmla="*/ 10278096 h 10921774"/>
                <a:gd name="connsiteX13" fmla="*/ 12952786 w 16682562"/>
                <a:gd name="connsiteY13" fmla="*/ 10728849 h 10921774"/>
                <a:gd name="connsiteX14" fmla="*/ 11934663 w 16682562"/>
                <a:gd name="connsiteY14" fmla="*/ 10777099 h 10921774"/>
                <a:gd name="connsiteX15" fmla="*/ 8506848 w 16682562"/>
                <a:gd name="connsiteY15" fmla="*/ 10921774 h 10921774"/>
                <a:gd name="connsiteX16" fmla="*/ 7985095 w 16682562"/>
                <a:gd name="connsiteY16" fmla="*/ 10276692 h 10921774"/>
                <a:gd name="connsiteX17" fmla="*/ 7400308 w 16682562"/>
                <a:gd name="connsiteY17" fmla="*/ 10246547 h 10921774"/>
                <a:gd name="connsiteX18" fmla="*/ 6972273 w 16682562"/>
                <a:gd name="connsiteY18" fmla="*/ 10517844 h 10921774"/>
                <a:gd name="connsiteX19" fmla="*/ 5181729 w 16682562"/>
                <a:gd name="connsiteY19" fmla="*/ 10433445 h 10921774"/>
                <a:gd name="connsiteX20" fmla="*/ 4397998 w 16682562"/>
                <a:gd name="connsiteY20" fmla="*/ 9800428 h 10921774"/>
                <a:gd name="connsiteX21" fmla="*/ 2908896 w 16682562"/>
                <a:gd name="connsiteY21" fmla="*/ 8992574 h 10921774"/>
                <a:gd name="connsiteX22" fmla="*/ 1263043 w 16682562"/>
                <a:gd name="connsiteY22" fmla="*/ 8281181 h 10921774"/>
                <a:gd name="connsiteX23" fmla="*/ 485320 w 16682562"/>
                <a:gd name="connsiteY23" fmla="*/ 7829024 h 10921774"/>
                <a:gd name="connsiteX24" fmla="*/ 0 w 16682562"/>
                <a:gd name="connsiteY24" fmla="*/ 7535912 h 10921774"/>
                <a:gd name="connsiteX25" fmla="*/ 1003686 w 16682562"/>
                <a:gd name="connsiteY25" fmla="*/ 6789947 h 10921774"/>
                <a:gd name="connsiteX26" fmla="*/ 2902551 w 16682562"/>
                <a:gd name="connsiteY26" fmla="*/ 5605548 h 10921774"/>
                <a:gd name="connsiteX27" fmla="*/ 2558940 w 16682562"/>
                <a:gd name="connsiteY27" fmla="*/ 5072117 h 10921774"/>
                <a:gd name="connsiteX28" fmla="*/ 2402508 w 16682562"/>
                <a:gd name="connsiteY28" fmla="*/ 4385034 h 10921774"/>
                <a:gd name="connsiteX29" fmla="*/ 2730740 w 16682562"/>
                <a:gd name="connsiteY29" fmla="*/ 4357863 h 10921774"/>
                <a:gd name="connsiteX30" fmla="*/ 2947754 w 16682562"/>
                <a:gd name="connsiteY30" fmla="*/ 3887718 h 10921774"/>
                <a:gd name="connsiteX31" fmla="*/ 3499325 w 16682562"/>
                <a:gd name="connsiteY31" fmla="*/ 3444701 h 10921774"/>
                <a:gd name="connsiteX32" fmla="*/ 3680166 w 16682562"/>
                <a:gd name="connsiteY32" fmla="*/ 2567703 h 10921774"/>
                <a:gd name="connsiteX33" fmla="*/ 4186528 w 16682562"/>
                <a:gd name="connsiteY33" fmla="*/ 2576739 h 10921774"/>
                <a:gd name="connsiteX34" fmla="*/ 4837569 w 16682562"/>
                <a:gd name="connsiteY34" fmla="*/ 3046889 h 10921774"/>
                <a:gd name="connsiteX35" fmla="*/ 5352976 w 16682562"/>
                <a:gd name="connsiteY35" fmla="*/ 2965522 h 10921774"/>
                <a:gd name="connsiteX36" fmla="*/ 5741786 w 16682562"/>
                <a:gd name="connsiteY36" fmla="*/ 2594827 h 10921774"/>
                <a:gd name="connsiteX37" fmla="*/ 6157723 w 16682562"/>
                <a:gd name="connsiteY37" fmla="*/ 2432086 h 10921774"/>
                <a:gd name="connsiteX38" fmla="*/ 6745471 w 16682562"/>
                <a:gd name="connsiteY38" fmla="*/ 1862493 h 10921774"/>
                <a:gd name="connsiteX39" fmla="*/ 6890140 w 16682562"/>
                <a:gd name="connsiteY39" fmla="*/ 1012617 h 10921774"/>
                <a:gd name="connsiteX40" fmla="*/ 7568305 w 16682562"/>
                <a:gd name="connsiteY40" fmla="*/ 443023 h 10921774"/>
                <a:gd name="connsiteX41" fmla="*/ 8137967 w 16682562"/>
                <a:gd name="connsiteY41" fmla="*/ 2 h 10921774"/>
                <a:gd name="connsiteX42" fmla="*/ 8856118 w 16682562"/>
                <a:gd name="connsiteY42" fmla="*/ 381866 h 10921774"/>
                <a:gd name="connsiteX43" fmla="*/ 9078849 w 16682562"/>
                <a:gd name="connsiteY43" fmla="*/ 995430 h 10921774"/>
                <a:gd name="connsiteX44" fmla="*/ 9086459 w 16682562"/>
                <a:gd name="connsiteY44" fmla="*/ 1543408 h 10921774"/>
                <a:gd name="connsiteX45" fmla="*/ 9761321 w 16682562"/>
                <a:gd name="connsiteY45" fmla="*/ 1446262 h 10921774"/>
                <a:gd name="connsiteX46" fmla="*/ 10152517 w 16682562"/>
                <a:gd name="connsiteY46" fmla="*/ 2244532 h 10921774"/>
                <a:gd name="connsiteX47" fmla="*/ 11109603 w 16682562"/>
                <a:gd name="connsiteY47" fmla="*/ 2616006 h 10921774"/>
                <a:gd name="connsiteX48" fmla="*/ 11919572 w 16682562"/>
                <a:gd name="connsiteY48" fmla="*/ 2889528 h 10921774"/>
                <a:gd name="connsiteX49" fmla="*/ 12868275 w 16682562"/>
                <a:gd name="connsiteY49" fmla="*/ 2644317 h 10921774"/>
                <a:gd name="connsiteX50" fmla="*/ 13844296 w 16682562"/>
                <a:gd name="connsiteY50" fmla="*/ 2042482 h 10921774"/>
                <a:gd name="connsiteX51" fmla="*/ 13886291 w 16682562"/>
                <a:gd name="connsiteY51" fmla="*/ 1208114 h 10921774"/>
                <a:gd name="connsiteX52" fmla="*/ 14370431 w 16682562"/>
                <a:gd name="connsiteY52" fmla="*/ 1716466 h 10921774"/>
                <a:gd name="connsiteX53" fmla="*/ 15323320 w 16682562"/>
                <a:gd name="connsiteY53" fmla="*/ 1814739 h 10921774"/>
                <a:gd name="connsiteX54" fmla="*/ 16350939 w 16682562"/>
                <a:gd name="connsiteY54" fmla="*/ 1939598 h 10921774"/>
                <a:gd name="connsiteX55" fmla="*/ 16362364 w 16682562"/>
                <a:gd name="connsiteY55" fmla="*/ 2246878 h 10921774"/>
                <a:gd name="connsiteX56" fmla="*/ 16682563 w 16682562"/>
                <a:gd name="connsiteY56" fmla="*/ 2684781 h 10921774"/>
                <a:gd name="connsiteX0" fmla="*/ 16682563 w 16682562"/>
                <a:gd name="connsiteY0" fmla="*/ 2908861 h 11145854"/>
                <a:gd name="connsiteX1" fmla="*/ 16432262 w 16682562"/>
                <a:gd name="connsiteY1" fmla="*/ 3936247 h 11145854"/>
                <a:gd name="connsiteX2" fmla="*/ 16106317 w 16682562"/>
                <a:gd name="connsiteY2" fmla="*/ 4477551 h 11145854"/>
                <a:gd name="connsiteX3" fmla="*/ 16305649 w 16682562"/>
                <a:gd name="connsiteY3" fmla="*/ 4864880 h 11145854"/>
                <a:gd name="connsiteX4" fmla="*/ 16287189 w 16682562"/>
                <a:gd name="connsiteY4" fmla="*/ 5261487 h 11145854"/>
                <a:gd name="connsiteX5" fmla="*/ 16372801 w 16682562"/>
                <a:gd name="connsiteY5" fmla="*/ 5827752 h 11145854"/>
                <a:gd name="connsiteX6" fmla="*/ 16070155 w 16682562"/>
                <a:gd name="connsiteY6" fmla="*/ 6048138 h 11145854"/>
                <a:gd name="connsiteX7" fmla="*/ 15805690 w 16682562"/>
                <a:gd name="connsiteY7" fmla="*/ 6542329 h 11145854"/>
                <a:gd name="connsiteX8" fmla="*/ 15195097 w 16682562"/>
                <a:gd name="connsiteY8" fmla="*/ 6204072 h 11145854"/>
                <a:gd name="connsiteX9" fmla="*/ 15011380 w 16682562"/>
                <a:gd name="connsiteY9" fmla="*/ 7158922 h 11145854"/>
                <a:gd name="connsiteX10" fmla="*/ 14908430 w 16682562"/>
                <a:gd name="connsiteY10" fmla="*/ 8047817 h 11145854"/>
                <a:gd name="connsiteX11" fmla="*/ 14904684 w 16682562"/>
                <a:gd name="connsiteY11" fmla="*/ 8871256 h 11145854"/>
                <a:gd name="connsiteX12" fmla="*/ 14929927 w 16682562"/>
                <a:gd name="connsiteY12" fmla="*/ 10502176 h 11145854"/>
                <a:gd name="connsiteX13" fmla="*/ 12952786 w 16682562"/>
                <a:gd name="connsiteY13" fmla="*/ 10952929 h 11145854"/>
                <a:gd name="connsiteX14" fmla="*/ 11934663 w 16682562"/>
                <a:gd name="connsiteY14" fmla="*/ 11001179 h 11145854"/>
                <a:gd name="connsiteX15" fmla="*/ 8506848 w 16682562"/>
                <a:gd name="connsiteY15" fmla="*/ 11145854 h 11145854"/>
                <a:gd name="connsiteX16" fmla="*/ 7985095 w 16682562"/>
                <a:gd name="connsiteY16" fmla="*/ 10500772 h 11145854"/>
                <a:gd name="connsiteX17" fmla="*/ 7400308 w 16682562"/>
                <a:gd name="connsiteY17" fmla="*/ 10470627 h 11145854"/>
                <a:gd name="connsiteX18" fmla="*/ 6972273 w 16682562"/>
                <a:gd name="connsiteY18" fmla="*/ 10741924 h 11145854"/>
                <a:gd name="connsiteX19" fmla="*/ 5181729 w 16682562"/>
                <a:gd name="connsiteY19" fmla="*/ 10657525 h 11145854"/>
                <a:gd name="connsiteX20" fmla="*/ 4397998 w 16682562"/>
                <a:gd name="connsiteY20" fmla="*/ 10024508 h 11145854"/>
                <a:gd name="connsiteX21" fmla="*/ 2908896 w 16682562"/>
                <a:gd name="connsiteY21" fmla="*/ 9216654 h 11145854"/>
                <a:gd name="connsiteX22" fmla="*/ 1263043 w 16682562"/>
                <a:gd name="connsiteY22" fmla="*/ 8505261 h 11145854"/>
                <a:gd name="connsiteX23" fmla="*/ 485320 w 16682562"/>
                <a:gd name="connsiteY23" fmla="*/ 8053104 h 11145854"/>
                <a:gd name="connsiteX24" fmla="*/ 0 w 16682562"/>
                <a:gd name="connsiteY24" fmla="*/ 7759992 h 11145854"/>
                <a:gd name="connsiteX25" fmla="*/ 1003686 w 16682562"/>
                <a:gd name="connsiteY25" fmla="*/ 7014027 h 11145854"/>
                <a:gd name="connsiteX26" fmla="*/ 2902551 w 16682562"/>
                <a:gd name="connsiteY26" fmla="*/ 5829628 h 11145854"/>
                <a:gd name="connsiteX27" fmla="*/ 2558940 w 16682562"/>
                <a:gd name="connsiteY27" fmla="*/ 5296197 h 11145854"/>
                <a:gd name="connsiteX28" fmla="*/ 2402508 w 16682562"/>
                <a:gd name="connsiteY28" fmla="*/ 4609114 h 11145854"/>
                <a:gd name="connsiteX29" fmla="*/ 2730740 w 16682562"/>
                <a:gd name="connsiteY29" fmla="*/ 4581943 h 11145854"/>
                <a:gd name="connsiteX30" fmla="*/ 2947754 w 16682562"/>
                <a:gd name="connsiteY30" fmla="*/ 4111798 h 11145854"/>
                <a:gd name="connsiteX31" fmla="*/ 3499325 w 16682562"/>
                <a:gd name="connsiteY31" fmla="*/ 3668781 h 11145854"/>
                <a:gd name="connsiteX32" fmla="*/ 3680166 w 16682562"/>
                <a:gd name="connsiteY32" fmla="*/ 2791783 h 11145854"/>
                <a:gd name="connsiteX33" fmla="*/ 4186528 w 16682562"/>
                <a:gd name="connsiteY33" fmla="*/ 2800819 h 11145854"/>
                <a:gd name="connsiteX34" fmla="*/ 4837569 w 16682562"/>
                <a:gd name="connsiteY34" fmla="*/ 3270969 h 11145854"/>
                <a:gd name="connsiteX35" fmla="*/ 5352976 w 16682562"/>
                <a:gd name="connsiteY35" fmla="*/ 3189602 h 11145854"/>
                <a:gd name="connsiteX36" fmla="*/ 5741786 w 16682562"/>
                <a:gd name="connsiteY36" fmla="*/ 2818907 h 11145854"/>
                <a:gd name="connsiteX37" fmla="*/ 6157723 w 16682562"/>
                <a:gd name="connsiteY37" fmla="*/ 2656166 h 11145854"/>
                <a:gd name="connsiteX38" fmla="*/ 6745471 w 16682562"/>
                <a:gd name="connsiteY38" fmla="*/ 2086573 h 11145854"/>
                <a:gd name="connsiteX39" fmla="*/ 6890140 w 16682562"/>
                <a:gd name="connsiteY39" fmla="*/ 1236697 h 11145854"/>
                <a:gd name="connsiteX40" fmla="*/ 7568305 w 16682562"/>
                <a:gd name="connsiteY40" fmla="*/ 667103 h 11145854"/>
                <a:gd name="connsiteX41" fmla="*/ 8502979 w 16682562"/>
                <a:gd name="connsiteY41" fmla="*/ 0 h 11145854"/>
                <a:gd name="connsiteX42" fmla="*/ 8856118 w 16682562"/>
                <a:gd name="connsiteY42" fmla="*/ 605946 h 11145854"/>
                <a:gd name="connsiteX43" fmla="*/ 9078849 w 16682562"/>
                <a:gd name="connsiteY43" fmla="*/ 1219510 h 11145854"/>
                <a:gd name="connsiteX44" fmla="*/ 9086459 w 16682562"/>
                <a:gd name="connsiteY44" fmla="*/ 1767488 h 11145854"/>
                <a:gd name="connsiteX45" fmla="*/ 9761321 w 16682562"/>
                <a:gd name="connsiteY45" fmla="*/ 1670342 h 11145854"/>
                <a:gd name="connsiteX46" fmla="*/ 10152517 w 16682562"/>
                <a:gd name="connsiteY46" fmla="*/ 2468612 h 11145854"/>
                <a:gd name="connsiteX47" fmla="*/ 11109603 w 16682562"/>
                <a:gd name="connsiteY47" fmla="*/ 2840086 h 11145854"/>
                <a:gd name="connsiteX48" fmla="*/ 11919572 w 16682562"/>
                <a:gd name="connsiteY48" fmla="*/ 3113608 h 11145854"/>
                <a:gd name="connsiteX49" fmla="*/ 12868275 w 16682562"/>
                <a:gd name="connsiteY49" fmla="*/ 2868397 h 11145854"/>
                <a:gd name="connsiteX50" fmla="*/ 13844296 w 16682562"/>
                <a:gd name="connsiteY50" fmla="*/ 2266562 h 11145854"/>
                <a:gd name="connsiteX51" fmla="*/ 13886291 w 16682562"/>
                <a:gd name="connsiteY51" fmla="*/ 1432194 h 11145854"/>
                <a:gd name="connsiteX52" fmla="*/ 14370431 w 16682562"/>
                <a:gd name="connsiteY52" fmla="*/ 1940546 h 11145854"/>
                <a:gd name="connsiteX53" fmla="*/ 15323320 w 16682562"/>
                <a:gd name="connsiteY53" fmla="*/ 2038819 h 11145854"/>
                <a:gd name="connsiteX54" fmla="*/ 16350939 w 16682562"/>
                <a:gd name="connsiteY54" fmla="*/ 2163678 h 11145854"/>
                <a:gd name="connsiteX55" fmla="*/ 16362364 w 16682562"/>
                <a:gd name="connsiteY55" fmla="*/ 2470958 h 11145854"/>
                <a:gd name="connsiteX56" fmla="*/ 16682563 w 16682562"/>
                <a:gd name="connsiteY56" fmla="*/ 2908861 h 11145854"/>
                <a:gd name="connsiteX0" fmla="*/ 16682563 w 16682562"/>
                <a:gd name="connsiteY0" fmla="*/ 2908861 h 11145854"/>
                <a:gd name="connsiteX1" fmla="*/ 16432262 w 16682562"/>
                <a:gd name="connsiteY1" fmla="*/ 3936247 h 11145854"/>
                <a:gd name="connsiteX2" fmla="*/ 16106317 w 16682562"/>
                <a:gd name="connsiteY2" fmla="*/ 4477551 h 11145854"/>
                <a:gd name="connsiteX3" fmla="*/ 16305649 w 16682562"/>
                <a:gd name="connsiteY3" fmla="*/ 4864880 h 11145854"/>
                <a:gd name="connsiteX4" fmla="*/ 16287189 w 16682562"/>
                <a:gd name="connsiteY4" fmla="*/ 5261487 h 11145854"/>
                <a:gd name="connsiteX5" fmla="*/ 16372801 w 16682562"/>
                <a:gd name="connsiteY5" fmla="*/ 5827752 h 11145854"/>
                <a:gd name="connsiteX6" fmla="*/ 16070155 w 16682562"/>
                <a:gd name="connsiteY6" fmla="*/ 6048138 h 11145854"/>
                <a:gd name="connsiteX7" fmla="*/ 15805690 w 16682562"/>
                <a:gd name="connsiteY7" fmla="*/ 6542329 h 11145854"/>
                <a:gd name="connsiteX8" fmla="*/ 15195097 w 16682562"/>
                <a:gd name="connsiteY8" fmla="*/ 6204072 h 11145854"/>
                <a:gd name="connsiteX9" fmla="*/ 15011380 w 16682562"/>
                <a:gd name="connsiteY9" fmla="*/ 7158922 h 11145854"/>
                <a:gd name="connsiteX10" fmla="*/ 14908430 w 16682562"/>
                <a:gd name="connsiteY10" fmla="*/ 8047817 h 11145854"/>
                <a:gd name="connsiteX11" fmla="*/ 14904684 w 16682562"/>
                <a:gd name="connsiteY11" fmla="*/ 8871256 h 11145854"/>
                <a:gd name="connsiteX12" fmla="*/ 14962237 w 16682562"/>
                <a:gd name="connsiteY12" fmla="*/ 10899713 h 11145854"/>
                <a:gd name="connsiteX13" fmla="*/ 12952786 w 16682562"/>
                <a:gd name="connsiteY13" fmla="*/ 10952929 h 11145854"/>
                <a:gd name="connsiteX14" fmla="*/ 11934663 w 16682562"/>
                <a:gd name="connsiteY14" fmla="*/ 11001179 h 11145854"/>
                <a:gd name="connsiteX15" fmla="*/ 8506848 w 16682562"/>
                <a:gd name="connsiteY15" fmla="*/ 11145854 h 11145854"/>
                <a:gd name="connsiteX16" fmla="*/ 7985095 w 16682562"/>
                <a:gd name="connsiteY16" fmla="*/ 10500772 h 11145854"/>
                <a:gd name="connsiteX17" fmla="*/ 7400308 w 16682562"/>
                <a:gd name="connsiteY17" fmla="*/ 10470627 h 11145854"/>
                <a:gd name="connsiteX18" fmla="*/ 6972273 w 16682562"/>
                <a:gd name="connsiteY18" fmla="*/ 10741924 h 11145854"/>
                <a:gd name="connsiteX19" fmla="*/ 5181729 w 16682562"/>
                <a:gd name="connsiteY19" fmla="*/ 10657525 h 11145854"/>
                <a:gd name="connsiteX20" fmla="*/ 4397998 w 16682562"/>
                <a:gd name="connsiteY20" fmla="*/ 10024508 h 11145854"/>
                <a:gd name="connsiteX21" fmla="*/ 2908896 w 16682562"/>
                <a:gd name="connsiteY21" fmla="*/ 9216654 h 11145854"/>
                <a:gd name="connsiteX22" fmla="*/ 1263043 w 16682562"/>
                <a:gd name="connsiteY22" fmla="*/ 8505261 h 11145854"/>
                <a:gd name="connsiteX23" fmla="*/ 485320 w 16682562"/>
                <a:gd name="connsiteY23" fmla="*/ 8053104 h 11145854"/>
                <a:gd name="connsiteX24" fmla="*/ 0 w 16682562"/>
                <a:gd name="connsiteY24" fmla="*/ 7759992 h 11145854"/>
                <a:gd name="connsiteX25" fmla="*/ 1003686 w 16682562"/>
                <a:gd name="connsiteY25" fmla="*/ 7014027 h 11145854"/>
                <a:gd name="connsiteX26" fmla="*/ 2902551 w 16682562"/>
                <a:gd name="connsiteY26" fmla="*/ 5829628 h 11145854"/>
                <a:gd name="connsiteX27" fmla="*/ 2558940 w 16682562"/>
                <a:gd name="connsiteY27" fmla="*/ 5296197 h 11145854"/>
                <a:gd name="connsiteX28" fmla="*/ 2402508 w 16682562"/>
                <a:gd name="connsiteY28" fmla="*/ 4609114 h 11145854"/>
                <a:gd name="connsiteX29" fmla="*/ 2730740 w 16682562"/>
                <a:gd name="connsiteY29" fmla="*/ 4581943 h 11145854"/>
                <a:gd name="connsiteX30" fmla="*/ 2947754 w 16682562"/>
                <a:gd name="connsiteY30" fmla="*/ 4111798 h 11145854"/>
                <a:gd name="connsiteX31" fmla="*/ 3499325 w 16682562"/>
                <a:gd name="connsiteY31" fmla="*/ 3668781 h 11145854"/>
                <a:gd name="connsiteX32" fmla="*/ 3680166 w 16682562"/>
                <a:gd name="connsiteY32" fmla="*/ 2791783 h 11145854"/>
                <a:gd name="connsiteX33" fmla="*/ 4186528 w 16682562"/>
                <a:gd name="connsiteY33" fmla="*/ 2800819 h 11145854"/>
                <a:gd name="connsiteX34" fmla="*/ 4837569 w 16682562"/>
                <a:gd name="connsiteY34" fmla="*/ 3270969 h 11145854"/>
                <a:gd name="connsiteX35" fmla="*/ 5352976 w 16682562"/>
                <a:gd name="connsiteY35" fmla="*/ 3189602 h 11145854"/>
                <a:gd name="connsiteX36" fmla="*/ 5741786 w 16682562"/>
                <a:gd name="connsiteY36" fmla="*/ 2818907 h 11145854"/>
                <a:gd name="connsiteX37" fmla="*/ 6157723 w 16682562"/>
                <a:gd name="connsiteY37" fmla="*/ 2656166 h 11145854"/>
                <a:gd name="connsiteX38" fmla="*/ 6745471 w 16682562"/>
                <a:gd name="connsiteY38" fmla="*/ 2086573 h 11145854"/>
                <a:gd name="connsiteX39" fmla="*/ 6890140 w 16682562"/>
                <a:gd name="connsiteY39" fmla="*/ 1236697 h 11145854"/>
                <a:gd name="connsiteX40" fmla="*/ 7568305 w 16682562"/>
                <a:gd name="connsiteY40" fmla="*/ 667103 h 11145854"/>
                <a:gd name="connsiteX41" fmla="*/ 8502979 w 16682562"/>
                <a:gd name="connsiteY41" fmla="*/ 0 h 11145854"/>
                <a:gd name="connsiteX42" fmla="*/ 8856118 w 16682562"/>
                <a:gd name="connsiteY42" fmla="*/ 605946 h 11145854"/>
                <a:gd name="connsiteX43" fmla="*/ 9078849 w 16682562"/>
                <a:gd name="connsiteY43" fmla="*/ 1219510 h 11145854"/>
                <a:gd name="connsiteX44" fmla="*/ 9086459 w 16682562"/>
                <a:gd name="connsiteY44" fmla="*/ 1767488 h 11145854"/>
                <a:gd name="connsiteX45" fmla="*/ 9761321 w 16682562"/>
                <a:gd name="connsiteY45" fmla="*/ 1670342 h 11145854"/>
                <a:gd name="connsiteX46" fmla="*/ 10152517 w 16682562"/>
                <a:gd name="connsiteY46" fmla="*/ 2468612 h 11145854"/>
                <a:gd name="connsiteX47" fmla="*/ 11109603 w 16682562"/>
                <a:gd name="connsiteY47" fmla="*/ 2840086 h 11145854"/>
                <a:gd name="connsiteX48" fmla="*/ 11919572 w 16682562"/>
                <a:gd name="connsiteY48" fmla="*/ 3113608 h 11145854"/>
                <a:gd name="connsiteX49" fmla="*/ 12868275 w 16682562"/>
                <a:gd name="connsiteY49" fmla="*/ 2868397 h 11145854"/>
                <a:gd name="connsiteX50" fmla="*/ 13844296 w 16682562"/>
                <a:gd name="connsiteY50" fmla="*/ 2266562 h 11145854"/>
                <a:gd name="connsiteX51" fmla="*/ 13886291 w 16682562"/>
                <a:gd name="connsiteY51" fmla="*/ 1432194 h 11145854"/>
                <a:gd name="connsiteX52" fmla="*/ 14370431 w 16682562"/>
                <a:gd name="connsiteY52" fmla="*/ 1940546 h 11145854"/>
                <a:gd name="connsiteX53" fmla="*/ 15323320 w 16682562"/>
                <a:gd name="connsiteY53" fmla="*/ 2038819 h 11145854"/>
                <a:gd name="connsiteX54" fmla="*/ 16350939 w 16682562"/>
                <a:gd name="connsiteY54" fmla="*/ 2163678 h 11145854"/>
                <a:gd name="connsiteX55" fmla="*/ 16362364 w 16682562"/>
                <a:gd name="connsiteY55" fmla="*/ 2470958 h 11145854"/>
                <a:gd name="connsiteX56" fmla="*/ 16682563 w 16682562"/>
                <a:gd name="connsiteY56" fmla="*/ 2908861 h 11145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6682562" h="11145854">
                  <a:moveTo>
                    <a:pt x="16682563" y="2908861"/>
                  </a:moveTo>
                  <a:lnTo>
                    <a:pt x="16432262" y="3936247"/>
                  </a:lnTo>
                  <a:lnTo>
                    <a:pt x="16106317" y="4477551"/>
                  </a:lnTo>
                  <a:lnTo>
                    <a:pt x="16305649" y="4864880"/>
                  </a:lnTo>
                  <a:lnTo>
                    <a:pt x="16287189" y="5261487"/>
                  </a:lnTo>
                  <a:lnTo>
                    <a:pt x="16372801" y="5827752"/>
                  </a:lnTo>
                  <a:lnTo>
                    <a:pt x="16070155" y="6048138"/>
                  </a:lnTo>
                  <a:lnTo>
                    <a:pt x="15805690" y="6542329"/>
                  </a:lnTo>
                  <a:lnTo>
                    <a:pt x="15195097" y="6204072"/>
                  </a:lnTo>
                  <a:lnTo>
                    <a:pt x="15011380" y="7158922"/>
                  </a:lnTo>
                  <a:lnTo>
                    <a:pt x="14908430" y="8047817"/>
                  </a:lnTo>
                  <a:cubicBezTo>
                    <a:pt x="14907181" y="8322297"/>
                    <a:pt x="14905933" y="8596776"/>
                    <a:pt x="14904684" y="8871256"/>
                  </a:cubicBezTo>
                  <a:lnTo>
                    <a:pt x="14962237" y="10899713"/>
                  </a:lnTo>
                  <a:lnTo>
                    <a:pt x="12952786" y="10952929"/>
                  </a:lnTo>
                  <a:lnTo>
                    <a:pt x="11934663" y="11001179"/>
                  </a:lnTo>
                  <a:lnTo>
                    <a:pt x="8506848" y="11145854"/>
                  </a:lnTo>
                  <a:lnTo>
                    <a:pt x="7985095" y="10500772"/>
                  </a:lnTo>
                  <a:lnTo>
                    <a:pt x="7400308" y="10470627"/>
                  </a:lnTo>
                  <a:lnTo>
                    <a:pt x="6972273" y="10741924"/>
                  </a:lnTo>
                  <a:lnTo>
                    <a:pt x="5181729" y="10657525"/>
                  </a:lnTo>
                  <a:lnTo>
                    <a:pt x="4397998" y="10024508"/>
                  </a:lnTo>
                  <a:lnTo>
                    <a:pt x="2908896" y="9216654"/>
                  </a:lnTo>
                  <a:lnTo>
                    <a:pt x="1263043" y="8505261"/>
                  </a:lnTo>
                  <a:lnTo>
                    <a:pt x="485320" y="8053104"/>
                  </a:lnTo>
                  <a:lnTo>
                    <a:pt x="0" y="7759992"/>
                  </a:lnTo>
                  <a:lnTo>
                    <a:pt x="1003686" y="7014027"/>
                  </a:lnTo>
                  <a:lnTo>
                    <a:pt x="2902551" y="5829628"/>
                  </a:lnTo>
                  <a:lnTo>
                    <a:pt x="2558940" y="5296197"/>
                  </a:lnTo>
                  <a:lnTo>
                    <a:pt x="2402508" y="4609114"/>
                  </a:lnTo>
                  <a:lnTo>
                    <a:pt x="2730740" y="4581943"/>
                  </a:lnTo>
                  <a:lnTo>
                    <a:pt x="2947754" y="4111798"/>
                  </a:lnTo>
                  <a:lnTo>
                    <a:pt x="3499325" y="3668781"/>
                  </a:lnTo>
                  <a:lnTo>
                    <a:pt x="3680166" y="2791783"/>
                  </a:lnTo>
                  <a:lnTo>
                    <a:pt x="4186528" y="2800819"/>
                  </a:lnTo>
                  <a:lnTo>
                    <a:pt x="4837569" y="3270969"/>
                  </a:lnTo>
                  <a:lnTo>
                    <a:pt x="5352976" y="3189602"/>
                  </a:lnTo>
                  <a:lnTo>
                    <a:pt x="5741786" y="2818907"/>
                  </a:lnTo>
                  <a:lnTo>
                    <a:pt x="6157723" y="2656166"/>
                  </a:lnTo>
                  <a:lnTo>
                    <a:pt x="6745471" y="2086573"/>
                  </a:lnTo>
                  <a:lnTo>
                    <a:pt x="6890140" y="1236697"/>
                  </a:lnTo>
                  <a:lnTo>
                    <a:pt x="7568305" y="667103"/>
                  </a:lnTo>
                  <a:lnTo>
                    <a:pt x="8502979" y="0"/>
                  </a:lnTo>
                  <a:lnTo>
                    <a:pt x="8856118" y="605946"/>
                  </a:lnTo>
                  <a:lnTo>
                    <a:pt x="9078849" y="1219510"/>
                  </a:lnTo>
                  <a:lnTo>
                    <a:pt x="9086459" y="1767488"/>
                  </a:lnTo>
                  <a:lnTo>
                    <a:pt x="9761321" y="1670342"/>
                  </a:lnTo>
                  <a:lnTo>
                    <a:pt x="10152517" y="2468612"/>
                  </a:lnTo>
                  <a:lnTo>
                    <a:pt x="11109603" y="2840086"/>
                  </a:lnTo>
                  <a:lnTo>
                    <a:pt x="11919572" y="3113608"/>
                  </a:lnTo>
                  <a:lnTo>
                    <a:pt x="12868275" y="2868397"/>
                  </a:lnTo>
                  <a:lnTo>
                    <a:pt x="13844296" y="2266562"/>
                  </a:lnTo>
                  <a:lnTo>
                    <a:pt x="13886291" y="1432194"/>
                  </a:lnTo>
                  <a:lnTo>
                    <a:pt x="14370431" y="1940546"/>
                  </a:lnTo>
                  <a:lnTo>
                    <a:pt x="15323320" y="2038819"/>
                  </a:lnTo>
                  <a:lnTo>
                    <a:pt x="16350939" y="2163678"/>
                  </a:lnTo>
                  <a:lnTo>
                    <a:pt x="16362364" y="2470958"/>
                  </a:lnTo>
                  <a:lnTo>
                    <a:pt x="16682563" y="2908861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 sz="1200">
                <a:solidFill>
                  <a:sysClr val="windowText" lastClr="000000"/>
                </a:solidFill>
              </a:endParaRPr>
            </a:p>
          </p:txBody>
        </p:sp>
        <p:sp>
          <p:nvSpPr>
            <p:cNvPr id="294" name="任意多边形 100">
              <a:extLst>
                <a:ext uri="{FF2B5EF4-FFF2-40B4-BE49-F238E27FC236}">
                  <a16:creationId xmlns:a16="http://schemas.microsoft.com/office/drawing/2014/main" xmlns="" id="{BF55ADF4-FBAC-FC4B-BE84-930BA5E1BFE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33346" y="1396896"/>
              <a:ext cx="1968177" cy="2589199"/>
            </a:xfrm>
            <a:custGeom>
              <a:avLst/>
              <a:gdLst>
                <a:gd name="connsiteX0" fmla="*/ 477776 w 18447968"/>
                <a:gd name="connsiteY0" fmla="*/ 7436569 h 15946069"/>
                <a:gd name="connsiteX1" fmla="*/ 271294 w 18447968"/>
                <a:gd name="connsiteY1" fmla="*/ 8060457 h 15946069"/>
                <a:gd name="connsiteX2" fmla="*/ 379812 w 18447968"/>
                <a:gd name="connsiteY2" fmla="*/ 8675382 h 15946069"/>
                <a:gd name="connsiteX3" fmla="*/ 759624 w 18447968"/>
                <a:gd name="connsiteY3" fmla="*/ 9217969 h 15946069"/>
                <a:gd name="connsiteX4" fmla="*/ 687278 w 18447968"/>
                <a:gd name="connsiteY4" fmla="*/ 9670126 h 15946069"/>
                <a:gd name="connsiteX5" fmla="*/ 144687 w 18447968"/>
                <a:gd name="connsiteY5" fmla="*/ 9941420 h 15946069"/>
                <a:gd name="connsiteX6" fmla="*/ 343643 w 18447968"/>
                <a:gd name="connsiteY6" fmla="*/ 10592536 h 15946069"/>
                <a:gd name="connsiteX7" fmla="*/ 940487 w 18447968"/>
                <a:gd name="connsiteY7" fmla="*/ 10954252 h 15946069"/>
                <a:gd name="connsiteX8" fmla="*/ 596844 w 18447968"/>
                <a:gd name="connsiteY8" fmla="*/ 11786221 h 15946069"/>
                <a:gd name="connsiteX9" fmla="*/ 633017 w 18447968"/>
                <a:gd name="connsiteY9" fmla="*/ 12780969 h 15946069"/>
                <a:gd name="connsiteX10" fmla="*/ 198944 w 18447968"/>
                <a:gd name="connsiteY10" fmla="*/ 13341645 h 15946069"/>
                <a:gd name="connsiteX11" fmla="*/ 723451 w 18447968"/>
                <a:gd name="connsiteY11" fmla="*/ 13757629 h 15946069"/>
                <a:gd name="connsiteX12" fmla="*/ 1640036 w 18447968"/>
                <a:gd name="connsiteY12" fmla="*/ 13197151 h 15946069"/>
                <a:gd name="connsiteX13" fmla="*/ 1880971 w 18447968"/>
                <a:gd name="connsiteY13" fmla="*/ 13395906 h 15946069"/>
                <a:gd name="connsiteX14" fmla="*/ 2930086 w 18447968"/>
                <a:gd name="connsiteY14" fmla="*/ 12952832 h 15946069"/>
                <a:gd name="connsiteX15" fmla="*/ 3828256 w 18447968"/>
                <a:gd name="connsiteY15" fmla="*/ 13245188 h 15946069"/>
                <a:gd name="connsiteX16" fmla="*/ 4768739 w 18447968"/>
                <a:gd name="connsiteY16" fmla="*/ 13040205 h 15946069"/>
                <a:gd name="connsiteX17" fmla="*/ 5190751 w 18447968"/>
                <a:gd name="connsiteY17" fmla="*/ 13649115 h 15946069"/>
                <a:gd name="connsiteX18" fmla="*/ 5932290 w 18447968"/>
                <a:gd name="connsiteY18" fmla="*/ 13444132 h 15946069"/>
                <a:gd name="connsiteX19" fmla="*/ 6498992 w 18447968"/>
                <a:gd name="connsiteY19" fmla="*/ 12991975 h 15946069"/>
                <a:gd name="connsiteX20" fmla="*/ 7373161 w 18447968"/>
                <a:gd name="connsiteY20" fmla="*/ 13582800 h 15946069"/>
                <a:gd name="connsiteX21" fmla="*/ 8512588 w 18447968"/>
                <a:gd name="connsiteY21" fmla="*/ 13570738 h 15946069"/>
                <a:gd name="connsiteX22" fmla="*/ 9416903 w 18447968"/>
                <a:gd name="connsiteY22" fmla="*/ 13281357 h 15946069"/>
                <a:gd name="connsiteX23" fmla="*/ 9742454 w 18447968"/>
                <a:gd name="connsiteY23" fmla="*/ 14004811 h 15946069"/>
                <a:gd name="connsiteX24" fmla="*/ 10080066 w 18447968"/>
                <a:gd name="connsiteY24" fmla="*/ 14716204 h 15946069"/>
                <a:gd name="connsiteX25" fmla="*/ 10616683 w 18447968"/>
                <a:gd name="connsiteY25" fmla="*/ 15358294 h 15946069"/>
                <a:gd name="connsiteX26" fmla="*/ 11117010 w 18447968"/>
                <a:gd name="connsiteY26" fmla="*/ 15946069 h 15946069"/>
                <a:gd name="connsiteX27" fmla="*/ 11593335 w 18447968"/>
                <a:gd name="connsiteY27" fmla="*/ 15822497 h 15946069"/>
                <a:gd name="connsiteX28" fmla="*/ 11780218 w 18447968"/>
                <a:gd name="connsiteY28" fmla="*/ 13579811 h 15946069"/>
                <a:gd name="connsiteX29" fmla="*/ 11954994 w 18447968"/>
                <a:gd name="connsiteY29" fmla="*/ 12135890 h 15946069"/>
                <a:gd name="connsiteX30" fmla="*/ 12196146 w 18447968"/>
                <a:gd name="connsiteY30" fmla="*/ 11388328 h 15946069"/>
                <a:gd name="connsiteX31" fmla="*/ 13166775 w 18447968"/>
                <a:gd name="connsiteY31" fmla="*/ 11707856 h 15946069"/>
                <a:gd name="connsiteX32" fmla="*/ 14004775 w 18447968"/>
                <a:gd name="connsiteY32" fmla="*/ 11611395 h 15946069"/>
                <a:gd name="connsiteX33" fmla="*/ 14939235 w 18447968"/>
                <a:gd name="connsiteY33" fmla="*/ 11322014 h 15946069"/>
                <a:gd name="connsiteX34" fmla="*/ 15409477 w 18447968"/>
                <a:gd name="connsiteY34" fmla="*/ 11882693 h 15946069"/>
                <a:gd name="connsiteX35" fmla="*/ 15861634 w 18447968"/>
                <a:gd name="connsiteY35" fmla="*/ 11273783 h 15946069"/>
                <a:gd name="connsiteX36" fmla="*/ 16413199 w 18447968"/>
                <a:gd name="connsiteY36" fmla="*/ 10920339 h 15946069"/>
                <a:gd name="connsiteX37" fmla="*/ 16765948 w 18447968"/>
                <a:gd name="connsiteY37" fmla="*/ 10200671 h 15946069"/>
                <a:gd name="connsiteX38" fmla="*/ 16428336 w 18447968"/>
                <a:gd name="connsiteY38" fmla="*/ 9374732 h 15946069"/>
                <a:gd name="connsiteX39" fmla="*/ 15946033 w 18447968"/>
                <a:gd name="connsiteY39" fmla="*/ 8440272 h 15946069"/>
                <a:gd name="connsiteX40" fmla="*/ 16024409 w 18447968"/>
                <a:gd name="connsiteY40" fmla="*/ 7433474 h 15946069"/>
                <a:gd name="connsiteX41" fmla="*/ 16958870 w 18447968"/>
                <a:gd name="connsiteY41" fmla="*/ 6776350 h 15946069"/>
                <a:gd name="connsiteX42" fmla="*/ 17911414 w 18447968"/>
                <a:gd name="connsiteY42" fmla="*/ 6083041 h 15946069"/>
                <a:gd name="connsiteX43" fmla="*/ 17694370 w 18447968"/>
                <a:gd name="connsiteY43" fmla="*/ 5570592 h 15946069"/>
                <a:gd name="connsiteX44" fmla="*/ 17385711 w 18447968"/>
                <a:gd name="connsiteY44" fmla="*/ 5219213 h 15946069"/>
                <a:gd name="connsiteX45" fmla="*/ 17637701 w 18447968"/>
                <a:gd name="connsiteY45" fmla="*/ 4819407 h 15946069"/>
                <a:gd name="connsiteX46" fmla="*/ 18171858 w 18447968"/>
                <a:gd name="connsiteY46" fmla="*/ 4701949 h 15946069"/>
                <a:gd name="connsiteX47" fmla="*/ 18447970 w 18447968"/>
                <a:gd name="connsiteY47" fmla="*/ 4316604 h 15946069"/>
                <a:gd name="connsiteX48" fmla="*/ 17814953 w 18447968"/>
                <a:gd name="connsiteY48" fmla="*/ 4117660 h 15946069"/>
                <a:gd name="connsiteX49" fmla="*/ 17067422 w 18447968"/>
                <a:gd name="connsiteY49" fmla="*/ 3472551 h 15946069"/>
                <a:gd name="connsiteX50" fmla="*/ 16852763 w 18447968"/>
                <a:gd name="connsiteY50" fmla="*/ 3282076 h 15946069"/>
                <a:gd name="connsiteX51" fmla="*/ 16161870 w 18447968"/>
                <a:gd name="connsiteY51" fmla="*/ 4063407 h 15946069"/>
                <a:gd name="connsiteX52" fmla="*/ 14429201 w 18447968"/>
                <a:gd name="connsiteY52" fmla="*/ 4027238 h 15946069"/>
                <a:gd name="connsiteX53" fmla="*/ 13383819 w 18447968"/>
                <a:gd name="connsiteY53" fmla="*/ 2963756 h 15946069"/>
                <a:gd name="connsiteX54" fmla="*/ 12493981 w 18447968"/>
                <a:gd name="connsiteY54" fmla="*/ 2927587 h 15946069"/>
                <a:gd name="connsiteX55" fmla="*/ 11976717 w 18447968"/>
                <a:gd name="connsiteY55" fmla="*/ 2139025 h 15946069"/>
                <a:gd name="connsiteX56" fmla="*/ 11484768 w 18447968"/>
                <a:gd name="connsiteY56" fmla="*/ 1495155 h 15946069"/>
                <a:gd name="connsiteX57" fmla="*/ 10830043 w 18447968"/>
                <a:gd name="connsiteY57" fmla="*/ 1256418 h 15946069"/>
                <a:gd name="connsiteX58" fmla="*/ 10323633 w 18447968"/>
                <a:gd name="connsiteY58" fmla="*/ 1220249 h 15946069"/>
                <a:gd name="connsiteX59" fmla="*/ 9802745 w 18447968"/>
                <a:gd name="connsiteY59" fmla="*/ 1603676 h 15946069"/>
                <a:gd name="connsiteX60" fmla="*/ 9223982 w 18447968"/>
                <a:gd name="connsiteY60" fmla="*/ 1621761 h 15946069"/>
                <a:gd name="connsiteX61" fmla="*/ 8782678 w 18447968"/>
                <a:gd name="connsiteY61" fmla="*/ 2171586 h 15946069"/>
                <a:gd name="connsiteX62" fmla="*/ 8272645 w 18447968"/>
                <a:gd name="connsiteY62" fmla="*/ 2102856 h 15946069"/>
                <a:gd name="connsiteX63" fmla="*/ 7853048 w 18447968"/>
                <a:gd name="connsiteY63" fmla="*/ 2526075 h 15946069"/>
                <a:gd name="connsiteX64" fmla="*/ 7323799 w 18447968"/>
                <a:gd name="connsiteY64" fmla="*/ 2632907 h 15946069"/>
                <a:gd name="connsiteX65" fmla="*/ 6977672 w 18447968"/>
                <a:gd name="connsiteY65" fmla="*/ 2178817 h 15946069"/>
                <a:gd name="connsiteX66" fmla="*/ 6594245 w 18447968"/>
                <a:gd name="connsiteY66" fmla="*/ 2055834 h 15946069"/>
                <a:gd name="connsiteX67" fmla="*/ 6431470 w 18447968"/>
                <a:gd name="connsiteY67" fmla="*/ 1314295 h 15946069"/>
                <a:gd name="connsiteX68" fmla="*/ 5642908 w 18447968"/>
                <a:gd name="connsiteY68" fmla="*/ 1343233 h 15946069"/>
                <a:gd name="connsiteX69" fmla="*/ 5150959 w 18447968"/>
                <a:gd name="connsiteY69" fmla="*/ 1610907 h 15946069"/>
                <a:gd name="connsiteX70" fmla="*/ 5480133 w 18447968"/>
                <a:gd name="connsiteY70" fmla="*/ 2167963 h 15946069"/>
                <a:gd name="connsiteX71" fmla="*/ 4742216 w 18447968"/>
                <a:gd name="connsiteY71" fmla="*/ 2862495 h 15946069"/>
                <a:gd name="connsiteX72" fmla="*/ 2658667 w 18447968"/>
                <a:gd name="connsiteY72" fmla="*/ 0 h 15946069"/>
                <a:gd name="connsiteX73" fmla="*/ 2658682 w 18447968"/>
                <a:gd name="connsiteY73" fmla="*/ 1018890 h 15946069"/>
                <a:gd name="connsiteX74" fmla="*/ 1850829 w 18447968"/>
                <a:gd name="connsiteY74" fmla="*/ 1730283 h 15946069"/>
                <a:gd name="connsiteX75" fmla="*/ 1404694 w 18447968"/>
                <a:gd name="connsiteY75" fmla="*/ 2272862 h 15946069"/>
                <a:gd name="connsiteX76" fmla="*/ 2351216 w 18447968"/>
                <a:gd name="connsiteY76" fmla="*/ 3388182 h 15946069"/>
                <a:gd name="connsiteX77" fmla="*/ 2658682 w 18447968"/>
                <a:gd name="connsiteY77" fmla="*/ 4286458 h 15946069"/>
                <a:gd name="connsiteX78" fmla="*/ 1935228 w 18447968"/>
                <a:gd name="connsiteY78" fmla="*/ 5220918 h 15946069"/>
                <a:gd name="connsiteX79" fmla="*/ 875281 w 18447968"/>
                <a:gd name="connsiteY79" fmla="*/ 5166646 h 15946069"/>
                <a:gd name="connsiteX80" fmla="*/ 0 w 18447968"/>
                <a:gd name="connsiteY80" fmla="*/ 5890112 h 15946069"/>
                <a:gd name="connsiteX81" fmla="*/ 72345 w 18447968"/>
                <a:gd name="connsiteY81" fmla="*/ 6921032 h 15946069"/>
                <a:gd name="connsiteX82" fmla="*/ 477776 w 18447968"/>
                <a:gd name="connsiteY82" fmla="*/ 7436569 h 15946069"/>
                <a:gd name="connsiteX0" fmla="*/ 477776 w 18447968"/>
                <a:gd name="connsiteY0" fmla="*/ 7436569 h 15946069"/>
                <a:gd name="connsiteX1" fmla="*/ 271294 w 18447968"/>
                <a:gd name="connsiteY1" fmla="*/ 8060457 h 15946069"/>
                <a:gd name="connsiteX2" fmla="*/ 379812 w 18447968"/>
                <a:gd name="connsiteY2" fmla="*/ 8675382 h 15946069"/>
                <a:gd name="connsiteX3" fmla="*/ 759624 w 18447968"/>
                <a:gd name="connsiteY3" fmla="*/ 9217969 h 15946069"/>
                <a:gd name="connsiteX4" fmla="*/ 687278 w 18447968"/>
                <a:gd name="connsiteY4" fmla="*/ 9670126 h 15946069"/>
                <a:gd name="connsiteX5" fmla="*/ 144687 w 18447968"/>
                <a:gd name="connsiteY5" fmla="*/ 9941420 h 15946069"/>
                <a:gd name="connsiteX6" fmla="*/ 343643 w 18447968"/>
                <a:gd name="connsiteY6" fmla="*/ 10592536 h 15946069"/>
                <a:gd name="connsiteX7" fmla="*/ 940487 w 18447968"/>
                <a:gd name="connsiteY7" fmla="*/ 10954252 h 15946069"/>
                <a:gd name="connsiteX8" fmla="*/ 596844 w 18447968"/>
                <a:gd name="connsiteY8" fmla="*/ 11786221 h 15946069"/>
                <a:gd name="connsiteX9" fmla="*/ 633017 w 18447968"/>
                <a:gd name="connsiteY9" fmla="*/ 12780969 h 15946069"/>
                <a:gd name="connsiteX10" fmla="*/ 198944 w 18447968"/>
                <a:gd name="connsiteY10" fmla="*/ 13341645 h 15946069"/>
                <a:gd name="connsiteX11" fmla="*/ 723451 w 18447968"/>
                <a:gd name="connsiteY11" fmla="*/ 13757629 h 15946069"/>
                <a:gd name="connsiteX12" fmla="*/ 1640036 w 18447968"/>
                <a:gd name="connsiteY12" fmla="*/ 13197151 h 15946069"/>
                <a:gd name="connsiteX13" fmla="*/ 1880971 w 18447968"/>
                <a:gd name="connsiteY13" fmla="*/ 13395906 h 15946069"/>
                <a:gd name="connsiteX14" fmla="*/ 2930086 w 18447968"/>
                <a:gd name="connsiteY14" fmla="*/ 12952832 h 15946069"/>
                <a:gd name="connsiteX15" fmla="*/ 3828256 w 18447968"/>
                <a:gd name="connsiteY15" fmla="*/ 13245188 h 15946069"/>
                <a:gd name="connsiteX16" fmla="*/ 4768739 w 18447968"/>
                <a:gd name="connsiteY16" fmla="*/ 13040205 h 15946069"/>
                <a:gd name="connsiteX17" fmla="*/ 5190751 w 18447968"/>
                <a:gd name="connsiteY17" fmla="*/ 13649115 h 15946069"/>
                <a:gd name="connsiteX18" fmla="*/ 5932290 w 18447968"/>
                <a:gd name="connsiteY18" fmla="*/ 13444132 h 15946069"/>
                <a:gd name="connsiteX19" fmla="*/ 6498992 w 18447968"/>
                <a:gd name="connsiteY19" fmla="*/ 12991975 h 15946069"/>
                <a:gd name="connsiteX20" fmla="*/ 7373161 w 18447968"/>
                <a:gd name="connsiteY20" fmla="*/ 13582800 h 15946069"/>
                <a:gd name="connsiteX21" fmla="*/ 8512588 w 18447968"/>
                <a:gd name="connsiteY21" fmla="*/ 13570738 h 15946069"/>
                <a:gd name="connsiteX22" fmla="*/ 9416903 w 18447968"/>
                <a:gd name="connsiteY22" fmla="*/ 13281357 h 15946069"/>
                <a:gd name="connsiteX23" fmla="*/ 9742454 w 18447968"/>
                <a:gd name="connsiteY23" fmla="*/ 14004811 h 15946069"/>
                <a:gd name="connsiteX24" fmla="*/ 10080066 w 18447968"/>
                <a:gd name="connsiteY24" fmla="*/ 14716204 h 15946069"/>
                <a:gd name="connsiteX25" fmla="*/ 10616683 w 18447968"/>
                <a:gd name="connsiteY25" fmla="*/ 15358294 h 15946069"/>
                <a:gd name="connsiteX26" fmla="*/ 11117010 w 18447968"/>
                <a:gd name="connsiteY26" fmla="*/ 15946069 h 15946069"/>
                <a:gd name="connsiteX27" fmla="*/ 11593335 w 18447968"/>
                <a:gd name="connsiteY27" fmla="*/ 15822497 h 15946069"/>
                <a:gd name="connsiteX28" fmla="*/ 11780218 w 18447968"/>
                <a:gd name="connsiteY28" fmla="*/ 13579811 h 15946069"/>
                <a:gd name="connsiteX29" fmla="*/ 11954994 w 18447968"/>
                <a:gd name="connsiteY29" fmla="*/ 12135890 h 15946069"/>
                <a:gd name="connsiteX30" fmla="*/ 12196146 w 18447968"/>
                <a:gd name="connsiteY30" fmla="*/ 11388328 h 15946069"/>
                <a:gd name="connsiteX31" fmla="*/ 13166775 w 18447968"/>
                <a:gd name="connsiteY31" fmla="*/ 11707856 h 15946069"/>
                <a:gd name="connsiteX32" fmla="*/ 14004775 w 18447968"/>
                <a:gd name="connsiteY32" fmla="*/ 11611395 h 15946069"/>
                <a:gd name="connsiteX33" fmla="*/ 14939235 w 18447968"/>
                <a:gd name="connsiteY33" fmla="*/ 11322014 h 15946069"/>
                <a:gd name="connsiteX34" fmla="*/ 15409477 w 18447968"/>
                <a:gd name="connsiteY34" fmla="*/ 11882693 h 15946069"/>
                <a:gd name="connsiteX35" fmla="*/ 15861634 w 18447968"/>
                <a:gd name="connsiteY35" fmla="*/ 11273783 h 15946069"/>
                <a:gd name="connsiteX36" fmla="*/ 16413199 w 18447968"/>
                <a:gd name="connsiteY36" fmla="*/ 10920339 h 15946069"/>
                <a:gd name="connsiteX37" fmla="*/ 16765948 w 18447968"/>
                <a:gd name="connsiteY37" fmla="*/ 10200671 h 15946069"/>
                <a:gd name="connsiteX38" fmla="*/ 16428336 w 18447968"/>
                <a:gd name="connsiteY38" fmla="*/ 9374732 h 15946069"/>
                <a:gd name="connsiteX39" fmla="*/ 15946033 w 18447968"/>
                <a:gd name="connsiteY39" fmla="*/ 8440272 h 15946069"/>
                <a:gd name="connsiteX40" fmla="*/ 16024409 w 18447968"/>
                <a:gd name="connsiteY40" fmla="*/ 7433474 h 15946069"/>
                <a:gd name="connsiteX41" fmla="*/ 16958870 w 18447968"/>
                <a:gd name="connsiteY41" fmla="*/ 6776350 h 15946069"/>
                <a:gd name="connsiteX42" fmla="*/ 17911414 w 18447968"/>
                <a:gd name="connsiteY42" fmla="*/ 6083041 h 15946069"/>
                <a:gd name="connsiteX43" fmla="*/ 17694370 w 18447968"/>
                <a:gd name="connsiteY43" fmla="*/ 5570592 h 15946069"/>
                <a:gd name="connsiteX44" fmla="*/ 17385711 w 18447968"/>
                <a:gd name="connsiteY44" fmla="*/ 5219213 h 15946069"/>
                <a:gd name="connsiteX45" fmla="*/ 17637701 w 18447968"/>
                <a:gd name="connsiteY45" fmla="*/ 4819407 h 15946069"/>
                <a:gd name="connsiteX46" fmla="*/ 18171858 w 18447968"/>
                <a:gd name="connsiteY46" fmla="*/ 4701949 h 15946069"/>
                <a:gd name="connsiteX47" fmla="*/ 18447970 w 18447968"/>
                <a:gd name="connsiteY47" fmla="*/ 4316604 h 15946069"/>
                <a:gd name="connsiteX48" fmla="*/ 17814953 w 18447968"/>
                <a:gd name="connsiteY48" fmla="*/ 4117660 h 15946069"/>
                <a:gd name="connsiteX49" fmla="*/ 17067422 w 18447968"/>
                <a:gd name="connsiteY49" fmla="*/ 3472551 h 15946069"/>
                <a:gd name="connsiteX50" fmla="*/ 16852763 w 18447968"/>
                <a:gd name="connsiteY50" fmla="*/ 3282076 h 15946069"/>
                <a:gd name="connsiteX51" fmla="*/ 14429201 w 18447968"/>
                <a:gd name="connsiteY51" fmla="*/ 4027238 h 15946069"/>
                <a:gd name="connsiteX52" fmla="*/ 13383819 w 18447968"/>
                <a:gd name="connsiteY52" fmla="*/ 2963756 h 15946069"/>
                <a:gd name="connsiteX53" fmla="*/ 12493981 w 18447968"/>
                <a:gd name="connsiteY53" fmla="*/ 2927587 h 15946069"/>
                <a:gd name="connsiteX54" fmla="*/ 11976717 w 18447968"/>
                <a:gd name="connsiteY54" fmla="*/ 2139025 h 15946069"/>
                <a:gd name="connsiteX55" fmla="*/ 11484768 w 18447968"/>
                <a:gd name="connsiteY55" fmla="*/ 1495155 h 15946069"/>
                <a:gd name="connsiteX56" fmla="*/ 10830043 w 18447968"/>
                <a:gd name="connsiteY56" fmla="*/ 1256418 h 15946069"/>
                <a:gd name="connsiteX57" fmla="*/ 10323633 w 18447968"/>
                <a:gd name="connsiteY57" fmla="*/ 1220249 h 15946069"/>
                <a:gd name="connsiteX58" fmla="*/ 9802745 w 18447968"/>
                <a:gd name="connsiteY58" fmla="*/ 1603676 h 15946069"/>
                <a:gd name="connsiteX59" fmla="*/ 9223982 w 18447968"/>
                <a:gd name="connsiteY59" fmla="*/ 1621761 h 15946069"/>
                <a:gd name="connsiteX60" fmla="*/ 8782678 w 18447968"/>
                <a:gd name="connsiteY60" fmla="*/ 2171586 h 15946069"/>
                <a:gd name="connsiteX61" fmla="*/ 8272645 w 18447968"/>
                <a:gd name="connsiteY61" fmla="*/ 2102856 h 15946069"/>
                <a:gd name="connsiteX62" fmla="*/ 7853048 w 18447968"/>
                <a:gd name="connsiteY62" fmla="*/ 2526075 h 15946069"/>
                <a:gd name="connsiteX63" fmla="*/ 7323799 w 18447968"/>
                <a:gd name="connsiteY63" fmla="*/ 2632907 h 15946069"/>
                <a:gd name="connsiteX64" fmla="*/ 6977672 w 18447968"/>
                <a:gd name="connsiteY64" fmla="*/ 2178817 h 15946069"/>
                <a:gd name="connsiteX65" fmla="*/ 6594245 w 18447968"/>
                <a:gd name="connsiteY65" fmla="*/ 2055834 h 15946069"/>
                <a:gd name="connsiteX66" fmla="*/ 6431470 w 18447968"/>
                <a:gd name="connsiteY66" fmla="*/ 1314295 h 15946069"/>
                <a:gd name="connsiteX67" fmla="*/ 5642908 w 18447968"/>
                <a:gd name="connsiteY67" fmla="*/ 1343233 h 15946069"/>
                <a:gd name="connsiteX68" fmla="*/ 5150959 w 18447968"/>
                <a:gd name="connsiteY68" fmla="*/ 1610907 h 15946069"/>
                <a:gd name="connsiteX69" fmla="*/ 5480133 w 18447968"/>
                <a:gd name="connsiteY69" fmla="*/ 2167963 h 15946069"/>
                <a:gd name="connsiteX70" fmla="*/ 4742216 w 18447968"/>
                <a:gd name="connsiteY70" fmla="*/ 2862495 h 15946069"/>
                <a:gd name="connsiteX71" fmla="*/ 2658667 w 18447968"/>
                <a:gd name="connsiteY71" fmla="*/ 0 h 15946069"/>
                <a:gd name="connsiteX72" fmla="*/ 2658682 w 18447968"/>
                <a:gd name="connsiteY72" fmla="*/ 1018890 h 15946069"/>
                <a:gd name="connsiteX73" fmla="*/ 1850829 w 18447968"/>
                <a:gd name="connsiteY73" fmla="*/ 1730283 h 15946069"/>
                <a:gd name="connsiteX74" fmla="*/ 1404694 w 18447968"/>
                <a:gd name="connsiteY74" fmla="*/ 2272862 h 15946069"/>
                <a:gd name="connsiteX75" fmla="*/ 2351216 w 18447968"/>
                <a:gd name="connsiteY75" fmla="*/ 3388182 h 15946069"/>
                <a:gd name="connsiteX76" fmla="*/ 2658682 w 18447968"/>
                <a:gd name="connsiteY76" fmla="*/ 4286458 h 15946069"/>
                <a:gd name="connsiteX77" fmla="*/ 1935228 w 18447968"/>
                <a:gd name="connsiteY77" fmla="*/ 5220918 h 15946069"/>
                <a:gd name="connsiteX78" fmla="*/ 875281 w 18447968"/>
                <a:gd name="connsiteY78" fmla="*/ 5166646 h 15946069"/>
                <a:gd name="connsiteX79" fmla="*/ 0 w 18447968"/>
                <a:gd name="connsiteY79" fmla="*/ 5890112 h 15946069"/>
                <a:gd name="connsiteX80" fmla="*/ 72345 w 18447968"/>
                <a:gd name="connsiteY80" fmla="*/ 6921032 h 15946069"/>
                <a:gd name="connsiteX81" fmla="*/ 477776 w 18447968"/>
                <a:gd name="connsiteY81" fmla="*/ 7436569 h 15946069"/>
                <a:gd name="connsiteX0" fmla="*/ 477776 w 18447968"/>
                <a:gd name="connsiteY0" fmla="*/ 7436569 h 15946069"/>
                <a:gd name="connsiteX1" fmla="*/ 271294 w 18447968"/>
                <a:gd name="connsiteY1" fmla="*/ 8060457 h 15946069"/>
                <a:gd name="connsiteX2" fmla="*/ 379812 w 18447968"/>
                <a:gd name="connsiteY2" fmla="*/ 8675382 h 15946069"/>
                <a:gd name="connsiteX3" fmla="*/ 759624 w 18447968"/>
                <a:gd name="connsiteY3" fmla="*/ 9217969 h 15946069"/>
                <a:gd name="connsiteX4" fmla="*/ 687278 w 18447968"/>
                <a:gd name="connsiteY4" fmla="*/ 9670126 h 15946069"/>
                <a:gd name="connsiteX5" fmla="*/ 144687 w 18447968"/>
                <a:gd name="connsiteY5" fmla="*/ 9941420 h 15946069"/>
                <a:gd name="connsiteX6" fmla="*/ 343643 w 18447968"/>
                <a:gd name="connsiteY6" fmla="*/ 10592536 h 15946069"/>
                <a:gd name="connsiteX7" fmla="*/ 940487 w 18447968"/>
                <a:gd name="connsiteY7" fmla="*/ 10954252 h 15946069"/>
                <a:gd name="connsiteX8" fmla="*/ 596844 w 18447968"/>
                <a:gd name="connsiteY8" fmla="*/ 11786221 h 15946069"/>
                <a:gd name="connsiteX9" fmla="*/ 633017 w 18447968"/>
                <a:gd name="connsiteY9" fmla="*/ 12780969 h 15946069"/>
                <a:gd name="connsiteX10" fmla="*/ 198944 w 18447968"/>
                <a:gd name="connsiteY10" fmla="*/ 13341645 h 15946069"/>
                <a:gd name="connsiteX11" fmla="*/ 723451 w 18447968"/>
                <a:gd name="connsiteY11" fmla="*/ 13757629 h 15946069"/>
                <a:gd name="connsiteX12" fmla="*/ 1640036 w 18447968"/>
                <a:gd name="connsiteY12" fmla="*/ 13197151 h 15946069"/>
                <a:gd name="connsiteX13" fmla="*/ 1880971 w 18447968"/>
                <a:gd name="connsiteY13" fmla="*/ 13395906 h 15946069"/>
                <a:gd name="connsiteX14" fmla="*/ 2930086 w 18447968"/>
                <a:gd name="connsiteY14" fmla="*/ 12952832 h 15946069"/>
                <a:gd name="connsiteX15" fmla="*/ 3828256 w 18447968"/>
                <a:gd name="connsiteY15" fmla="*/ 13245188 h 15946069"/>
                <a:gd name="connsiteX16" fmla="*/ 4768739 w 18447968"/>
                <a:gd name="connsiteY16" fmla="*/ 13040205 h 15946069"/>
                <a:gd name="connsiteX17" fmla="*/ 5190751 w 18447968"/>
                <a:gd name="connsiteY17" fmla="*/ 13649115 h 15946069"/>
                <a:gd name="connsiteX18" fmla="*/ 5932290 w 18447968"/>
                <a:gd name="connsiteY18" fmla="*/ 13444132 h 15946069"/>
                <a:gd name="connsiteX19" fmla="*/ 6498992 w 18447968"/>
                <a:gd name="connsiteY19" fmla="*/ 12991975 h 15946069"/>
                <a:gd name="connsiteX20" fmla="*/ 7373161 w 18447968"/>
                <a:gd name="connsiteY20" fmla="*/ 13582800 h 15946069"/>
                <a:gd name="connsiteX21" fmla="*/ 8512588 w 18447968"/>
                <a:gd name="connsiteY21" fmla="*/ 13570738 h 15946069"/>
                <a:gd name="connsiteX22" fmla="*/ 9416903 w 18447968"/>
                <a:gd name="connsiteY22" fmla="*/ 13281357 h 15946069"/>
                <a:gd name="connsiteX23" fmla="*/ 9742454 w 18447968"/>
                <a:gd name="connsiteY23" fmla="*/ 14004811 h 15946069"/>
                <a:gd name="connsiteX24" fmla="*/ 10080066 w 18447968"/>
                <a:gd name="connsiteY24" fmla="*/ 14716204 h 15946069"/>
                <a:gd name="connsiteX25" fmla="*/ 10616683 w 18447968"/>
                <a:gd name="connsiteY25" fmla="*/ 15358294 h 15946069"/>
                <a:gd name="connsiteX26" fmla="*/ 11117010 w 18447968"/>
                <a:gd name="connsiteY26" fmla="*/ 15946069 h 15946069"/>
                <a:gd name="connsiteX27" fmla="*/ 11593335 w 18447968"/>
                <a:gd name="connsiteY27" fmla="*/ 15822497 h 15946069"/>
                <a:gd name="connsiteX28" fmla="*/ 11780218 w 18447968"/>
                <a:gd name="connsiteY28" fmla="*/ 13579811 h 15946069"/>
                <a:gd name="connsiteX29" fmla="*/ 11954994 w 18447968"/>
                <a:gd name="connsiteY29" fmla="*/ 12135890 h 15946069"/>
                <a:gd name="connsiteX30" fmla="*/ 12196146 w 18447968"/>
                <a:gd name="connsiteY30" fmla="*/ 11388328 h 15946069"/>
                <a:gd name="connsiteX31" fmla="*/ 13166775 w 18447968"/>
                <a:gd name="connsiteY31" fmla="*/ 11707856 h 15946069"/>
                <a:gd name="connsiteX32" fmla="*/ 14004775 w 18447968"/>
                <a:gd name="connsiteY32" fmla="*/ 11611395 h 15946069"/>
                <a:gd name="connsiteX33" fmla="*/ 14939235 w 18447968"/>
                <a:gd name="connsiteY33" fmla="*/ 11322014 h 15946069"/>
                <a:gd name="connsiteX34" fmla="*/ 15409477 w 18447968"/>
                <a:gd name="connsiteY34" fmla="*/ 11882693 h 15946069"/>
                <a:gd name="connsiteX35" fmla="*/ 15861634 w 18447968"/>
                <a:gd name="connsiteY35" fmla="*/ 11273783 h 15946069"/>
                <a:gd name="connsiteX36" fmla="*/ 16413199 w 18447968"/>
                <a:gd name="connsiteY36" fmla="*/ 10920339 h 15946069"/>
                <a:gd name="connsiteX37" fmla="*/ 16765948 w 18447968"/>
                <a:gd name="connsiteY37" fmla="*/ 10200671 h 15946069"/>
                <a:gd name="connsiteX38" fmla="*/ 16428336 w 18447968"/>
                <a:gd name="connsiteY38" fmla="*/ 9374732 h 15946069"/>
                <a:gd name="connsiteX39" fmla="*/ 15946033 w 18447968"/>
                <a:gd name="connsiteY39" fmla="*/ 8440272 h 15946069"/>
                <a:gd name="connsiteX40" fmla="*/ 16024409 w 18447968"/>
                <a:gd name="connsiteY40" fmla="*/ 7433474 h 15946069"/>
                <a:gd name="connsiteX41" fmla="*/ 16958870 w 18447968"/>
                <a:gd name="connsiteY41" fmla="*/ 6776350 h 15946069"/>
                <a:gd name="connsiteX42" fmla="*/ 17911414 w 18447968"/>
                <a:gd name="connsiteY42" fmla="*/ 6083041 h 15946069"/>
                <a:gd name="connsiteX43" fmla="*/ 17694370 w 18447968"/>
                <a:gd name="connsiteY43" fmla="*/ 5570592 h 15946069"/>
                <a:gd name="connsiteX44" fmla="*/ 17385711 w 18447968"/>
                <a:gd name="connsiteY44" fmla="*/ 5219213 h 15946069"/>
                <a:gd name="connsiteX45" fmla="*/ 17637701 w 18447968"/>
                <a:gd name="connsiteY45" fmla="*/ 4819407 h 15946069"/>
                <a:gd name="connsiteX46" fmla="*/ 18171858 w 18447968"/>
                <a:gd name="connsiteY46" fmla="*/ 4701949 h 15946069"/>
                <a:gd name="connsiteX47" fmla="*/ 18447970 w 18447968"/>
                <a:gd name="connsiteY47" fmla="*/ 4316604 h 15946069"/>
                <a:gd name="connsiteX48" fmla="*/ 17814953 w 18447968"/>
                <a:gd name="connsiteY48" fmla="*/ 4117660 h 15946069"/>
                <a:gd name="connsiteX49" fmla="*/ 16852763 w 18447968"/>
                <a:gd name="connsiteY49" fmla="*/ 3282076 h 15946069"/>
                <a:gd name="connsiteX50" fmla="*/ 14429201 w 18447968"/>
                <a:gd name="connsiteY50" fmla="*/ 4027238 h 15946069"/>
                <a:gd name="connsiteX51" fmla="*/ 13383819 w 18447968"/>
                <a:gd name="connsiteY51" fmla="*/ 2963756 h 15946069"/>
                <a:gd name="connsiteX52" fmla="*/ 12493981 w 18447968"/>
                <a:gd name="connsiteY52" fmla="*/ 2927587 h 15946069"/>
                <a:gd name="connsiteX53" fmla="*/ 11976717 w 18447968"/>
                <a:gd name="connsiteY53" fmla="*/ 2139025 h 15946069"/>
                <a:gd name="connsiteX54" fmla="*/ 11484768 w 18447968"/>
                <a:gd name="connsiteY54" fmla="*/ 1495155 h 15946069"/>
                <a:gd name="connsiteX55" fmla="*/ 10830043 w 18447968"/>
                <a:gd name="connsiteY55" fmla="*/ 1256418 h 15946069"/>
                <a:gd name="connsiteX56" fmla="*/ 10323633 w 18447968"/>
                <a:gd name="connsiteY56" fmla="*/ 1220249 h 15946069"/>
                <a:gd name="connsiteX57" fmla="*/ 9802745 w 18447968"/>
                <a:gd name="connsiteY57" fmla="*/ 1603676 h 15946069"/>
                <a:gd name="connsiteX58" fmla="*/ 9223982 w 18447968"/>
                <a:gd name="connsiteY58" fmla="*/ 1621761 h 15946069"/>
                <a:gd name="connsiteX59" fmla="*/ 8782678 w 18447968"/>
                <a:gd name="connsiteY59" fmla="*/ 2171586 h 15946069"/>
                <a:gd name="connsiteX60" fmla="*/ 8272645 w 18447968"/>
                <a:gd name="connsiteY60" fmla="*/ 2102856 h 15946069"/>
                <a:gd name="connsiteX61" fmla="*/ 7853048 w 18447968"/>
                <a:gd name="connsiteY61" fmla="*/ 2526075 h 15946069"/>
                <a:gd name="connsiteX62" fmla="*/ 7323799 w 18447968"/>
                <a:gd name="connsiteY62" fmla="*/ 2632907 h 15946069"/>
                <a:gd name="connsiteX63" fmla="*/ 6977672 w 18447968"/>
                <a:gd name="connsiteY63" fmla="*/ 2178817 h 15946069"/>
                <a:gd name="connsiteX64" fmla="*/ 6594245 w 18447968"/>
                <a:gd name="connsiteY64" fmla="*/ 2055834 h 15946069"/>
                <a:gd name="connsiteX65" fmla="*/ 6431470 w 18447968"/>
                <a:gd name="connsiteY65" fmla="*/ 1314295 h 15946069"/>
                <a:gd name="connsiteX66" fmla="*/ 5642908 w 18447968"/>
                <a:gd name="connsiteY66" fmla="*/ 1343233 h 15946069"/>
                <a:gd name="connsiteX67" fmla="*/ 5150959 w 18447968"/>
                <a:gd name="connsiteY67" fmla="*/ 1610907 h 15946069"/>
                <a:gd name="connsiteX68" fmla="*/ 5480133 w 18447968"/>
                <a:gd name="connsiteY68" fmla="*/ 2167963 h 15946069"/>
                <a:gd name="connsiteX69" fmla="*/ 4742216 w 18447968"/>
                <a:gd name="connsiteY69" fmla="*/ 2862495 h 15946069"/>
                <a:gd name="connsiteX70" fmla="*/ 2658667 w 18447968"/>
                <a:gd name="connsiteY70" fmla="*/ 0 h 15946069"/>
                <a:gd name="connsiteX71" fmla="*/ 2658682 w 18447968"/>
                <a:gd name="connsiteY71" fmla="*/ 1018890 h 15946069"/>
                <a:gd name="connsiteX72" fmla="*/ 1850829 w 18447968"/>
                <a:gd name="connsiteY72" fmla="*/ 1730283 h 15946069"/>
                <a:gd name="connsiteX73" fmla="*/ 1404694 w 18447968"/>
                <a:gd name="connsiteY73" fmla="*/ 2272862 h 15946069"/>
                <a:gd name="connsiteX74" fmla="*/ 2351216 w 18447968"/>
                <a:gd name="connsiteY74" fmla="*/ 3388182 h 15946069"/>
                <a:gd name="connsiteX75" fmla="*/ 2658682 w 18447968"/>
                <a:gd name="connsiteY75" fmla="*/ 4286458 h 15946069"/>
                <a:gd name="connsiteX76" fmla="*/ 1935228 w 18447968"/>
                <a:gd name="connsiteY76" fmla="*/ 5220918 h 15946069"/>
                <a:gd name="connsiteX77" fmla="*/ 875281 w 18447968"/>
                <a:gd name="connsiteY77" fmla="*/ 5166646 h 15946069"/>
                <a:gd name="connsiteX78" fmla="*/ 0 w 18447968"/>
                <a:gd name="connsiteY78" fmla="*/ 5890112 h 15946069"/>
                <a:gd name="connsiteX79" fmla="*/ 72345 w 18447968"/>
                <a:gd name="connsiteY79" fmla="*/ 6921032 h 15946069"/>
                <a:gd name="connsiteX80" fmla="*/ 477776 w 18447968"/>
                <a:gd name="connsiteY8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416903 w 18171859"/>
                <a:gd name="connsiteY22" fmla="*/ 13281357 h 15946069"/>
                <a:gd name="connsiteX23" fmla="*/ 9742454 w 18171859"/>
                <a:gd name="connsiteY23" fmla="*/ 14004811 h 15946069"/>
                <a:gd name="connsiteX24" fmla="*/ 10080066 w 18171859"/>
                <a:gd name="connsiteY24" fmla="*/ 14716204 h 15946069"/>
                <a:gd name="connsiteX25" fmla="*/ 10616683 w 18171859"/>
                <a:gd name="connsiteY25" fmla="*/ 15358294 h 15946069"/>
                <a:gd name="connsiteX26" fmla="*/ 11117010 w 18171859"/>
                <a:gd name="connsiteY26" fmla="*/ 15946069 h 15946069"/>
                <a:gd name="connsiteX27" fmla="*/ 11593335 w 18171859"/>
                <a:gd name="connsiteY27" fmla="*/ 15822497 h 15946069"/>
                <a:gd name="connsiteX28" fmla="*/ 11780218 w 18171859"/>
                <a:gd name="connsiteY28" fmla="*/ 13579811 h 15946069"/>
                <a:gd name="connsiteX29" fmla="*/ 11954994 w 18171859"/>
                <a:gd name="connsiteY29" fmla="*/ 12135890 h 15946069"/>
                <a:gd name="connsiteX30" fmla="*/ 12196146 w 18171859"/>
                <a:gd name="connsiteY30" fmla="*/ 11388328 h 15946069"/>
                <a:gd name="connsiteX31" fmla="*/ 13166775 w 18171859"/>
                <a:gd name="connsiteY31" fmla="*/ 11707856 h 15946069"/>
                <a:gd name="connsiteX32" fmla="*/ 14004775 w 18171859"/>
                <a:gd name="connsiteY32" fmla="*/ 11611395 h 15946069"/>
                <a:gd name="connsiteX33" fmla="*/ 14939235 w 18171859"/>
                <a:gd name="connsiteY33" fmla="*/ 11322014 h 15946069"/>
                <a:gd name="connsiteX34" fmla="*/ 15409477 w 18171859"/>
                <a:gd name="connsiteY34" fmla="*/ 11882693 h 15946069"/>
                <a:gd name="connsiteX35" fmla="*/ 15861634 w 18171859"/>
                <a:gd name="connsiteY35" fmla="*/ 11273783 h 15946069"/>
                <a:gd name="connsiteX36" fmla="*/ 16413199 w 18171859"/>
                <a:gd name="connsiteY36" fmla="*/ 10920339 h 15946069"/>
                <a:gd name="connsiteX37" fmla="*/ 16765948 w 18171859"/>
                <a:gd name="connsiteY37" fmla="*/ 10200671 h 15946069"/>
                <a:gd name="connsiteX38" fmla="*/ 16428336 w 18171859"/>
                <a:gd name="connsiteY38" fmla="*/ 9374732 h 15946069"/>
                <a:gd name="connsiteX39" fmla="*/ 15946033 w 18171859"/>
                <a:gd name="connsiteY39" fmla="*/ 8440272 h 15946069"/>
                <a:gd name="connsiteX40" fmla="*/ 16024409 w 18171859"/>
                <a:gd name="connsiteY40" fmla="*/ 7433474 h 15946069"/>
                <a:gd name="connsiteX41" fmla="*/ 16958870 w 18171859"/>
                <a:gd name="connsiteY41" fmla="*/ 6776350 h 15946069"/>
                <a:gd name="connsiteX42" fmla="*/ 17911414 w 18171859"/>
                <a:gd name="connsiteY42" fmla="*/ 6083041 h 15946069"/>
                <a:gd name="connsiteX43" fmla="*/ 17694370 w 18171859"/>
                <a:gd name="connsiteY43" fmla="*/ 5570592 h 15946069"/>
                <a:gd name="connsiteX44" fmla="*/ 17385711 w 18171859"/>
                <a:gd name="connsiteY44" fmla="*/ 5219213 h 15946069"/>
                <a:gd name="connsiteX45" fmla="*/ 17637701 w 18171859"/>
                <a:gd name="connsiteY45" fmla="*/ 4819407 h 15946069"/>
                <a:gd name="connsiteX46" fmla="*/ 18171858 w 18171859"/>
                <a:gd name="connsiteY46" fmla="*/ 4701949 h 15946069"/>
                <a:gd name="connsiteX47" fmla="*/ 17814953 w 18171859"/>
                <a:gd name="connsiteY47" fmla="*/ 4117660 h 15946069"/>
                <a:gd name="connsiteX48" fmla="*/ 16852763 w 18171859"/>
                <a:gd name="connsiteY48" fmla="*/ 3282076 h 15946069"/>
                <a:gd name="connsiteX49" fmla="*/ 14429201 w 18171859"/>
                <a:gd name="connsiteY49" fmla="*/ 4027238 h 15946069"/>
                <a:gd name="connsiteX50" fmla="*/ 13383819 w 18171859"/>
                <a:gd name="connsiteY50" fmla="*/ 2963756 h 15946069"/>
                <a:gd name="connsiteX51" fmla="*/ 12493981 w 18171859"/>
                <a:gd name="connsiteY51" fmla="*/ 2927587 h 15946069"/>
                <a:gd name="connsiteX52" fmla="*/ 11976717 w 18171859"/>
                <a:gd name="connsiteY52" fmla="*/ 2139025 h 15946069"/>
                <a:gd name="connsiteX53" fmla="*/ 11484768 w 18171859"/>
                <a:gd name="connsiteY53" fmla="*/ 1495155 h 15946069"/>
                <a:gd name="connsiteX54" fmla="*/ 10830043 w 18171859"/>
                <a:gd name="connsiteY54" fmla="*/ 1256418 h 15946069"/>
                <a:gd name="connsiteX55" fmla="*/ 10323633 w 18171859"/>
                <a:gd name="connsiteY55" fmla="*/ 1220249 h 15946069"/>
                <a:gd name="connsiteX56" fmla="*/ 9802745 w 18171859"/>
                <a:gd name="connsiteY56" fmla="*/ 1603676 h 15946069"/>
                <a:gd name="connsiteX57" fmla="*/ 9223982 w 18171859"/>
                <a:gd name="connsiteY57" fmla="*/ 1621761 h 15946069"/>
                <a:gd name="connsiteX58" fmla="*/ 8782678 w 18171859"/>
                <a:gd name="connsiteY58" fmla="*/ 2171586 h 15946069"/>
                <a:gd name="connsiteX59" fmla="*/ 8272645 w 18171859"/>
                <a:gd name="connsiteY59" fmla="*/ 2102856 h 15946069"/>
                <a:gd name="connsiteX60" fmla="*/ 7853048 w 18171859"/>
                <a:gd name="connsiteY60" fmla="*/ 2526075 h 15946069"/>
                <a:gd name="connsiteX61" fmla="*/ 7323799 w 18171859"/>
                <a:gd name="connsiteY61" fmla="*/ 2632907 h 15946069"/>
                <a:gd name="connsiteX62" fmla="*/ 6977672 w 18171859"/>
                <a:gd name="connsiteY62" fmla="*/ 2178817 h 15946069"/>
                <a:gd name="connsiteX63" fmla="*/ 6594245 w 18171859"/>
                <a:gd name="connsiteY63" fmla="*/ 2055834 h 15946069"/>
                <a:gd name="connsiteX64" fmla="*/ 6431470 w 18171859"/>
                <a:gd name="connsiteY64" fmla="*/ 1314295 h 15946069"/>
                <a:gd name="connsiteX65" fmla="*/ 5642908 w 18171859"/>
                <a:gd name="connsiteY65" fmla="*/ 1343233 h 15946069"/>
                <a:gd name="connsiteX66" fmla="*/ 5150959 w 18171859"/>
                <a:gd name="connsiteY66" fmla="*/ 1610907 h 15946069"/>
                <a:gd name="connsiteX67" fmla="*/ 5480133 w 18171859"/>
                <a:gd name="connsiteY67" fmla="*/ 2167963 h 15946069"/>
                <a:gd name="connsiteX68" fmla="*/ 4742216 w 18171859"/>
                <a:gd name="connsiteY68" fmla="*/ 2862495 h 15946069"/>
                <a:gd name="connsiteX69" fmla="*/ 2658667 w 18171859"/>
                <a:gd name="connsiteY69" fmla="*/ 0 h 15946069"/>
                <a:gd name="connsiteX70" fmla="*/ 2658682 w 18171859"/>
                <a:gd name="connsiteY70" fmla="*/ 1018890 h 15946069"/>
                <a:gd name="connsiteX71" fmla="*/ 1850829 w 18171859"/>
                <a:gd name="connsiteY71" fmla="*/ 1730283 h 15946069"/>
                <a:gd name="connsiteX72" fmla="*/ 1404694 w 18171859"/>
                <a:gd name="connsiteY72" fmla="*/ 2272862 h 15946069"/>
                <a:gd name="connsiteX73" fmla="*/ 2351216 w 18171859"/>
                <a:gd name="connsiteY73" fmla="*/ 3388182 h 15946069"/>
                <a:gd name="connsiteX74" fmla="*/ 2658682 w 18171859"/>
                <a:gd name="connsiteY74" fmla="*/ 4286458 h 15946069"/>
                <a:gd name="connsiteX75" fmla="*/ 1935228 w 18171859"/>
                <a:gd name="connsiteY75" fmla="*/ 5220918 h 15946069"/>
                <a:gd name="connsiteX76" fmla="*/ 875281 w 18171859"/>
                <a:gd name="connsiteY76" fmla="*/ 5166646 h 15946069"/>
                <a:gd name="connsiteX77" fmla="*/ 0 w 18171859"/>
                <a:gd name="connsiteY77" fmla="*/ 5890112 h 15946069"/>
                <a:gd name="connsiteX78" fmla="*/ 72345 w 18171859"/>
                <a:gd name="connsiteY78" fmla="*/ 6921032 h 15946069"/>
                <a:gd name="connsiteX79" fmla="*/ 477776 w 18171859"/>
                <a:gd name="connsiteY79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416903 w 18171859"/>
                <a:gd name="connsiteY22" fmla="*/ 13281357 h 15946069"/>
                <a:gd name="connsiteX23" fmla="*/ 9742454 w 18171859"/>
                <a:gd name="connsiteY23" fmla="*/ 14004811 h 15946069"/>
                <a:gd name="connsiteX24" fmla="*/ 10080066 w 18171859"/>
                <a:gd name="connsiteY24" fmla="*/ 14716204 h 15946069"/>
                <a:gd name="connsiteX25" fmla="*/ 10616683 w 18171859"/>
                <a:gd name="connsiteY25" fmla="*/ 15358294 h 15946069"/>
                <a:gd name="connsiteX26" fmla="*/ 11117010 w 18171859"/>
                <a:gd name="connsiteY26" fmla="*/ 15946069 h 15946069"/>
                <a:gd name="connsiteX27" fmla="*/ 11593335 w 18171859"/>
                <a:gd name="connsiteY27" fmla="*/ 15822497 h 15946069"/>
                <a:gd name="connsiteX28" fmla="*/ 11780218 w 18171859"/>
                <a:gd name="connsiteY28" fmla="*/ 13579811 h 15946069"/>
                <a:gd name="connsiteX29" fmla="*/ 11954994 w 18171859"/>
                <a:gd name="connsiteY29" fmla="*/ 12135890 h 15946069"/>
                <a:gd name="connsiteX30" fmla="*/ 12196146 w 18171859"/>
                <a:gd name="connsiteY30" fmla="*/ 11388328 h 15946069"/>
                <a:gd name="connsiteX31" fmla="*/ 13166775 w 18171859"/>
                <a:gd name="connsiteY31" fmla="*/ 11707856 h 15946069"/>
                <a:gd name="connsiteX32" fmla="*/ 14004775 w 18171859"/>
                <a:gd name="connsiteY32" fmla="*/ 11611395 h 15946069"/>
                <a:gd name="connsiteX33" fmla="*/ 14939235 w 18171859"/>
                <a:gd name="connsiteY33" fmla="*/ 11322014 h 15946069"/>
                <a:gd name="connsiteX34" fmla="*/ 15409477 w 18171859"/>
                <a:gd name="connsiteY34" fmla="*/ 11882693 h 15946069"/>
                <a:gd name="connsiteX35" fmla="*/ 15861634 w 18171859"/>
                <a:gd name="connsiteY35" fmla="*/ 11273783 h 15946069"/>
                <a:gd name="connsiteX36" fmla="*/ 16413199 w 18171859"/>
                <a:gd name="connsiteY36" fmla="*/ 10920339 h 15946069"/>
                <a:gd name="connsiteX37" fmla="*/ 16765948 w 18171859"/>
                <a:gd name="connsiteY37" fmla="*/ 10200671 h 15946069"/>
                <a:gd name="connsiteX38" fmla="*/ 16428336 w 18171859"/>
                <a:gd name="connsiteY38" fmla="*/ 9374732 h 15946069"/>
                <a:gd name="connsiteX39" fmla="*/ 15946033 w 18171859"/>
                <a:gd name="connsiteY39" fmla="*/ 8440272 h 15946069"/>
                <a:gd name="connsiteX40" fmla="*/ 16024409 w 18171859"/>
                <a:gd name="connsiteY40" fmla="*/ 7433474 h 15946069"/>
                <a:gd name="connsiteX41" fmla="*/ 16958870 w 18171859"/>
                <a:gd name="connsiteY41" fmla="*/ 6776350 h 15946069"/>
                <a:gd name="connsiteX42" fmla="*/ 17911414 w 18171859"/>
                <a:gd name="connsiteY42" fmla="*/ 6083041 h 15946069"/>
                <a:gd name="connsiteX43" fmla="*/ 17694370 w 18171859"/>
                <a:gd name="connsiteY43" fmla="*/ 5570592 h 15946069"/>
                <a:gd name="connsiteX44" fmla="*/ 17385711 w 18171859"/>
                <a:gd name="connsiteY44" fmla="*/ 5219213 h 15946069"/>
                <a:gd name="connsiteX45" fmla="*/ 18171858 w 18171859"/>
                <a:gd name="connsiteY45" fmla="*/ 4701949 h 15946069"/>
                <a:gd name="connsiteX46" fmla="*/ 17814953 w 18171859"/>
                <a:gd name="connsiteY46" fmla="*/ 4117660 h 15946069"/>
                <a:gd name="connsiteX47" fmla="*/ 16852763 w 18171859"/>
                <a:gd name="connsiteY47" fmla="*/ 3282076 h 15946069"/>
                <a:gd name="connsiteX48" fmla="*/ 14429201 w 18171859"/>
                <a:gd name="connsiteY48" fmla="*/ 4027238 h 15946069"/>
                <a:gd name="connsiteX49" fmla="*/ 13383819 w 18171859"/>
                <a:gd name="connsiteY49" fmla="*/ 2963756 h 15946069"/>
                <a:gd name="connsiteX50" fmla="*/ 12493981 w 18171859"/>
                <a:gd name="connsiteY50" fmla="*/ 2927587 h 15946069"/>
                <a:gd name="connsiteX51" fmla="*/ 11976717 w 18171859"/>
                <a:gd name="connsiteY51" fmla="*/ 2139025 h 15946069"/>
                <a:gd name="connsiteX52" fmla="*/ 11484768 w 18171859"/>
                <a:gd name="connsiteY52" fmla="*/ 1495155 h 15946069"/>
                <a:gd name="connsiteX53" fmla="*/ 10830043 w 18171859"/>
                <a:gd name="connsiteY53" fmla="*/ 1256418 h 15946069"/>
                <a:gd name="connsiteX54" fmla="*/ 10323633 w 18171859"/>
                <a:gd name="connsiteY54" fmla="*/ 1220249 h 15946069"/>
                <a:gd name="connsiteX55" fmla="*/ 9802745 w 18171859"/>
                <a:gd name="connsiteY55" fmla="*/ 1603676 h 15946069"/>
                <a:gd name="connsiteX56" fmla="*/ 9223982 w 18171859"/>
                <a:gd name="connsiteY56" fmla="*/ 1621761 h 15946069"/>
                <a:gd name="connsiteX57" fmla="*/ 8782678 w 18171859"/>
                <a:gd name="connsiteY57" fmla="*/ 2171586 h 15946069"/>
                <a:gd name="connsiteX58" fmla="*/ 8272645 w 18171859"/>
                <a:gd name="connsiteY58" fmla="*/ 2102856 h 15946069"/>
                <a:gd name="connsiteX59" fmla="*/ 7853048 w 18171859"/>
                <a:gd name="connsiteY59" fmla="*/ 2526075 h 15946069"/>
                <a:gd name="connsiteX60" fmla="*/ 7323799 w 18171859"/>
                <a:gd name="connsiteY60" fmla="*/ 2632907 h 15946069"/>
                <a:gd name="connsiteX61" fmla="*/ 6977672 w 18171859"/>
                <a:gd name="connsiteY61" fmla="*/ 2178817 h 15946069"/>
                <a:gd name="connsiteX62" fmla="*/ 6594245 w 18171859"/>
                <a:gd name="connsiteY62" fmla="*/ 2055834 h 15946069"/>
                <a:gd name="connsiteX63" fmla="*/ 6431470 w 18171859"/>
                <a:gd name="connsiteY63" fmla="*/ 1314295 h 15946069"/>
                <a:gd name="connsiteX64" fmla="*/ 5642908 w 18171859"/>
                <a:gd name="connsiteY64" fmla="*/ 1343233 h 15946069"/>
                <a:gd name="connsiteX65" fmla="*/ 5150959 w 18171859"/>
                <a:gd name="connsiteY65" fmla="*/ 1610907 h 15946069"/>
                <a:gd name="connsiteX66" fmla="*/ 5480133 w 18171859"/>
                <a:gd name="connsiteY66" fmla="*/ 2167963 h 15946069"/>
                <a:gd name="connsiteX67" fmla="*/ 4742216 w 18171859"/>
                <a:gd name="connsiteY67" fmla="*/ 2862495 h 15946069"/>
                <a:gd name="connsiteX68" fmla="*/ 2658667 w 18171859"/>
                <a:gd name="connsiteY68" fmla="*/ 0 h 15946069"/>
                <a:gd name="connsiteX69" fmla="*/ 2658682 w 18171859"/>
                <a:gd name="connsiteY69" fmla="*/ 1018890 h 15946069"/>
                <a:gd name="connsiteX70" fmla="*/ 1850829 w 18171859"/>
                <a:gd name="connsiteY70" fmla="*/ 1730283 h 15946069"/>
                <a:gd name="connsiteX71" fmla="*/ 1404694 w 18171859"/>
                <a:gd name="connsiteY71" fmla="*/ 2272862 h 15946069"/>
                <a:gd name="connsiteX72" fmla="*/ 2351216 w 18171859"/>
                <a:gd name="connsiteY72" fmla="*/ 3388182 h 15946069"/>
                <a:gd name="connsiteX73" fmla="*/ 2658682 w 18171859"/>
                <a:gd name="connsiteY73" fmla="*/ 4286458 h 15946069"/>
                <a:gd name="connsiteX74" fmla="*/ 1935228 w 18171859"/>
                <a:gd name="connsiteY74" fmla="*/ 5220918 h 15946069"/>
                <a:gd name="connsiteX75" fmla="*/ 875281 w 18171859"/>
                <a:gd name="connsiteY75" fmla="*/ 5166646 h 15946069"/>
                <a:gd name="connsiteX76" fmla="*/ 0 w 18171859"/>
                <a:gd name="connsiteY76" fmla="*/ 5890112 h 15946069"/>
                <a:gd name="connsiteX77" fmla="*/ 72345 w 18171859"/>
                <a:gd name="connsiteY77" fmla="*/ 6921032 h 15946069"/>
                <a:gd name="connsiteX78" fmla="*/ 477776 w 18171859"/>
                <a:gd name="connsiteY78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416903 w 18171859"/>
                <a:gd name="connsiteY22" fmla="*/ 13281357 h 15946069"/>
                <a:gd name="connsiteX23" fmla="*/ 9742454 w 18171859"/>
                <a:gd name="connsiteY23" fmla="*/ 14004811 h 15946069"/>
                <a:gd name="connsiteX24" fmla="*/ 10080066 w 18171859"/>
                <a:gd name="connsiteY24" fmla="*/ 14716204 h 15946069"/>
                <a:gd name="connsiteX25" fmla="*/ 10616683 w 18171859"/>
                <a:gd name="connsiteY25" fmla="*/ 15358294 h 15946069"/>
                <a:gd name="connsiteX26" fmla="*/ 11117010 w 18171859"/>
                <a:gd name="connsiteY26" fmla="*/ 15946069 h 15946069"/>
                <a:gd name="connsiteX27" fmla="*/ 11593335 w 18171859"/>
                <a:gd name="connsiteY27" fmla="*/ 15822497 h 15946069"/>
                <a:gd name="connsiteX28" fmla="*/ 11780218 w 18171859"/>
                <a:gd name="connsiteY28" fmla="*/ 13579811 h 15946069"/>
                <a:gd name="connsiteX29" fmla="*/ 11954994 w 18171859"/>
                <a:gd name="connsiteY29" fmla="*/ 12135890 h 15946069"/>
                <a:gd name="connsiteX30" fmla="*/ 12196146 w 18171859"/>
                <a:gd name="connsiteY30" fmla="*/ 11388328 h 15946069"/>
                <a:gd name="connsiteX31" fmla="*/ 13166775 w 18171859"/>
                <a:gd name="connsiteY31" fmla="*/ 11707856 h 15946069"/>
                <a:gd name="connsiteX32" fmla="*/ 14004775 w 18171859"/>
                <a:gd name="connsiteY32" fmla="*/ 11611395 h 15946069"/>
                <a:gd name="connsiteX33" fmla="*/ 14939235 w 18171859"/>
                <a:gd name="connsiteY33" fmla="*/ 11322014 h 15946069"/>
                <a:gd name="connsiteX34" fmla="*/ 15409477 w 18171859"/>
                <a:gd name="connsiteY34" fmla="*/ 11882693 h 15946069"/>
                <a:gd name="connsiteX35" fmla="*/ 15861634 w 18171859"/>
                <a:gd name="connsiteY35" fmla="*/ 11273783 h 15946069"/>
                <a:gd name="connsiteX36" fmla="*/ 16413199 w 18171859"/>
                <a:gd name="connsiteY36" fmla="*/ 10920339 h 15946069"/>
                <a:gd name="connsiteX37" fmla="*/ 16765948 w 18171859"/>
                <a:gd name="connsiteY37" fmla="*/ 10200671 h 15946069"/>
                <a:gd name="connsiteX38" fmla="*/ 16428336 w 18171859"/>
                <a:gd name="connsiteY38" fmla="*/ 9374732 h 15946069"/>
                <a:gd name="connsiteX39" fmla="*/ 15946033 w 18171859"/>
                <a:gd name="connsiteY39" fmla="*/ 8440272 h 15946069"/>
                <a:gd name="connsiteX40" fmla="*/ 16024409 w 18171859"/>
                <a:gd name="connsiteY40" fmla="*/ 7433474 h 15946069"/>
                <a:gd name="connsiteX41" fmla="*/ 16958870 w 18171859"/>
                <a:gd name="connsiteY41" fmla="*/ 6776350 h 15946069"/>
                <a:gd name="connsiteX42" fmla="*/ 17911414 w 18171859"/>
                <a:gd name="connsiteY42" fmla="*/ 6083041 h 15946069"/>
                <a:gd name="connsiteX43" fmla="*/ 17385711 w 18171859"/>
                <a:gd name="connsiteY43" fmla="*/ 5219213 h 15946069"/>
                <a:gd name="connsiteX44" fmla="*/ 18171858 w 18171859"/>
                <a:gd name="connsiteY44" fmla="*/ 4701949 h 15946069"/>
                <a:gd name="connsiteX45" fmla="*/ 17814953 w 18171859"/>
                <a:gd name="connsiteY45" fmla="*/ 4117660 h 15946069"/>
                <a:gd name="connsiteX46" fmla="*/ 16852763 w 18171859"/>
                <a:gd name="connsiteY46" fmla="*/ 3282076 h 15946069"/>
                <a:gd name="connsiteX47" fmla="*/ 14429201 w 18171859"/>
                <a:gd name="connsiteY47" fmla="*/ 4027238 h 15946069"/>
                <a:gd name="connsiteX48" fmla="*/ 13383819 w 18171859"/>
                <a:gd name="connsiteY48" fmla="*/ 2963756 h 15946069"/>
                <a:gd name="connsiteX49" fmla="*/ 12493981 w 18171859"/>
                <a:gd name="connsiteY49" fmla="*/ 2927587 h 15946069"/>
                <a:gd name="connsiteX50" fmla="*/ 11976717 w 18171859"/>
                <a:gd name="connsiteY50" fmla="*/ 2139025 h 15946069"/>
                <a:gd name="connsiteX51" fmla="*/ 11484768 w 18171859"/>
                <a:gd name="connsiteY51" fmla="*/ 1495155 h 15946069"/>
                <a:gd name="connsiteX52" fmla="*/ 10830043 w 18171859"/>
                <a:gd name="connsiteY52" fmla="*/ 1256418 h 15946069"/>
                <a:gd name="connsiteX53" fmla="*/ 10323633 w 18171859"/>
                <a:gd name="connsiteY53" fmla="*/ 1220249 h 15946069"/>
                <a:gd name="connsiteX54" fmla="*/ 9802745 w 18171859"/>
                <a:gd name="connsiteY54" fmla="*/ 1603676 h 15946069"/>
                <a:gd name="connsiteX55" fmla="*/ 9223982 w 18171859"/>
                <a:gd name="connsiteY55" fmla="*/ 1621761 h 15946069"/>
                <a:gd name="connsiteX56" fmla="*/ 8782678 w 18171859"/>
                <a:gd name="connsiteY56" fmla="*/ 2171586 h 15946069"/>
                <a:gd name="connsiteX57" fmla="*/ 8272645 w 18171859"/>
                <a:gd name="connsiteY57" fmla="*/ 2102856 h 15946069"/>
                <a:gd name="connsiteX58" fmla="*/ 7853048 w 18171859"/>
                <a:gd name="connsiteY58" fmla="*/ 2526075 h 15946069"/>
                <a:gd name="connsiteX59" fmla="*/ 7323799 w 18171859"/>
                <a:gd name="connsiteY59" fmla="*/ 2632907 h 15946069"/>
                <a:gd name="connsiteX60" fmla="*/ 6977672 w 18171859"/>
                <a:gd name="connsiteY60" fmla="*/ 2178817 h 15946069"/>
                <a:gd name="connsiteX61" fmla="*/ 6594245 w 18171859"/>
                <a:gd name="connsiteY61" fmla="*/ 2055834 h 15946069"/>
                <a:gd name="connsiteX62" fmla="*/ 6431470 w 18171859"/>
                <a:gd name="connsiteY62" fmla="*/ 1314295 h 15946069"/>
                <a:gd name="connsiteX63" fmla="*/ 5642908 w 18171859"/>
                <a:gd name="connsiteY63" fmla="*/ 1343233 h 15946069"/>
                <a:gd name="connsiteX64" fmla="*/ 5150959 w 18171859"/>
                <a:gd name="connsiteY64" fmla="*/ 1610907 h 15946069"/>
                <a:gd name="connsiteX65" fmla="*/ 5480133 w 18171859"/>
                <a:gd name="connsiteY65" fmla="*/ 2167963 h 15946069"/>
                <a:gd name="connsiteX66" fmla="*/ 4742216 w 18171859"/>
                <a:gd name="connsiteY66" fmla="*/ 2862495 h 15946069"/>
                <a:gd name="connsiteX67" fmla="*/ 2658667 w 18171859"/>
                <a:gd name="connsiteY67" fmla="*/ 0 h 15946069"/>
                <a:gd name="connsiteX68" fmla="*/ 2658682 w 18171859"/>
                <a:gd name="connsiteY68" fmla="*/ 1018890 h 15946069"/>
                <a:gd name="connsiteX69" fmla="*/ 1850829 w 18171859"/>
                <a:gd name="connsiteY69" fmla="*/ 1730283 h 15946069"/>
                <a:gd name="connsiteX70" fmla="*/ 1404694 w 18171859"/>
                <a:gd name="connsiteY70" fmla="*/ 2272862 h 15946069"/>
                <a:gd name="connsiteX71" fmla="*/ 2351216 w 18171859"/>
                <a:gd name="connsiteY71" fmla="*/ 3388182 h 15946069"/>
                <a:gd name="connsiteX72" fmla="*/ 2658682 w 18171859"/>
                <a:gd name="connsiteY72" fmla="*/ 4286458 h 15946069"/>
                <a:gd name="connsiteX73" fmla="*/ 1935228 w 18171859"/>
                <a:gd name="connsiteY73" fmla="*/ 5220918 h 15946069"/>
                <a:gd name="connsiteX74" fmla="*/ 875281 w 18171859"/>
                <a:gd name="connsiteY74" fmla="*/ 5166646 h 15946069"/>
                <a:gd name="connsiteX75" fmla="*/ 0 w 18171859"/>
                <a:gd name="connsiteY75" fmla="*/ 5890112 h 15946069"/>
                <a:gd name="connsiteX76" fmla="*/ 72345 w 18171859"/>
                <a:gd name="connsiteY76" fmla="*/ 6921032 h 15946069"/>
                <a:gd name="connsiteX77" fmla="*/ 477776 w 18171859"/>
                <a:gd name="connsiteY77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416903 w 18171859"/>
                <a:gd name="connsiteY22" fmla="*/ 13281357 h 15946069"/>
                <a:gd name="connsiteX23" fmla="*/ 9742454 w 18171859"/>
                <a:gd name="connsiteY23" fmla="*/ 14004811 h 15946069"/>
                <a:gd name="connsiteX24" fmla="*/ 10080066 w 18171859"/>
                <a:gd name="connsiteY24" fmla="*/ 14716204 h 15946069"/>
                <a:gd name="connsiteX25" fmla="*/ 10616683 w 18171859"/>
                <a:gd name="connsiteY25" fmla="*/ 15358294 h 15946069"/>
                <a:gd name="connsiteX26" fmla="*/ 11117010 w 18171859"/>
                <a:gd name="connsiteY26" fmla="*/ 15946069 h 15946069"/>
                <a:gd name="connsiteX27" fmla="*/ 11593335 w 18171859"/>
                <a:gd name="connsiteY27" fmla="*/ 15822497 h 15946069"/>
                <a:gd name="connsiteX28" fmla="*/ 11780218 w 18171859"/>
                <a:gd name="connsiteY28" fmla="*/ 13579811 h 15946069"/>
                <a:gd name="connsiteX29" fmla="*/ 11954994 w 18171859"/>
                <a:gd name="connsiteY29" fmla="*/ 12135890 h 15946069"/>
                <a:gd name="connsiteX30" fmla="*/ 12196146 w 18171859"/>
                <a:gd name="connsiteY30" fmla="*/ 11388328 h 15946069"/>
                <a:gd name="connsiteX31" fmla="*/ 13166775 w 18171859"/>
                <a:gd name="connsiteY31" fmla="*/ 11707856 h 15946069"/>
                <a:gd name="connsiteX32" fmla="*/ 14004775 w 18171859"/>
                <a:gd name="connsiteY32" fmla="*/ 11611395 h 15946069"/>
                <a:gd name="connsiteX33" fmla="*/ 14939235 w 18171859"/>
                <a:gd name="connsiteY33" fmla="*/ 11322014 h 15946069"/>
                <a:gd name="connsiteX34" fmla="*/ 15409477 w 18171859"/>
                <a:gd name="connsiteY34" fmla="*/ 11882693 h 15946069"/>
                <a:gd name="connsiteX35" fmla="*/ 15861634 w 18171859"/>
                <a:gd name="connsiteY35" fmla="*/ 11273783 h 15946069"/>
                <a:gd name="connsiteX36" fmla="*/ 16413199 w 18171859"/>
                <a:gd name="connsiteY36" fmla="*/ 10920339 h 15946069"/>
                <a:gd name="connsiteX37" fmla="*/ 16765948 w 18171859"/>
                <a:gd name="connsiteY37" fmla="*/ 10200671 h 15946069"/>
                <a:gd name="connsiteX38" fmla="*/ 16428336 w 18171859"/>
                <a:gd name="connsiteY38" fmla="*/ 9374732 h 15946069"/>
                <a:gd name="connsiteX39" fmla="*/ 15946033 w 18171859"/>
                <a:gd name="connsiteY39" fmla="*/ 8440272 h 15946069"/>
                <a:gd name="connsiteX40" fmla="*/ 16024409 w 18171859"/>
                <a:gd name="connsiteY40" fmla="*/ 7433474 h 15946069"/>
                <a:gd name="connsiteX41" fmla="*/ 17911414 w 18171859"/>
                <a:gd name="connsiteY41" fmla="*/ 6083041 h 15946069"/>
                <a:gd name="connsiteX42" fmla="*/ 17385711 w 18171859"/>
                <a:gd name="connsiteY42" fmla="*/ 5219213 h 15946069"/>
                <a:gd name="connsiteX43" fmla="*/ 18171858 w 18171859"/>
                <a:gd name="connsiteY43" fmla="*/ 4701949 h 15946069"/>
                <a:gd name="connsiteX44" fmla="*/ 17814953 w 18171859"/>
                <a:gd name="connsiteY44" fmla="*/ 4117660 h 15946069"/>
                <a:gd name="connsiteX45" fmla="*/ 16852763 w 18171859"/>
                <a:gd name="connsiteY45" fmla="*/ 3282076 h 15946069"/>
                <a:gd name="connsiteX46" fmla="*/ 14429201 w 18171859"/>
                <a:gd name="connsiteY46" fmla="*/ 4027238 h 15946069"/>
                <a:gd name="connsiteX47" fmla="*/ 13383819 w 18171859"/>
                <a:gd name="connsiteY47" fmla="*/ 2963756 h 15946069"/>
                <a:gd name="connsiteX48" fmla="*/ 12493981 w 18171859"/>
                <a:gd name="connsiteY48" fmla="*/ 2927587 h 15946069"/>
                <a:gd name="connsiteX49" fmla="*/ 11976717 w 18171859"/>
                <a:gd name="connsiteY49" fmla="*/ 2139025 h 15946069"/>
                <a:gd name="connsiteX50" fmla="*/ 11484768 w 18171859"/>
                <a:gd name="connsiteY50" fmla="*/ 1495155 h 15946069"/>
                <a:gd name="connsiteX51" fmla="*/ 10830043 w 18171859"/>
                <a:gd name="connsiteY51" fmla="*/ 1256418 h 15946069"/>
                <a:gd name="connsiteX52" fmla="*/ 10323633 w 18171859"/>
                <a:gd name="connsiteY52" fmla="*/ 1220249 h 15946069"/>
                <a:gd name="connsiteX53" fmla="*/ 9802745 w 18171859"/>
                <a:gd name="connsiteY53" fmla="*/ 1603676 h 15946069"/>
                <a:gd name="connsiteX54" fmla="*/ 9223982 w 18171859"/>
                <a:gd name="connsiteY54" fmla="*/ 1621761 h 15946069"/>
                <a:gd name="connsiteX55" fmla="*/ 8782678 w 18171859"/>
                <a:gd name="connsiteY55" fmla="*/ 2171586 h 15946069"/>
                <a:gd name="connsiteX56" fmla="*/ 8272645 w 18171859"/>
                <a:gd name="connsiteY56" fmla="*/ 2102856 h 15946069"/>
                <a:gd name="connsiteX57" fmla="*/ 7853048 w 18171859"/>
                <a:gd name="connsiteY57" fmla="*/ 2526075 h 15946069"/>
                <a:gd name="connsiteX58" fmla="*/ 7323799 w 18171859"/>
                <a:gd name="connsiteY58" fmla="*/ 2632907 h 15946069"/>
                <a:gd name="connsiteX59" fmla="*/ 6977672 w 18171859"/>
                <a:gd name="connsiteY59" fmla="*/ 2178817 h 15946069"/>
                <a:gd name="connsiteX60" fmla="*/ 6594245 w 18171859"/>
                <a:gd name="connsiteY60" fmla="*/ 2055834 h 15946069"/>
                <a:gd name="connsiteX61" fmla="*/ 6431470 w 18171859"/>
                <a:gd name="connsiteY61" fmla="*/ 1314295 h 15946069"/>
                <a:gd name="connsiteX62" fmla="*/ 5642908 w 18171859"/>
                <a:gd name="connsiteY62" fmla="*/ 1343233 h 15946069"/>
                <a:gd name="connsiteX63" fmla="*/ 5150959 w 18171859"/>
                <a:gd name="connsiteY63" fmla="*/ 1610907 h 15946069"/>
                <a:gd name="connsiteX64" fmla="*/ 5480133 w 18171859"/>
                <a:gd name="connsiteY64" fmla="*/ 2167963 h 15946069"/>
                <a:gd name="connsiteX65" fmla="*/ 4742216 w 18171859"/>
                <a:gd name="connsiteY65" fmla="*/ 2862495 h 15946069"/>
                <a:gd name="connsiteX66" fmla="*/ 2658667 w 18171859"/>
                <a:gd name="connsiteY66" fmla="*/ 0 h 15946069"/>
                <a:gd name="connsiteX67" fmla="*/ 2658682 w 18171859"/>
                <a:gd name="connsiteY67" fmla="*/ 1018890 h 15946069"/>
                <a:gd name="connsiteX68" fmla="*/ 1850829 w 18171859"/>
                <a:gd name="connsiteY68" fmla="*/ 1730283 h 15946069"/>
                <a:gd name="connsiteX69" fmla="*/ 1404694 w 18171859"/>
                <a:gd name="connsiteY69" fmla="*/ 2272862 h 15946069"/>
                <a:gd name="connsiteX70" fmla="*/ 2351216 w 18171859"/>
                <a:gd name="connsiteY70" fmla="*/ 3388182 h 15946069"/>
                <a:gd name="connsiteX71" fmla="*/ 2658682 w 18171859"/>
                <a:gd name="connsiteY71" fmla="*/ 4286458 h 15946069"/>
                <a:gd name="connsiteX72" fmla="*/ 1935228 w 18171859"/>
                <a:gd name="connsiteY72" fmla="*/ 5220918 h 15946069"/>
                <a:gd name="connsiteX73" fmla="*/ 875281 w 18171859"/>
                <a:gd name="connsiteY73" fmla="*/ 5166646 h 15946069"/>
                <a:gd name="connsiteX74" fmla="*/ 0 w 18171859"/>
                <a:gd name="connsiteY74" fmla="*/ 5890112 h 15946069"/>
                <a:gd name="connsiteX75" fmla="*/ 72345 w 18171859"/>
                <a:gd name="connsiteY75" fmla="*/ 6921032 h 15946069"/>
                <a:gd name="connsiteX76" fmla="*/ 477776 w 18171859"/>
                <a:gd name="connsiteY76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416903 w 18171859"/>
                <a:gd name="connsiteY22" fmla="*/ 13281357 h 15946069"/>
                <a:gd name="connsiteX23" fmla="*/ 9742454 w 18171859"/>
                <a:gd name="connsiteY23" fmla="*/ 14004811 h 15946069"/>
                <a:gd name="connsiteX24" fmla="*/ 10080066 w 18171859"/>
                <a:gd name="connsiteY24" fmla="*/ 14716204 h 15946069"/>
                <a:gd name="connsiteX25" fmla="*/ 10616683 w 18171859"/>
                <a:gd name="connsiteY25" fmla="*/ 15358294 h 15946069"/>
                <a:gd name="connsiteX26" fmla="*/ 11117010 w 18171859"/>
                <a:gd name="connsiteY26" fmla="*/ 15946069 h 15946069"/>
                <a:gd name="connsiteX27" fmla="*/ 11593335 w 18171859"/>
                <a:gd name="connsiteY27" fmla="*/ 15822497 h 15946069"/>
                <a:gd name="connsiteX28" fmla="*/ 11780218 w 18171859"/>
                <a:gd name="connsiteY28" fmla="*/ 13579811 h 15946069"/>
                <a:gd name="connsiteX29" fmla="*/ 11954994 w 18171859"/>
                <a:gd name="connsiteY29" fmla="*/ 12135890 h 15946069"/>
                <a:gd name="connsiteX30" fmla="*/ 12196146 w 18171859"/>
                <a:gd name="connsiteY30" fmla="*/ 11388328 h 15946069"/>
                <a:gd name="connsiteX31" fmla="*/ 13166775 w 18171859"/>
                <a:gd name="connsiteY31" fmla="*/ 11707856 h 15946069"/>
                <a:gd name="connsiteX32" fmla="*/ 14004775 w 18171859"/>
                <a:gd name="connsiteY32" fmla="*/ 11611395 h 15946069"/>
                <a:gd name="connsiteX33" fmla="*/ 14939235 w 18171859"/>
                <a:gd name="connsiteY33" fmla="*/ 11322014 h 15946069"/>
                <a:gd name="connsiteX34" fmla="*/ 15409477 w 18171859"/>
                <a:gd name="connsiteY34" fmla="*/ 11882693 h 15946069"/>
                <a:gd name="connsiteX35" fmla="*/ 15861634 w 18171859"/>
                <a:gd name="connsiteY35" fmla="*/ 11273783 h 15946069"/>
                <a:gd name="connsiteX36" fmla="*/ 16413199 w 18171859"/>
                <a:gd name="connsiteY36" fmla="*/ 10920339 h 15946069"/>
                <a:gd name="connsiteX37" fmla="*/ 16765948 w 18171859"/>
                <a:gd name="connsiteY37" fmla="*/ 10200671 h 15946069"/>
                <a:gd name="connsiteX38" fmla="*/ 16428336 w 18171859"/>
                <a:gd name="connsiteY38" fmla="*/ 9374732 h 15946069"/>
                <a:gd name="connsiteX39" fmla="*/ 16024409 w 18171859"/>
                <a:gd name="connsiteY39" fmla="*/ 7433474 h 15946069"/>
                <a:gd name="connsiteX40" fmla="*/ 17911414 w 18171859"/>
                <a:gd name="connsiteY40" fmla="*/ 6083041 h 15946069"/>
                <a:gd name="connsiteX41" fmla="*/ 17385711 w 18171859"/>
                <a:gd name="connsiteY41" fmla="*/ 5219213 h 15946069"/>
                <a:gd name="connsiteX42" fmla="*/ 18171858 w 18171859"/>
                <a:gd name="connsiteY42" fmla="*/ 4701949 h 15946069"/>
                <a:gd name="connsiteX43" fmla="*/ 17814953 w 18171859"/>
                <a:gd name="connsiteY43" fmla="*/ 4117660 h 15946069"/>
                <a:gd name="connsiteX44" fmla="*/ 16852763 w 18171859"/>
                <a:gd name="connsiteY44" fmla="*/ 3282076 h 15946069"/>
                <a:gd name="connsiteX45" fmla="*/ 14429201 w 18171859"/>
                <a:gd name="connsiteY45" fmla="*/ 4027238 h 15946069"/>
                <a:gd name="connsiteX46" fmla="*/ 13383819 w 18171859"/>
                <a:gd name="connsiteY46" fmla="*/ 2963756 h 15946069"/>
                <a:gd name="connsiteX47" fmla="*/ 12493981 w 18171859"/>
                <a:gd name="connsiteY47" fmla="*/ 2927587 h 15946069"/>
                <a:gd name="connsiteX48" fmla="*/ 11976717 w 18171859"/>
                <a:gd name="connsiteY48" fmla="*/ 2139025 h 15946069"/>
                <a:gd name="connsiteX49" fmla="*/ 11484768 w 18171859"/>
                <a:gd name="connsiteY49" fmla="*/ 1495155 h 15946069"/>
                <a:gd name="connsiteX50" fmla="*/ 10830043 w 18171859"/>
                <a:gd name="connsiteY50" fmla="*/ 1256418 h 15946069"/>
                <a:gd name="connsiteX51" fmla="*/ 10323633 w 18171859"/>
                <a:gd name="connsiteY51" fmla="*/ 1220249 h 15946069"/>
                <a:gd name="connsiteX52" fmla="*/ 9802745 w 18171859"/>
                <a:gd name="connsiteY52" fmla="*/ 1603676 h 15946069"/>
                <a:gd name="connsiteX53" fmla="*/ 9223982 w 18171859"/>
                <a:gd name="connsiteY53" fmla="*/ 1621761 h 15946069"/>
                <a:gd name="connsiteX54" fmla="*/ 8782678 w 18171859"/>
                <a:gd name="connsiteY54" fmla="*/ 2171586 h 15946069"/>
                <a:gd name="connsiteX55" fmla="*/ 8272645 w 18171859"/>
                <a:gd name="connsiteY55" fmla="*/ 2102856 h 15946069"/>
                <a:gd name="connsiteX56" fmla="*/ 7853048 w 18171859"/>
                <a:gd name="connsiteY56" fmla="*/ 2526075 h 15946069"/>
                <a:gd name="connsiteX57" fmla="*/ 7323799 w 18171859"/>
                <a:gd name="connsiteY57" fmla="*/ 2632907 h 15946069"/>
                <a:gd name="connsiteX58" fmla="*/ 6977672 w 18171859"/>
                <a:gd name="connsiteY58" fmla="*/ 2178817 h 15946069"/>
                <a:gd name="connsiteX59" fmla="*/ 6594245 w 18171859"/>
                <a:gd name="connsiteY59" fmla="*/ 2055834 h 15946069"/>
                <a:gd name="connsiteX60" fmla="*/ 6431470 w 18171859"/>
                <a:gd name="connsiteY60" fmla="*/ 1314295 h 15946069"/>
                <a:gd name="connsiteX61" fmla="*/ 5642908 w 18171859"/>
                <a:gd name="connsiteY61" fmla="*/ 1343233 h 15946069"/>
                <a:gd name="connsiteX62" fmla="*/ 5150959 w 18171859"/>
                <a:gd name="connsiteY62" fmla="*/ 1610907 h 15946069"/>
                <a:gd name="connsiteX63" fmla="*/ 5480133 w 18171859"/>
                <a:gd name="connsiteY63" fmla="*/ 2167963 h 15946069"/>
                <a:gd name="connsiteX64" fmla="*/ 4742216 w 18171859"/>
                <a:gd name="connsiteY64" fmla="*/ 2862495 h 15946069"/>
                <a:gd name="connsiteX65" fmla="*/ 2658667 w 18171859"/>
                <a:gd name="connsiteY65" fmla="*/ 0 h 15946069"/>
                <a:gd name="connsiteX66" fmla="*/ 2658682 w 18171859"/>
                <a:gd name="connsiteY66" fmla="*/ 1018890 h 15946069"/>
                <a:gd name="connsiteX67" fmla="*/ 1850829 w 18171859"/>
                <a:gd name="connsiteY67" fmla="*/ 1730283 h 15946069"/>
                <a:gd name="connsiteX68" fmla="*/ 1404694 w 18171859"/>
                <a:gd name="connsiteY68" fmla="*/ 2272862 h 15946069"/>
                <a:gd name="connsiteX69" fmla="*/ 2351216 w 18171859"/>
                <a:gd name="connsiteY69" fmla="*/ 3388182 h 15946069"/>
                <a:gd name="connsiteX70" fmla="*/ 2658682 w 18171859"/>
                <a:gd name="connsiteY70" fmla="*/ 4286458 h 15946069"/>
                <a:gd name="connsiteX71" fmla="*/ 1935228 w 18171859"/>
                <a:gd name="connsiteY71" fmla="*/ 5220918 h 15946069"/>
                <a:gd name="connsiteX72" fmla="*/ 875281 w 18171859"/>
                <a:gd name="connsiteY72" fmla="*/ 5166646 h 15946069"/>
                <a:gd name="connsiteX73" fmla="*/ 0 w 18171859"/>
                <a:gd name="connsiteY73" fmla="*/ 5890112 h 15946069"/>
                <a:gd name="connsiteX74" fmla="*/ 72345 w 18171859"/>
                <a:gd name="connsiteY74" fmla="*/ 6921032 h 15946069"/>
                <a:gd name="connsiteX75" fmla="*/ 477776 w 18171859"/>
                <a:gd name="connsiteY75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416903 w 18171859"/>
                <a:gd name="connsiteY22" fmla="*/ 13281357 h 15946069"/>
                <a:gd name="connsiteX23" fmla="*/ 9742454 w 18171859"/>
                <a:gd name="connsiteY23" fmla="*/ 14004811 h 15946069"/>
                <a:gd name="connsiteX24" fmla="*/ 10080066 w 18171859"/>
                <a:gd name="connsiteY24" fmla="*/ 14716204 h 15946069"/>
                <a:gd name="connsiteX25" fmla="*/ 10616683 w 18171859"/>
                <a:gd name="connsiteY25" fmla="*/ 15358294 h 15946069"/>
                <a:gd name="connsiteX26" fmla="*/ 11117010 w 18171859"/>
                <a:gd name="connsiteY26" fmla="*/ 15946069 h 15946069"/>
                <a:gd name="connsiteX27" fmla="*/ 11593335 w 18171859"/>
                <a:gd name="connsiteY27" fmla="*/ 15822497 h 15946069"/>
                <a:gd name="connsiteX28" fmla="*/ 11780218 w 18171859"/>
                <a:gd name="connsiteY28" fmla="*/ 13579811 h 15946069"/>
                <a:gd name="connsiteX29" fmla="*/ 11954994 w 18171859"/>
                <a:gd name="connsiteY29" fmla="*/ 12135890 h 15946069"/>
                <a:gd name="connsiteX30" fmla="*/ 12196146 w 18171859"/>
                <a:gd name="connsiteY30" fmla="*/ 11388328 h 15946069"/>
                <a:gd name="connsiteX31" fmla="*/ 13166775 w 18171859"/>
                <a:gd name="connsiteY31" fmla="*/ 11707856 h 15946069"/>
                <a:gd name="connsiteX32" fmla="*/ 14004775 w 18171859"/>
                <a:gd name="connsiteY32" fmla="*/ 11611395 h 15946069"/>
                <a:gd name="connsiteX33" fmla="*/ 14939235 w 18171859"/>
                <a:gd name="connsiteY33" fmla="*/ 11322014 h 15946069"/>
                <a:gd name="connsiteX34" fmla="*/ 15409477 w 18171859"/>
                <a:gd name="connsiteY34" fmla="*/ 11882693 h 15946069"/>
                <a:gd name="connsiteX35" fmla="*/ 15861634 w 18171859"/>
                <a:gd name="connsiteY35" fmla="*/ 11273783 h 15946069"/>
                <a:gd name="connsiteX36" fmla="*/ 16413199 w 18171859"/>
                <a:gd name="connsiteY36" fmla="*/ 10920339 h 15946069"/>
                <a:gd name="connsiteX37" fmla="*/ 16428336 w 18171859"/>
                <a:gd name="connsiteY37" fmla="*/ 9374732 h 15946069"/>
                <a:gd name="connsiteX38" fmla="*/ 16024409 w 18171859"/>
                <a:gd name="connsiteY38" fmla="*/ 7433474 h 15946069"/>
                <a:gd name="connsiteX39" fmla="*/ 17911414 w 18171859"/>
                <a:gd name="connsiteY39" fmla="*/ 6083041 h 15946069"/>
                <a:gd name="connsiteX40" fmla="*/ 17385711 w 18171859"/>
                <a:gd name="connsiteY40" fmla="*/ 5219213 h 15946069"/>
                <a:gd name="connsiteX41" fmla="*/ 18171858 w 18171859"/>
                <a:gd name="connsiteY41" fmla="*/ 4701949 h 15946069"/>
                <a:gd name="connsiteX42" fmla="*/ 17814953 w 18171859"/>
                <a:gd name="connsiteY42" fmla="*/ 4117660 h 15946069"/>
                <a:gd name="connsiteX43" fmla="*/ 16852763 w 18171859"/>
                <a:gd name="connsiteY43" fmla="*/ 3282076 h 15946069"/>
                <a:gd name="connsiteX44" fmla="*/ 14429201 w 18171859"/>
                <a:gd name="connsiteY44" fmla="*/ 4027238 h 15946069"/>
                <a:gd name="connsiteX45" fmla="*/ 13383819 w 18171859"/>
                <a:gd name="connsiteY45" fmla="*/ 2963756 h 15946069"/>
                <a:gd name="connsiteX46" fmla="*/ 12493981 w 18171859"/>
                <a:gd name="connsiteY46" fmla="*/ 2927587 h 15946069"/>
                <a:gd name="connsiteX47" fmla="*/ 11976717 w 18171859"/>
                <a:gd name="connsiteY47" fmla="*/ 2139025 h 15946069"/>
                <a:gd name="connsiteX48" fmla="*/ 11484768 w 18171859"/>
                <a:gd name="connsiteY48" fmla="*/ 1495155 h 15946069"/>
                <a:gd name="connsiteX49" fmla="*/ 10830043 w 18171859"/>
                <a:gd name="connsiteY49" fmla="*/ 1256418 h 15946069"/>
                <a:gd name="connsiteX50" fmla="*/ 10323633 w 18171859"/>
                <a:gd name="connsiteY50" fmla="*/ 1220249 h 15946069"/>
                <a:gd name="connsiteX51" fmla="*/ 9802745 w 18171859"/>
                <a:gd name="connsiteY51" fmla="*/ 1603676 h 15946069"/>
                <a:gd name="connsiteX52" fmla="*/ 9223982 w 18171859"/>
                <a:gd name="connsiteY52" fmla="*/ 1621761 h 15946069"/>
                <a:gd name="connsiteX53" fmla="*/ 8782678 w 18171859"/>
                <a:gd name="connsiteY53" fmla="*/ 2171586 h 15946069"/>
                <a:gd name="connsiteX54" fmla="*/ 8272645 w 18171859"/>
                <a:gd name="connsiteY54" fmla="*/ 2102856 h 15946069"/>
                <a:gd name="connsiteX55" fmla="*/ 7853048 w 18171859"/>
                <a:gd name="connsiteY55" fmla="*/ 2526075 h 15946069"/>
                <a:gd name="connsiteX56" fmla="*/ 7323799 w 18171859"/>
                <a:gd name="connsiteY56" fmla="*/ 2632907 h 15946069"/>
                <a:gd name="connsiteX57" fmla="*/ 6977672 w 18171859"/>
                <a:gd name="connsiteY57" fmla="*/ 2178817 h 15946069"/>
                <a:gd name="connsiteX58" fmla="*/ 6594245 w 18171859"/>
                <a:gd name="connsiteY58" fmla="*/ 2055834 h 15946069"/>
                <a:gd name="connsiteX59" fmla="*/ 6431470 w 18171859"/>
                <a:gd name="connsiteY59" fmla="*/ 1314295 h 15946069"/>
                <a:gd name="connsiteX60" fmla="*/ 5642908 w 18171859"/>
                <a:gd name="connsiteY60" fmla="*/ 1343233 h 15946069"/>
                <a:gd name="connsiteX61" fmla="*/ 5150959 w 18171859"/>
                <a:gd name="connsiteY61" fmla="*/ 1610907 h 15946069"/>
                <a:gd name="connsiteX62" fmla="*/ 5480133 w 18171859"/>
                <a:gd name="connsiteY62" fmla="*/ 2167963 h 15946069"/>
                <a:gd name="connsiteX63" fmla="*/ 4742216 w 18171859"/>
                <a:gd name="connsiteY63" fmla="*/ 2862495 h 15946069"/>
                <a:gd name="connsiteX64" fmla="*/ 2658667 w 18171859"/>
                <a:gd name="connsiteY64" fmla="*/ 0 h 15946069"/>
                <a:gd name="connsiteX65" fmla="*/ 2658682 w 18171859"/>
                <a:gd name="connsiteY65" fmla="*/ 1018890 h 15946069"/>
                <a:gd name="connsiteX66" fmla="*/ 1850829 w 18171859"/>
                <a:gd name="connsiteY66" fmla="*/ 1730283 h 15946069"/>
                <a:gd name="connsiteX67" fmla="*/ 1404694 w 18171859"/>
                <a:gd name="connsiteY67" fmla="*/ 2272862 h 15946069"/>
                <a:gd name="connsiteX68" fmla="*/ 2351216 w 18171859"/>
                <a:gd name="connsiteY68" fmla="*/ 3388182 h 15946069"/>
                <a:gd name="connsiteX69" fmla="*/ 2658682 w 18171859"/>
                <a:gd name="connsiteY69" fmla="*/ 4286458 h 15946069"/>
                <a:gd name="connsiteX70" fmla="*/ 1935228 w 18171859"/>
                <a:gd name="connsiteY70" fmla="*/ 5220918 h 15946069"/>
                <a:gd name="connsiteX71" fmla="*/ 875281 w 18171859"/>
                <a:gd name="connsiteY71" fmla="*/ 5166646 h 15946069"/>
                <a:gd name="connsiteX72" fmla="*/ 0 w 18171859"/>
                <a:gd name="connsiteY72" fmla="*/ 5890112 h 15946069"/>
                <a:gd name="connsiteX73" fmla="*/ 72345 w 18171859"/>
                <a:gd name="connsiteY73" fmla="*/ 6921032 h 15946069"/>
                <a:gd name="connsiteX74" fmla="*/ 477776 w 18171859"/>
                <a:gd name="connsiteY74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416903 w 18171859"/>
                <a:gd name="connsiteY22" fmla="*/ 13281357 h 15946069"/>
                <a:gd name="connsiteX23" fmla="*/ 9742454 w 18171859"/>
                <a:gd name="connsiteY23" fmla="*/ 14004811 h 15946069"/>
                <a:gd name="connsiteX24" fmla="*/ 10080066 w 18171859"/>
                <a:gd name="connsiteY24" fmla="*/ 14716204 h 15946069"/>
                <a:gd name="connsiteX25" fmla="*/ 10616683 w 18171859"/>
                <a:gd name="connsiteY25" fmla="*/ 15358294 h 15946069"/>
                <a:gd name="connsiteX26" fmla="*/ 11117010 w 18171859"/>
                <a:gd name="connsiteY26" fmla="*/ 15946069 h 15946069"/>
                <a:gd name="connsiteX27" fmla="*/ 11593335 w 18171859"/>
                <a:gd name="connsiteY27" fmla="*/ 15822497 h 15946069"/>
                <a:gd name="connsiteX28" fmla="*/ 11780218 w 18171859"/>
                <a:gd name="connsiteY28" fmla="*/ 13579811 h 15946069"/>
                <a:gd name="connsiteX29" fmla="*/ 11954994 w 18171859"/>
                <a:gd name="connsiteY29" fmla="*/ 12135890 h 15946069"/>
                <a:gd name="connsiteX30" fmla="*/ 12196146 w 18171859"/>
                <a:gd name="connsiteY30" fmla="*/ 11388328 h 15946069"/>
                <a:gd name="connsiteX31" fmla="*/ 13166775 w 18171859"/>
                <a:gd name="connsiteY31" fmla="*/ 11707856 h 15946069"/>
                <a:gd name="connsiteX32" fmla="*/ 14004775 w 18171859"/>
                <a:gd name="connsiteY32" fmla="*/ 11611395 h 15946069"/>
                <a:gd name="connsiteX33" fmla="*/ 14939235 w 18171859"/>
                <a:gd name="connsiteY33" fmla="*/ 11322014 h 15946069"/>
                <a:gd name="connsiteX34" fmla="*/ 15409477 w 18171859"/>
                <a:gd name="connsiteY34" fmla="*/ 11882693 h 15946069"/>
                <a:gd name="connsiteX35" fmla="*/ 16413199 w 18171859"/>
                <a:gd name="connsiteY35" fmla="*/ 10920339 h 15946069"/>
                <a:gd name="connsiteX36" fmla="*/ 16428336 w 18171859"/>
                <a:gd name="connsiteY36" fmla="*/ 9374732 h 15946069"/>
                <a:gd name="connsiteX37" fmla="*/ 16024409 w 18171859"/>
                <a:gd name="connsiteY37" fmla="*/ 7433474 h 15946069"/>
                <a:gd name="connsiteX38" fmla="*/ 17911414 w 18171859"/>
                <a:gd name="connsiteY38" fmla="*/ 6083041 h 15946069"/>
                <a:gd name="connsiteX39" fmla="*/ 17385711 w 18171859"/>
                <a:gd name="connsiteY39" fmla="*/ 5219213 h 15946069"/>
                <a:gd name="connsiteX40" fmla="*/ 18171858 w 18171859"/>
                <a:gd name="connsiteY40" fmla="*/ 4701949 h 15946069"/>
                <a:gd name="connsiteX41" fmla="*/ 17814953 w 18171859"/>
                <a:gd name="connsiteY41" fmla="*/ 4117660 h 15946069"/>
                <a:gd name="connsiteX42" fmla="*/ 16852763 w 18171859"/>
                <a:gd name="connsiteY42" fmla="*/ 3282076 h 15946069"/>
                <a:gd name="connsiteX43" fmla="*/ 14429201 w 18171859"/>
                <a:gd name="connsiteY43" fmla="*/ 4027238 h 15946069"/>
                <a:gd name="connsiteX44" fmla="*/ 13383819 w 18171859"/>
                <a:gd name="connsiteY44" fmla="*/ 2963756 h 15946069"/>
                <a:gd name="connsiteX45" fmla="*/ 12493981 w 18171859"/>
                <a:gd name="connsiteY45" fmla="*/ 2927587 h 15946069"/>
                <a:gd name="connsiteX46" fmla="*/ 11976717 w 18171859"/>
                <a:gd name="connsiteY46" fmla="*/ 2139025 h 15946069"/>
                <a:gd name="connsiteX47" fmla="*/ 11484768 w 18171859"/>
                <a:gd name="connsiteY47" fmla="*/ 1495155 h 15946069"/>
                <a:gd name="connsiteX48" fmla="*/ 10830043 w 18171859"/>
                <a:gd name="connsiteY48" fmla="*/ 1256418 h 15946069"/>
                <a:gd name="connsiteX49" fmla="*/ 10323633 w 18171859"/>
                <a:gd name="connsiteY49" fmla="*/ 1220249 h 15946069"/>
                <a:gd name="connsiteX50" fmla="*/ 9802745 w 18171859"/>
                <a:gd name="connsiteY50" fmla="*/ 1603676 h 15946069"/>
                <a:gd name="connsiteX51" fmla="*/ 9223982 w 18171859"/>
                <a:gd name="connsiteY51" fmla="*/ 1621761 h 15946069"/>
                <a:gd name="connsiteX52" fmla="*/ 8782678 w 18171859"/>
                <a:gd name="connsiteY52" fmla="*/ 2171586 h 15946069"/>
                <a:gd name="connsiteX53" fmla="*/ 8272645 w 18171859"/>
                <a:gd name="connsiteY53" fmla="*/ 2102856 h 15946069"/>
                <a:gd name="connsiteX54" fmla="*/ 7853048 w 18171859"/>
                <a:gd name="connsiteY54" fmla="*/ 2526075 h 15946069"/>
                <a:gd name="connsiteX55" fmla="*/ 7323799 w 18171859"/>
                <a:gd name="connsiteY55" fmla="*/ 2632907 h 15946069"/>
                <a:gd name="connsiteX56" fmla="*/ 6977672 w 18171859"/>
                <a:gd name="connsiteY56" fmla="*/ 2178817 h 15946069"/>
                <a:gd name="connsiteX57" fmla="*/ 6594245 w 18171859"/>
                <a:gd name="connsiteY57" fmla="*/ 2055834 h 15946069"/>
                <a:gd name="connsiteX58" fmla="*/ 6431470 w 18171859"/>
                <a:gd name="connsiteY58" fmla="*/ 1314295 h 15946069"/>
                <a:gd name="connsiteX59" fmla="*/ 5642908 w 18171859"/>
                <a:gd name="connsiteY59" fmla="*/ 1343233 h 15946069"/>
                <a:gd name="connsiteX60" fmla="*/ 5150959 w 18171859"/>
                <a:gd name="connsiteY60" fmla="*/ 1610907 h 15946069"/>
                <a:gd name="connsiteX61" fmla="*/ 5480133 w 18171859"/>
                <a:gd name="connsiteY61" fmla="*/ 2167963 h 15946069"/>
                <a:gd name="connsiteX62" fmla="*/ 4742216 w 18171859"/>
                <a:gd name="connsiteY62" fmla="*/ 2862495 h 15946069"/>
                <a:gd name="connsiteX63" fmla="*/ 2658667 w 18171859"/>
                <a:gd name="connsiteY63" fmla="*/ 0 h 15946069"/>
                <a:gd name="connsiteX64" fmla="*/ 2658682 w 18171859"/>
                <a:gd name="connsiteY64" fmla="*/ 1018890 h 15946069"/>
                <a:gd name="connsiteX65" fmla="*/ 1850829 w 18171859"/>
                <a:gd name="connsiteY65" fmla="*/ 1730283 h 15946069"/>
                <a:gd name="connsiteX66" fmla="*/ 1404694 w 18171859"/>
                <a:gd name="connsiteY66" fmla="*/ 2272862 h 15946069"/>
                <a:gd name="connsiteX67" fmla="*/ 2351216 w 18171859"/>
                <a:gd name="connsiteY67" fmla="*/ 3388182 h 15946069"/>
                <a:gd name="connsiteX68" fmla="*/ 2658682 w 18171859"/>
                <a:gd name="connsiteY68" fmla="*/ 4286458 h 15946069"/>
                <a:gd name="connsiteX69" fmla="*/ 1935228 w 18171859"/>
                <a:gd name="connsiteY69" fmla="*/ 5220918 h 15946069"/>
                <a:gd name="connsiteX70" fmla="*/ 875281 w 18171859"/>
                <a:gd name="connsiteY70" fmla="*/ 5166646 h 15946069"/>
                <a:gd name="connsiteX71" fmla="*/ 0 w 18171859"/>
                <a:gd name="connsiteY71" fmla="*/ 5890112 h 15946069"/>
                <a:gd name="connsiteX72" fmla="*/ 72345 w 18171859"/>
                <a:gd name="connsiteY72" fmla="*/ 6921032 h 15946069"/>
                <a:gd name="connsiteX73" fmla="*/ 477776 w 18171859"/>
                <a:gd name="connsiteY73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416903 w 18171859"/>
                <a:gd name="connsiteY22" fmla="*/ 13281357 h 15946069"/>
                <a:gd name="connsiteX23" fmla="*/ 9742454 w 18171859"/>
                <a:gd name="connsiteY23" fmla="*/ 14004811 h 15946069"/>
                <a:gd name="connsiteX24" fmla="*/ 10080066 w 18171859"/>
                <a:gd name="connsiteY24" fmla="*/ 14716204 h 15946069"/>
                <a:gd name="connsiteX25" fmla="*/ 10616683 w 18171859"/>
                <a:gd name="connsiteY25" fmla="*/ 15358294 h 15946069"/>
                <a:gd name="connsiteX26" fmla="*/ 11117010 w 18171859"/>
                <a:gd name="connsiteY26" fmla="*/ 15946069 h 15946069"/>
                <a:gd name="connsiteX27" fmla="*/ 11593335 w 18171859"/>
                <a:gd name="connsiteY27" fmla="*/ 15822497 h 15946069"/>
                <a:gd name="connsiteX28" fmla="*/ 11780218 w 18171859"/>
                <a:gd name="connsiteY28" fmla="*/ 13579811 h 15946069"/>
                <a:gd name="connsiteX29" fmla="*/ 11954994 w 18171859"/>
                <a:gd name="connsiteY29" fmla="*/ 12135890 h 15946069"/>
                <a:gd name="connsiteX30" fmla="*/ 12196146 w 18171859"/>
                <a:gd name="connsiteY30" fmla="*/ 11388328 h 15946069"/>
                <a:gd name="connsiteX31" fmla="*/ 13166775 w 18171859"/>
                <a:gd name="connsiteY31" fmla="*/ 11707856 h 15946069"/>
                <a:gd name="connsiteX32" fmla="*/ 14004775 w 18171859"/>
                <a:gd name="connsiteY32" fmla="*/ 11611395 h 15946069"/>
                <a:gd name="connsiteX33" fmla="*/ 15409477 w 18171859"/>
                <a:gd name="connsiteY33" fmla="*/ 11882693 h 15946069"/>
                <a:gd name="connsiteX34" fmla="*/ 16413199 w 18171859"/>
                <a:gd name="connsiteY34" fmla="*/ 10920339 h 15946069"/>
                <a:gd name="connsiteX35" fmla="*/ 16428336 w 18171859"/>
                <a:gd name="connsiteY35" fmla="*/ 9374732 h 15946069"/>
                <a:gd name="connsiteX36" fmla="*/ 16024409 w 18171859"/>
                <a:gd name="connsiteY36" fmla="*/ 7433474 h 15946069"/>
                <a:gd name="connsiteX37" fmla="*/ 17911414 w 18171859"/>
                <a:gd name="connsiteY37" fmla="*/ 6083041 h 15946069"/>
                <a:gd name="connsiteX38" fmla="*/ 17385711 w 18171859"/>
                <a:gd name="connsiteY38" fmla="*/ 5219213 h 15946069"/>
                <a:gd name="connsiteX39" fmla="*/ 18171858 w 18171859"/>
                <a:gd name="connsiteY39" fmla="*/ 4701949 h 15946069"/>
                <a:gd name="connsiteX40" fmla="*/ 17814953 w 18171859"/>
                <a:gd name="connsiteY40" fmla="*/ 4117660 h 15946069"/>
                <a:gd name="connsiteX41" fmla="*/ 16852763 w 18171859"/>
                <a:gd name="connsiteY41" fmla="*/ 3282076 h 15946069"/>
                <a:gd name="connsiteX42" fmla="*/ 14429201 w 18171859"/>
                <a:gd name="connsiteY42" fmla="*/ 4027238 h 15946069"/>
                <a:gd name="connsiteX43" fmla="*/ 13383819 w 18171859"/>
                <a:gd name="connsiteY43" fmla="*/ 2963756 h 15946069"/>
                <a:gd name="connsiteX44" fmla="*/ 12493981 w 18171859"/>
                <a:gd name="connsiteY44" fmla="*/ 2927587 h 15946069"/>
                <a:gd name="connsiteX45" fmla="*/ 11976717 w 18171859"/>
                <a:gd name="connsiteY45" fmla="*/ 2139025 h 15946069"/>
                <a:gd name="connsiteX46" fmla="*/ 11484768 w 18171859"/>
                <a:gd name="connsiteY46" fmla="*/ 1495155 h 15946069"/>
                <a:gd name="connsiteX47" fmla="*/ 10830043 w 18171859"/>
                <a:gd name="connsiteY47" fmla="*/ 1256418 h 15946069"/>
                <a:gd name="connsiteX48" fmla="*/ 10323633 w 18171859"/>
                <a:gd name="connsiteY48" fmla="*/ 1220249 h 15946069"/>
                <a:gd name="connsiteX49" fmla="*/ 9802745 w 18171859"/>
                <a:gd name="connsiteY49" fmla="*/ 1603676 h 15946069"/>
                <a:gd name="connsiteX50" fmla="*/ 9223982 w 18171859"/>
                <a:gd name="connsiteY50" fmla="*/ 1621761 h 15946069"/>
                <a:gd name="connsiteX51" fmla="*/ 8782678 w 18171859"/>
                <a:gd name="connsiteY51" fmla="*/ 2171586 h 15946069"/>
                <a:gd name="connsiteX52" fmla="*/ 8272645 w 18171859"/>
                <a:gd name="connsiteY52" fmla="*/ 2102856 h 15946069"/>
                <a:gd name="connsiteX53" fmla="*/ 7853048 w 18171859"/>
                <a:gd name="connsiteY53" fmla="*/ 2526075 h 15946069"/>
                <a:gd name="connsiteX54" fmla="*/ 7323799 w 18171859"/>
                <a:gd name="connsiteY54" fmla="*/ 2632907 h 15946069"/>
                <a:gd name="connsiteX55" fmla="*/ 6977672 w 18171859"/>
                <a:gd name="connsiteY55" fmla="*/ 2178817 h 15946069"/>
                <a:gd name="connsiteX56" fmla="*/ 6594245 w 18171859"/>
                <a:gd name="connsiteY56" fmla="*/ 2055834 h 15946069"/>
                <a:gd name="connsiteX57" fmla="*/ 6431470 w 18171859"/>
                <a:gd name="connsiteY57" fmla="*/ 1314295 h 15946069"/>
                <a:gd name="connsiteX58" fmla="*/ 5642908 w 18171859"/>
                <a:gd name="connsiteY58" fmla="*/ 1343233 h 15946069"/>
                <a:gd name="connsiteX59" fmla="*/ 5150959 w 18171859"/>
                <a:gd name="connsiteY59" fmla="*/ 1610907 h 15946069"/>
                <a:gd name="connsiteX60" fmla="*/ 5480133 w 18171859"/>
                <a:gd name="connsiteY60" fmla="*/ 2167963 h 15946069"/>
                <a:gd name="connsiteX61" fmla="*/ 4742216 w 18171859"/>
                <a:gd name="connsiteY61" fmla="*/ 2862495 h 15946069"/>
                <a:gd name="connsiteX62" fmla="*/ 2658667 w 18171859"/>
                <a:gd name="connsiteY62" fmla="*/ 0 h 15946069"/>
                <a:gd name="connsiteX63" fmla="*/ 2658682 w 18171859"/>
                <a:gd name="connsiteY63" fmla="*/ 1018890 h 15946069"/>
                <a:gd name="connsiteX64" fmla="*/ 1850829 w 18171859"/>
                <a:gd name="connsiteY64" fmla="*/ 1730283 h 15946069"/>
                <a:gd name="connsiteX65" fmla="*/ 1404694 w 18171859"/>
                <a:gd name="connsiteY65" fmla="*/ 2272862 h 15946069"/>
                <a:gd name="connsiteX66" fmla="*/ 2351216 w 18171859"/>
                <a:gd name="connsiteY66" fmla="*/ 3388182 h 15946069"/>
                <a:gd name="connsiteX67" fmla="*/ 2658682 w 18171859"/>
                <a:gd name="connsiteY67" fmla="*/ 4286458 h 15946069"/>
                <a:gd name="connsiteX68" fmla="*/ 1935228 w 18171859"/>
                <a:gd name="connsiteY68" fmla="*/ 5220918 h 15946069"/>
                <a:gd name="connsiteX69" fmla="*/ 875281 w 18171859"/>
                <a:gd name="connsiteY69" fmla="*/ 5166646 h 15946069"/>
                <a:gd name="connsiteX70" fmla="*/ 0 w 18171859"/>
                <a:gd name="connsiteY70" fmla="*/ 5890112 h 15946069"/>
                <a:gd name="connsiteX71" fmla="*/ 72345 w 18171859"/>
                <a:gd name="connsiteY71" fmla="*/ 6921032 h 15946069"/>
                <a:gd name="connsiteX72" fmla="*/ 477776 w 18171859"/>
                <a:gd name="connsiteY72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416903 w 18171859"/>
                <a:gd name="connsiteY22" fmla="*/ 13281357 h 15946069"/>
                <a:gd name="connsiteX23" fmla="*/ 9742454 w 18171859"/>
                <a:gd name="connsiteY23" fmla="*/ 14004811 h 15946069"/>
                <a:gd name="connsiteX24" fmla="*/ 10080066 w 18171859"/>
                <a:gd name="connsiteY24" fmla="*/ 14716204 h 15946069"/>
                <a:gd name="connsiteX25" fmla="*/ 10616683 w 18171859"/>
                <a:gd name="connsiteY25" fmla="*/ 15358294 h 15946069"/>
                <a:gd name="connsiteX26" fmla="*/ 11117010 w 18171859"/>
                <a:gd name="connsiteY26" fmla="*/ 15946069 h 15946069"/>
                <a:gd name="connsiteX27" fmla="*/ 11593335 w 18171859"/>
                <a:gd name="connsiteY27" fmla="*/ 15822497 h 15946069"/>
                <a:gd name="connsiteX28" fmla="*/ 11780218 w 18171859"/>
                <a:gd name="connsiteY28" fmla="*/ 13579811 h 15946069"/>
                <a:gd name="connsiteX29" fmla="*/ 11954994 w 18171859"/>
                <a:gd name="connsiteY29" fmla="*/ 12135890 h 15946069"/>
                <a:gd name="connsiteX30" fmla="*/ 12196146 w 18171859"/>
                <a:gd name="connsiteY30" fmla="*/ 11388328 h 15946069"/>
                <a:gd name="connsiteX31" fmla="*/ 14004775 w 18171859"/>
                <a:gd name="connsiteY31" fmla="*/ 11611395 h 15946069"/>
                <a:gd name="connsiteX32" fmla="*/ 15409477 w 18171859"/>
                <a:gd name="connsiteY32" fmla="*/ 11882693 h 15946069"/>
                <a:gd name="connsiteX33" fmla="*/ 16413199 w 18171859"/>
                <a:gd name="connsiteY33" fmla="*/ 10920339 h 15946069"/>
                <a:gd name="connsiteX34" fmla="*/ 16428336 w 18171859"/>
                <a:gd name="connsiteY34" fmla="*/ 9374732 h 15946069"/>
                <a:gd name="connsiteX35" fmla="*/ 16024409 w 18171859"/>
                <a:gd name="connsiteY35" fmla="*/ 7433474 h 15946069"/>
                <a:gd name="connsiteX36" fmla="*/ 17911414 w 18171859"/>
                <a:gd name="connsiteY36" fmla="*/ 6083041 h 15946069"/>
                <a:gd name="connsiteX37" fmla="*/ 17385711 w 18171859"/>
                <a:gd name="connsiteY37" fmla="*/ 5219213 h 15946069"/>
                <a:gd name="connsiteX38" fmla="*/ 18171858 w 18171859"/>
                <a:gd name="connsiteY38" fmla="*/ 4701949 h 15946069"/>
                <a:gd name="connsiteX39" fmla="*/ 17814953 w 18171859"/>
                <a:gd name="connsiteY39" fmla="*/ 4117660 h 15946069"/>
                <a:gd name="connsiteX40" fmla="*/ 16852763 w 18171859"/>
                <a:gd name="connsiteY40" fmla="*/ 3282076 h 15946069"/>
                <a:gd name="connsiteX41" fmla="*/ 14429201 w 18171859"/>
                <a:gd name="connsiteY41" fmla="*/ 4027238 h 15946069"/>
                <a:gd name="connsiteX42" fmla="*/ 13383819 w 18171859"/>
                <a:gd name="connsiteY42" fmla="*/ 2963756 h 15946069"/>
                <a:gd name="connsiteX43" fmla="*/ 12493981 w 18171859"/>
                <a:gd name="connsiteY43" fmla="*/ 2927587 h 15946069"/>
                <a:gd name="connsiteX44" fmla="*/ 11976717 w 18171859"/>
                <a:gd name="connsiteY44" fmla="*/ 2139025 h 15946069"/>
                <a:gd name="connsiteX45" fmla="*/ 11484768 w 18171859"/>
                <a:gd name="connsiteY45" fmla="*/ 1495155 h 15946069"/>
                <a:gd name="connsiteX46" fmla="*/ 10830043 w 18171859"/>
                <a:gd name="connsiteY46" fmla="*/ 1256418 h 15946069"/>
                <a:gd name="connsiteX47" fmla="*/ 10323633 w 18171859"/>
                <a:gd name="connsiteY47" fmla="*/ 1220249 h 15946069"/>
                <a:gd name="connsiteX48" fmla="*/ 9802745 w 18171859"/>
                <a:gd name="connsiteY48" fmla="*/ 1603676 h 15946069"/>
                <a:gd name="connsiteX49" fmla="*/ 9223982 w 18171859"/>
                <a:gd name="connsiteY49" fmla="*/ 1621761 h 15946069"/>
                <a:gd name="connsiteX50" fmla="*/ 8782678 w 18171859"/>
                <a:gd name="connsiteY50" fmla="*/ 2171586 h 15946069"/>
                <a:gd name="connsiteX51" fmla="*/ 8272645 w 18171859"/>
                <a:gd name="connsiteY51" fmla="*/ 2102856 h 15946069"/>
                <a:gd name="connsiteX52" fmla="*/ 7853048 w 18171859"/>
                <a:gd name="connsiteY52" fmla="*/ 2526075 h 15946069"/>
                <a:gd name="connsiteX53" fmla="*/ 7323799 w 18171859"/>
                <a:gd name="connsiteY53" fmla="*/ 2632907 h 15946069"/>
                <a:gd name="connsiteX54" fmla="*/ 6977672 w 18171859"/>
                <a:gd name="connsiteY54" fmla="*/ 2178817 h 15946069"/>
                <a:gd name="connsiteX55" fmla="*/ 6594245 w 18171859"/>
                <a:gd name="connsiteY55" fmla="*/ 2055834 h 15946069"/>
                <a:gd name="connsiteX56" fmla="*/ 6431470 w 18171859"/>
                <a:gd name="connsiteY56" fmla="*/ 1314295 h 15946069"/>
                <a:gd name="connsiteX57" fmla="*/ 5642908 w 18171859"/>
                <a:gd name="connsiteY57" fmla="*/ 1343233 h 15946069"/>
                <a:gd name="connsiteX58" fmla="*/ 5150959 w 18171859"/>
                <a:gd name="connsiteY58" fmla="*/ 1610907 h 15946069"/>
                <a:gd name="connsiteX59" fmla="*/ 5480133 w 18171859"/>
                <a:gd name="connsiteY59" fmla="*/ 2167963 h 15946069"/>
                <a:gd name="connsiteX60" fmla="*/ 4742216 w 18171859"/>
                <a:gd name="connsiteY60" fmla="*/ 2862495 h 15946069"/>
                <a:gd name="connsiteX61" fmla="*/ 2658667 w 18171859"/>
                <a:gd name="connsiteY61" fmla="*/ 0 h 15946069"/>
                <a:gd name="connsiteX62" fmla="*/ 2658682 w 18171859"/>
                <a:gd name="connsiteY62" fmla="*/ 1018890 h 15946069"/>
                <a:gd name="connsiteX63" fmla="*/ 1850829 w 18171859"/>
                <a:gd name="connsiteY63" fmla="*/ 1730283 h 15946069"/>
                <a:gd name="connsiteX64" fmla="*/ 1404694 w 18171859"/>
                <a:gd name="connsiteY64" fmla="*/ 2272862 h 15946069"/>
                <a:gd name="connsiteX65" fmla="*/ 2351216 w 18171859"/>
                <a:gd name="connsiteY65" fmla="*/ 3388182 h 15946069"/>
                <a:gd name="connsiteX66" fmla="*/ 2658682 w 18171859"/>
                <a:gd name="connsiteY66" fmla="*/ 4286458 h 15946069"/>
                <a:gd name="connsiteX67" fmla="*/ 1935228 w 18171859"/>
                <a:gd name="connsiteY67" fmla="*/ 5220918 h 15946069"/>
                <a:gd name="connsiteX68" fmla="*/ 875281 w 18171859"/>
                <a:gd name="connsiteY68" fmla="*/ 5166646 h 15946069"/>
                <a:gd name="connsiteX69" fmla="*/ 0 w 18171859"/>
                <a:gd name="connsiteY69" fmla="*/ 5890112 h 15946069"/>
                <a:gd name="connsiteX70" fmla="*/ 72345 w 18171859"/>
                <a:gd name="connsiteY70" fmla="*/ 6921032 h 15946069"/>
                <a:gd name="connsiteX71" fmla="*/ 477776 w 18171859"/>
                <a:gd name="connsiteY71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416903 w 18171859"/>
                <a:gd name="connsiteY22" fmla="*/ 13281357 h 15946069"/>
                <a:gd name="connsiteX23" fmla="*/ 9742454 w 18171859"/>
                <a:gd name="connsiteY23" fmla="*/ 14004811 h 15946069"/>
                <a:gd name="connsiteX24" fmla="*/ 10080066 w 18171859"/>
                <a:gd name="connsiteY24" fmla="*/ 14716204 h 15946069"/>
                <a:gd name="connsiteX25" fmla="*/ 10616683 w 18171859"/>
                <a:gd name="connsiteY25" fmla="*/ 15358294 h 15946069"/>
                <a:gd name="connsiteX26" fmla="*/ 11117010 w 18171859"/>
                <a:gd name="connsiteY26" fmla="*/ 15946069 h 15946069"/>
                <a:gd name="connsiteX27" fmla="*/ 11593335 w 18171859"/>
                <a:gd name="connsiteY27" fmla="*/ 15822497 h 15946069"/>
                <a:gd name="connsiteX28" fmla="*/ 11780218 w 18171859"/>
                <a:gd name="connsiteY28" fmla="*/ 13579811 h 15946069"/>
                <a:gd name="connsiteX29" fmla="*/ 12196146 w 18171859"/>
                <a:gd name="connsiteY29" fmla="*/ 11388328 h 15946069"/>
                <a:gd name="connsiteX30" fmla="*/ 14004775 w 18171859"/>
                <a:gd name="connsiteY30" fmla="*/ 11611395 h 15946069"/>
                <a:gd name="connsiteX31" fmla="*/ 15409477 w 18171859"/>
                <a:gd name="connsiteY31" fmla="*/ 11882693 h 15946069"/>
                <a:gd name="connsiteX32" fmla="*/ 16413199 w 18171859"/>
                <a:gd name="connsiteY32" fmla="*/ 10920339 h 15946069"/>
                <a:gd name="connsiteX33" fmla="*/ 16428336 w 18171859"/>
                <a:gd name="connsiteY33" fmla="*/ 9374732 h 15946069"/>
                <a:gd name="connsiteX34" fmla="*/ 16024409 w 18171859"/>
                <a:gd name="connsiteY34" fmla="*/ 7433474 h 15946069"/>
                <a:gd name="connsiteX35" fmla="*/ 17911414 w 18171859"/>
                <a:gd name="connsiteY35" fmla="*/ 6083041 h 15946069"/>
                <a:gd name="connsiteX36" fmla="*/ 17385711 w 18171859"/>
                <a:gd name="connsiteY36" fmla="*/ 5219213 h 15946069"/>
                <a:gd name="connsiteX37" fmla="*/ 18171858 w 18171859"/>
                <a:gd name="connsiteY37" fmla="*/ 4701949 h 15946069"/>
                <a:gd name="connsiteX38" fmla="*/ 17814953 w 18171859"/>
                <a:gd name="connsiteY38" fmla="*/ 4117660 h 15946069"/>
                <a:gd name="connsiteX39" fmla="*/ 16852763 w 18171859"/>
                <a:gd name="connsiteY39" fmla="*/ 3282076 h 15946069"/>
                <a:gd name="connsiteX40" fmla="*/ 14429201 w 18171859"/>
                <a:gd name="connsiteY40" fmla="*/ 4027238 h 15946069"/>
                <a:gd name="connsiteX41" fmla="*/ 13383819 w 18171859"/>
                <a:gd name="connsiteY41" fmla="*/ 2963756 h 15946069"/>
                <a:gd name="connsiteX42" fmla="*/ 12493981 w 18171859"/>
                <a:gd name="connsiteY42" fmla="*/ 2927587 h 15946069"/>
                <a:gd name="connsiteX43" fmla="*/ 11976717 w 18171859"/>
                <a:gd name="connsiteY43" fmla="*/ 2139025 h 15946069"/>
                <a:gd name="connsiteX44" fmla="*/ 11484768 w 18171859"/>
                <a:gd name="connsiteY44" fmla="*/ 1495155 h 15946069"/>
                <a:gd name="connsiteX45" fmla="*/ 10830043 w 18171859"/>
                <a:gd name="connsiteY45" fmla="*/ 1256418 h 15946069"/>
                <a:gd name="connsiteX46" fmla="*/ 10323633 w 18171859"/>
                <a:gd name="connsiteY46" fmla="*/ 1220249 h 15946069"/>
                <a:gd name="connsiteX47" fmla="*/ 9802745 w 18171859"/>
                <a:gd name="connsiteY47" fmla="*/ 1603676 h 15946069"/>
                <a:gd name="connsiteX48" fmla="*/ 9223982 w 18171859"/>
                <a:gd name="connsiteY48" fmla="*/ 1621761 h 15946069"/>
                <a:gd name="connsiteX49" fmla="*/ 8782678 w 18171859"/>
                <a:gd name="connsiteY49" fmla="*/ 2171586 h 15946069"/>
                <a:gd name="connsiteX50" fmla="*/ 8272645 w 18171859"/>
                <a:gd name="connsiteY50" fmla="*/ 2102856 h 15946069"/>
                <a:gd name="connsiteX51" fmla="*/ 7853048 w 18171859"/>
                <a:gd name="connsiteY51" fmla="*/ 2526075 h 15946069"/>
                <a:gd name="connsiteX52" fmla="*/ 7323799 w 18171859"/>
                <a:gd name="connsiteY52" fmla="*/ 2632907 h 15946069"/>
                <a:gd name="connsiteX53" fmla="*/ 6977672 w 18171859"/>
                <a:gd name="connsiteY53" fmla="*/ 2178817 h 15946069"/>
                <a:gd name="connsiteX54" fmla="*/ 6594245 w 18171859"/>
                <a:gd name="connsiteY54" fmla="*/ 2055834 h 15946069"/>
                <a:gd name="connsiteX55" fmla="*/ 6431470 w 18171859"/>
                <a:gd name="connsiteY55" fmla="*/ 1314295 h 15946069"/>
                <a:gd name="connsiteX56" fmla="*/ 5642908 w 18171859"/>
                <a:gd name="connsiteY56" fmla="*/ 1343233 h 15946069"/>
                <a:gd name="connsiteX57" fmla="*/ 5150959 w 18171859"/>
                <a:gd name="connsiteY57" fmla="*/ 1610907 h 15946069"/>
                <a:gd name="connsiteX58" fmla="*/ 5480133 w 18171859"/>
                <a:gd name="connsiteY58" fmla="*/ 2167963 h 15946069"/>
                <a:gd name="connsiteX59" fmla="*/ 4742216 w 18171859"/>
                <a:gd name="connsiteY59" fmla="*/ 2862495 h 15946069"/>
                <a:gd name="connsiteX60" fmla="*/ 2658667 w 18171859"/>
                <a:gd name="connsiteY60" fmla="*/ 0 h 15946069"/>
                <a:gd name="connsiteX61" fmla="*/ 2658682 w 18171859"/>
                <a:gd name="connsiteY61" fmla="*/ 1018890 h 15946069"/>
                <a:gd name="connsiteX62" fmla="*/ 1850829 w 18171859"/>
                <a:gd name="connsiteY62" fmla="*/ 1730283 h 15946069"/>
                <a:gd name="connsiteX63" fmla="*/ 1404694 w 18171859"/>
                <a:gd name="connsiteY63" fmla="*/ 2272862 h 15946069"/>
                <a:gd name="connsiteX64" fmla="*/ 2351216 w 18171859"/>
                <a:gd name="connsiteY64" fmla="*/ 3388182 h 15946069"/>
                <a:gd name="connsiteX65" fmla="*/ 2658682 w 18171859"/>
                <a:gd name="connsiteY65" fmla="*/ 4286458 h 15946069"/>
                <a:gd name="connsiteX66" fmla="*/ 1935228 w 18171859"/>
                <a:gd name="connsiteY66" fmla="*/ 5220918 h 15946069"/>
                <a:gd name="connsiteX67" fmla="*/ 875281 w 18171859"/>
                <a:gd name="connsiteY67" fmla="*/ 5166646 h 15946069"/>
                <a:gd name="connsiteX68" fmla="*/ 0 w 18171859"/>
                <a:gd name="connsiteY68" fmla="*/ 5890112 h 15946069"/>
                <a:gd name="connsiteX69" fmla="*/ 72345 w 18171859"/>
                <a:gd name="connsiteY69" fmla="*/ 6921032 h 15946069"/>
                <a:gd name="connsiteX70" fmla="*/ 477776 w 18171859"/>
                <a:gd name="connsiteY7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416903 w 18171859"/>
                <a:gd name="connsiteY22" fmla="*/ 13281357 h 15946069"/>
                <a:gd name="connsiteX23" fmla="*/ 9742454 w 18171859"/>
                <a:gd name="connsiteY23" fmla="*/ 14004811 h 15946069"/>
                <a:gd name="connsiteX24" fmla="*/ 10080066 w 18171859"/>
                <a:gd name="connsiteY24" fmla="*/ 14716204 h 15946069"/>
                <a:gd name="connsiteX25" fmla="*/ 10616683 w 18171859"/>
                <a:gd name="connsiteY25" fmla="*/ 15358294 h 15946069"/>
                <a:gd name="connsiteX26" fmla="*/ 11117010 w 18171859"/>
                <a:gd name="connsiteY26" fmla="*/ 15946069 h 15946069"/>
                <a:gd name="connsiteX27" fmla="*/ 11780218 w 18171859"/>
                <a:gd name="connsiteY27" fmla="*/ 13579811 h 15946069"/>
                <a:gd name="connsiteX28" fmla="*/ 12196146 w 18171859"/>
                <a:gd name="connsiteY28" fmla="*/ 11388328 h 15946069"/>
                <a:gd name="connsiteX29" fmla="*/ 14004775 w 18171859"/>
                <a:gd name="connsiteY29" fmla="*/ 11611395 h 15946069"/>
                <a:gd name="connsiteX30" fmla="*/ 15409477 w 18171859"/>
                <a:gd name="connsiteY30" fmla="*/ 11882693 h 15946069"/>
                <a:gd name="connsiteX31" fmla="*/ 16413199 w 18171859"/>
                <a:gd name="connsiteY31" fmla="*/ 10920339 h 15946069"/>
                <a:gd name="connsiteX32" fmla="*/ 16428336 w 18171859"/>
                <a:gd name="connsiteY32" fmla="*/ 9374732 h 15946069"/>
                <a:gd name="connsiteX33" fmla="*/ 16024409 w 18171859"/>
                <a:gd name="connsiteY33" fmla="*/ 7433474 h 15946069"/>
                <a:gd name="connsiteX34" fmla="*/ 17911414 w 18171859"/>
                <a:gd name="connsiteY34" fmla="*/ 6083041 h 15946069"/>
                <a:gd name="connsiteX35" fmla="*/ 17385711 w 18171859"/>
                <a:gd name="connsiteY35" fmla="*/ 5219213 h 15946069"/>
                <a:gd name="connsiteX36" fmla="*/ 18171858 w 18171859"/>
                <a:gd name="connsiteY36" fmla="*/ 4701949 h 15946069"/>
                <a:gd name="connsiteX37" fmla="*/ 17814953 w 18171859"/>
                <a:gd name="connsiteY37" fmla="*/ 4117660 h 15946069"/>
                <a:gd name="connsiteX38" fmla="*/ 16852763 w 18171859"/>
                <a:gd name="connsiteY38" fmla="*/ 3282076 h 15946069"/>
                <a:gd name="connsiteX39" fmla="*/ 14429201 w 18171859"/>
                <a:gd name="connsiteY39" fmla="*/ 4027238 h 15946069"/>
                <a:gd name="connsiteX40" fmla="*/ 13383819 w 18171859"/>
                <a:gd name="connsiteY40" fmla="*/ 2963756 h 15946069"/>
                <a:gd name="connsiteX41" fmla="*/ 12493981 w 18171859"/>
                <a:gd name="connsiteY41" fmla="*/ 2927587 h 15946069"/>
                <a:gd name="connsiteX42" fmla="*/ 11976717 w 18171859"/>
                <a:gd name="connsiteY42" fmla="*/ 2139025 h 15946069"/>
                <a:gd name="connsiteX43" fmla="*/ 11484768 w 18171859"/>
                <a:gd name="connsiteY43" fmla="*/ 1495155 h 15946069"/>
                <a:gd name="connsiteX44" fmla="*/ 10830043 w 18171859"/>
                <a:gd name="connsiteY44" fmla="*/ 1256418 h 15946069"/>
                <a:gd name="connsiteX45" fmla="*/ 10323633 w 18171859"/>
                <a:gd name="connsiteY45" fmla="*/ 1220249 h 15946069"/>
                <a:gd name="connsiteX46" fmla="*/ 9802745 w 18171859"/>
                <a:gd name="connsiteY46" fmla="*/ 1603676 h 15946069"/>
                <a:gd name="connsiteX47" fmla="*/ 9223982 w 18171859"/>
                <a:gd name="connsiteY47" fmla="*/ 1621761 h 15946069"/>
                <a:gd name="connsiteX48" fmla="*/ 8782678 w 18171859"/>
                <a:gd name="connsiteY48" fmla="*/ 2171586 h 15946069"/>
                <a:gd name="connsiteX49" fmla="*/ 8272645 w 18171859"/>
                <a:gd name="connsiteY49" fmla="*/ 2102856 h 15946069"/>
                <a:gd name="connsiteX50" fmla="*/ 7853048 w 18171859"/>
                <a:gd name="connsiteY50" fmla="*/ 2526075 h 15946069"/>
                <a:gd name="connsiteX51" fmla="*/ 7323799 w 18171859"/>
                <a:gd name="connsiteY51" fmla="*/ 2632907 h 15946069"/>
                <a:gd name="connsiteX52" fmla="*/ 6977672 w 18171859"/>
                <a:gd name="connsiteY52" fmla="*/ 2178817 h 15946069"/>
                <a:gd name="connsiteX53" fmla="*/ 6594245 w 18171859"/>
                <a:gd name="connsiteY53" fmla="*/ 2055834 h 15946069"/>
                <a:gd name="connsiteX54" fmla="*/ 6431470 w 18171859"/>
                <a:gd name="connsiteY54" fmla="*/ 1314295 h 15946069"/>
                <a:gd name="connsiteX55" fmla="*/ 5642908 w 18171859"/>
                <a:gd name="connsiteY55" fmla="*/ 1343233 h 15946069"/>
                <a:gd name="connsiteX56" fmla="*/ 5150959 w 18171859"/>
                <a:gd name="connsiteY56" fmla="*/ 1610907 h 15946069"/>
                <a:gd name="connsiteX57" fmla="*/ 5480133 w 18171859"/>
                <a:gd name="connsiteY57" fmla="*/ 2167963 h 15946069"/>
                <a:gd name="connsiteX58" fmla="*/ 4742216 w 18171859"/>
                <a:gd name="connsiteY58" fmla="*/ 2862495 h 15946069"/>
                <a:gd name="connsiteX59" fmla="*/ 2658667 w 18171859"/>
                <a:gd name="connsiteY59" fmla="*/ 0 h 15946069"/>
                <a:gd name="connsiteX60" fmla="*/ 2658682 w 18171859"/>
                <a:gd name="connsiteY60" fmla="*/ 1018890 h 15946069"/>
                <a:gd name="connsiteX61" fmla="*/ 1850829 w 18171859"/>
                <a:gd name="connsiteY61" fmla="*/ 1730283 h 15946069"/>
                <a:gd name="connsiteX62" fmla="*/ 1404694 w 18171859"/>
                <a:gd name="connsiteY62" fmla="*/ 2272862 h 15946069"/>
                <a:gd name="connsiteX63" fmla="*/ 2351216 w 18171859"/>
                <a:gd name="connsiteY63" fmla="*/ 3388182 h 15946069"/>
                <a:gd name="connsiteX64" fmla="*/ 2658682 w 18171859"/>
                <a:gd name="connsiteY64" fmla="*/ 4286458 h 15946069"/>
                <a:gd name="connsiteX65" fmla="*/ 1935228 w 18171859"/>
                <a:gd name="connsiteY65" fmla="*/ 5220918 h 15946069"/>
                <a:gd name="connsiteX66" fmla="*/ 875281 w 18171859"/>
                <a:gd name="connsiteY66" fmla="*/ 5166646 h 15946069"/>
                <a:gd name="connsiteX67" fmla="*/ 0 w 18171859"/>
                <a:gd name="connsiteY67" fmla="*/ 5890112 h 15946069"/>
                <a:gd name="connsiteX68" fmla="*/ 72345 w 18171859"/>
                <a:gd name="connsiteY68" fmla="*/ 6921032 h 15946069"/>
                <a:gd name="connsiteX69" fmla="*/ 477776 w 18171859"/>
                <a:gd name="connsiteY69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416903 w 18171859"/>
                <a:gd name="connsiteY22" fmla="*/ 13281357 h 15946069"/>
                <a:gd name="connsiteX23" fmla="*/ 9742454 w 18171859"/>
                <a:gd name="connsiteY23" fmla="*/ 14004811 h 15946069"/>
                <a:gd name="connsiteX24" fmla="*/ 10616683 w 18171859"/>
                <a:gd name="connsiteY24" fmla="*/ 15358294 h 15946069"/>
                <a:gd name="connsiteX25" fmla="*/ 11117010 w 18171859"/>
                <a:gd name="connsiteY25" fmla="*/ 15946069 h 15946069"/>
                <a:gd name="connsiteX26" fmla="*/ 11780218 w 18171859"/>
                <a:gd name="connsiteY26" fmla="*/ 13579811 h 15946069"/>
                <a:gd name="connsiteX27" fmla="*/ 12196146 w 18171859"/>
                <a:gd name="connsiteY27" fmla="*/ 11388328 h 15946069"/>
                <a:gd name="connsiteX28" fmla="*/ 14004775 w 18171859"/>
                <a:gd name="connsiteY28" fmla="*/ 11611395 h 15946069"/>
                <a:gd name="connsiteX29" fmla="*/ 15409477 w 18171859"/>
                <a:gd name="connsiteY29" fmla="*/ 11882693 h 15946069"/>
                <a:gd name="connsiteX30" fmla="*/ 16413199 w 18171859"/>
                <a:gd name="connsiteY30" fmla="*/ 10920339 h 15946069"/>
                <a:gd name="connsiteX31" fmla="*/ 16428336 w 18171859"/>
                <a:gd name="connsiteY31" fmla="*/ 9374732 h 15946069"/>
                <a:gd name="connsiteX32" fmla="*/ 16024409 w 18171859"/>
                <a:gd name="connsiteY32" fmla="*/ 7433474 h 15946069"/>
                <a:gd name="connsiteX33" fmla="*/ 17911414 w 18171859"/>
                <a:gd name="connsiteY33" fmla="*/ 6083041 h 15946069"/>
                <a:gd name="connsiteX34" fmla="*/ 17385711 w 18171859"/>
                <a:gd name="connsiteY34" fmla="*/ 5219213 h 15946069"/>
                <a:gd name="connsiteX35" fmla="*/ 18171858 w 18171859"/>
                <a:gd name="connsiteY35" fmla="*/ 4701949 h 15946069"/>
                <a:gd name="connsiteX36" fmla="*/ 17814953 w 18171859"/>
                <a:gd name="connsiteY36" fmla="*/ 4117660 h 15946069"/>
                <a:gd name="connsiteX37" fmla="*/ 16852763 w 18171859"/>
                <a:gd name="connsiteY37" fmla="*/ 3282076 h 15946069"/>
                <a:gd name="connsiteX38" fmla="*/ 14429201 w 18171859"/>
                <a:gd name="connsiteY38" fmla="*/ 4027238 h 15946069"/>
                <a:gd name="connsiteX39" fmla="*/ 13383819 w 18171859"/>
                <a:gd name="connsiteY39" fmla="*/ 2963756 h 15946069"/>
                <a:gd name="connsiteX40" fmla="*/ 12493981 w 18171859"/>
                <a:gd name="connsiteY40" fmla="*/ 2927587 h 15946069"/>
                <a:gd name="connsiteX41" fmla="*/ 11976717 w 18171859"/>
                <a:gd name="connsiteY41" fmla="*/ 2139025 h 15946069"/>
                <a:gd name="connsiteX42" fmla="*/ 11484768 w 18171859"/>
                <a:gd name="connsiteY42" fmla="*/ 1495155 h 15946069"/>
                <a:gd name="connsiteX43" fmla="*/ 10830043 w 18171859"/>
                <a:gd name="connsiteY43" fmla="*/ 1256418 h 15946069"/>
                <a:gd name="connsiteX44" fmla="*/ 10323633 w 18171859"/>
                <a:gd name="connsiteY44" fmla="*/ 1220249 h 15946069"/>
                <a:gd name="connsiteX45" fmla="*/ 9802745 w 18171859"/>
                <a:gd name="connsiteY45" fmla="*/ 1603676 h 15946069"/>
                <a:gd name="connsiteX46" fmla="*/ 9223982 w 18171859"/>
                <a:gd name="connsiteY46" fmla="*/ 1621761 h 15946069"/>
                <a:gd name="connsiteX47" fmla="*/ 8782678 w 18171859"/>
                <a:gd name="connsiteY47" fmla="*/ 2171586 h 15946069"/>
                <a:gd name="connsiteX48" fmla="*/ 8272645 w 18171859"/>
                <a:gd name="connsiteY48" fmla="*/ 2102856 h 15946069"/>
                <a:gd name="connsiteX49" fmla="*/ 7853048 w 18171859"/>
                <a:gd name="connsiteY49" fmla="*/ 2526075 h 15946069"/>
                <a:gd name="connsiteX50" fmla="*/ 7323799 w 18171859"/>
                <a:gd name="connsiteY50" fmla="*/ 2632907 h 15946069"/>
                <a:gd name="connsiteX51" fmla="*/ 6977672 w 18171859"/>
                <a:gd name="connsiteY51" fmla="*/ 2178817 h 15946069"/>
                <a:gd name="connsiteX52" fmla="*/ 6594245 w 18171859"/>
                <a:gd name="connsiteY52" fmla="*/ 2055834 h 15946069"/>
                <a:gd name="connsiteX53" fmla="*/ 6431470 w 18171859"/>
                <a:gd name="connsiteY53" fmla="*/ 1314295 h 15946069"/>
                <a:gd name="connsiteX54" fmla="*/ 5642908 w 18171859"/>
                <a:gd name="connsiteY54" fmla="*/ 1343233 h 15946069"/>
                <a:gd name="connsiteX55" fmla="*/ 5150959 w 18171859"/>
                <a:gd name="connsiteY55" fmla="*/ 1610907 h 15946069"/>
                <a:gd name="connsiteX56" fmla="*/ 5480133 w 18171859"/>
                <a:gd name="connsiteY56" fmla="*/ 2167963 h 15946069"/>
                <a:gd name="connsiteX57" fmla="*/ 4742216 w 18171859"/>
                <a:gd name="connsiteY57" fmla="*/ 2862495 h 15946069"/>
                <a:gd name="connsiteX58" fmla="*/ 2658667 w 18171859"/>
                <a:gd name="connsiteY58" fmla="*/ 0 h 15946069"/>
                <a:gd name="connsiteX59" fmla="*/ 2658682 w 18171859"/>
                <a:gd name="connsiteY59" fmla="*/ 1018890 h 15946069"/>
                <a:gd name="connsiteX60" fmla="*/ 1850829 w 18171859"/>
                <a:gd name="connsiteY60" fmla="*/ 1730283 h 15946069"/>
                <a:gd name="connsiteX61" fmla="*/ 1404694 w 18171859"/>
                <a:gd name="connsiteY61" fmla="*/ 2272862 h 15946069"/>
                <a:gd name="connsiteX62" fmla="*/ 2351216 w 18171859"/>
                <a:gd name="connsiteY62" fmla="*/ 3388182 h 15946069"/>
                <a:gd name="connsiteX63" fmla="*/ 2658682 w 18171859"/>
                <a:gd name="connsiteY63" fmla="*/ 4286458 h 15946069"/>
                <a:gd name="connsiteX64" fmla="*/ 1935228 w 18171859"/>
                <a:gd name="connsiteY64" fmla="*/ 5220918 h 15946069"/>
                <a:gd name="connsiteX65" fmla="*/ 875281 w 18171859"/>
                <a:gd name="connsiteY65" fmla="*/ 5166646 h 15946069"/>
                <a:gd name="connsiteX66" fmla="*/ 0 w 18171859"/>
                <a:gd name="connsiteY66" fmla="*/ 5890112 h 15946069"/>
                <a:gd name="connsiteX67" fmla="*/ 72345 w 18171859"/>
                <a:gd name="connsiteY67" fmla="*/ 6921032 h 15946069"/>
                <a:gd name="connsiteX68" fmla="*/ 477776 w 18171859"/>
                <a:gd name="connsiteY68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2493981 w 18171859"/>
                <a:gd name="connsiteY39" fmla="*/ 2927587 h 15946069"/>
                <a:gd name="connsiteX40" fmla="*/ 11976717 w 18171859"/>
                <a:gd name="connsiteY40" fmla="*/ 2139025 h 15946069"/>
                <a:gd name="connsiteX41" fmla="*/ 11484768 w 18171859"/>
                <a:gd name="connsiteY41" fmla="*/ 1495155 h 15946069"/>
                <a:gd name="connsiteX42" fmla="*/ 10830043 w 18171859"/>
                <a:gd name="connsiteY42" fmla="*/ 1256418 h 15946069"/>
                <a:gd name="connsiteX43" fmla="*/ 10323633 w 18171859"/>
                <a:gd name="connsiteY43" fmla="*/ 1220249 h 15946069"/>
                <a:gd name="connsiteX44" fmla="*/ 9802745 w 18171859"/>
                <a:gd name="connsiteY44" fmla="*/ 1603676 h 15946069"/>
                <a:gd name="connsiteX45" fmla="*/ 9223982 w 18171859"/>
                <a:gd name="connsiteY45" fmla="*/ 1621761 h 15946069"/>
                <a:gd name="connsiteX46" fmla="*/ 8782678 w 18171859"/>
                <a:gd name="connsiteY46" fmla="*/ 2171586 h 15946069"/>
                <a:gd name="connsiteX47" fmla="*/ 8272645 w 18171859"/>
                <a:gd name="connsiteY47" fmla="*/ 2102856 h 15946069"/>
                <a:gd name="connsiteX48" fmla="*/ 7853048 w 18171859"/>
                <a:gd name="connsiteY48" fmla="*/ 2526075 h 15946069"/>
                <a:gd name="connsiteX49" fmla="*/ 7323799 w 18171859"/>
                <a:gd name="connsiteY49" fmla="*/ 2632907 h 15946069"/>
                <a:gd name="connsiteX50" fmla="*/ 6977672 w 18171859"/>
                <a:gd name="connsiteY50" fmla="*/ 2178817 h 15946069"/>
                <a:gd name="connsiteX51" fmla="*/ 6594245 w 18171859"/>
                <a:gd name="connsiteY51" fmla="*/ 2055834 h 15946069"/>
                <a:gd name="connsiteX52" fmla="*/ 6431470 w 18171859"/>
                <a:gd name="connsiteY52" fmla="*/ 1314295 h 15946069"/>
                <a:gd name="connsiteX53" fmla="*/ 5642908 w 18171859"/>
                <a:gd name="connsiteY53" fmla="*/ 1343233 h 15946069"/>
                <a:gd name="connsiteX54" fmla="*/ 5150959 w 18171859"/>
                <a:gd name="connsiteY54" fmla="*/ 1610907 h 15946069"/>
                <a:gd name="connsiteX55" fmla="*/ 5480133 w 18171859"/>
                <a:gd name="connsiteY55" fmla="*/ 2167963 h 15946069"/>
                <a:gd name="connsiteX56" fmla="*/ 4742216 w 18171859"/>
                <a:gd name="connsiteY56" fmla="*/ 2862495 h 15946069"/>
                <a:gd name="connsiteX57" fmla="*/ 2658667 w 18171859"/>
                <a:gd name="connsiteY57" fmla="*/ 0 h 15946069"/>
                <a:gd name="connsiteX58" fmla="*/ 2658682 w 18171859"/>
                <a:gd name="connsiteY58" fmla="*/ 1018890 h 15946069"/>
                <a:gd name="connsiteX59" fmla="*/ 1850829 w 18171859"/>
                <a:gd name="connsiteY59" fmla="*/ 1730283 h 15946069"/>
                <a:gd name="connsiteX60" fmla="*/ 1404694 w 18171859"/>
                <a:gd name="connsiteY60" fmla="*/ 2272862 h 15946069"/>
                <a:gd name="connsiteX61" fmla="*/ 2351216 w 18171859"/>
                <a:gd name="connsiteY61" fmla="*/ 3388182 h 15946069"/>
                <a:gd name="connsiteX62" fmla="*/ 2658682 w 18171859"/>
                <a:gd name="connsiteY62" fmla="*/ 4286458 h 15946069"/>
                <a:gd name="connsiteX63" fmla="*/ 1935228 w 18171859"/>
                <a:gd name="connsiteY63" fmla="*/ 5220918 h 15946069"/>
                <a:gd name="connsiteX64" fmla="*/ 875281 w 18171859"/>
                <a:gd name="connsiteY64" fmla="*/ 5166646 h 15946069"/>
                <a:gd name="connsiteX65" fmla="*/ 0 w 18171859"/>
                <a:gd name="connsiteY65" fmla="*/ 5890112 h 15946069"/>
                <a:gd name="connsiteX66" fmla="*/ 72345 w 18171859"/>
                <a:gd name="connsiteY66" fmla="*/ 6921032 h 15946069"/>
                <a:gd name="connsiteX67" fmla="*/ 477776 w 18171859"/>
                <a:gd name="connsiteY67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11484768 w 18171859"/>
                <a:gd name="connsiteY40" fmla="*/ 1495155 h 15946069"/>
                <a:gd name="connsiteX41" fmla="*/ 10830043 w 18171859"/>
                <a:gd name="connsiteY41" fmla="*/ 1256418 h 15946069"/>
                <a:gd name="connsiteX42" fmla="*/ 10323633 w 18171859"/>
                <a:gd name="connsiteY42" fmla="*/ 1220249 h 15946069"/>
                <a:gd name="connsiteX43" fmla="*/ 9802745 w 18171859"/>
                <a:gd name="connsiteY43" fmla="*/ 1603676 h 15946069"/>
                <a:gd name="connsiteX44" fmla="*/ 9223982 w 18171859"/>
                <a:gd name="connsiteY44" fmla="*/ 1621761 h 15946069"/>
                <a:gd name="connsiteX45" fmla="*/ 8782678 w 18171859"/>
                <a:gd name="connsiteY45" fmla="*/ 2171586 h 15946069"/>
                <a:gd name="connsiteX46" fmla="*/ 8272645 w 18171859"/>
                <a:gd name="connsiteY46" fmla="*/ 2102856 h 15946069"/>
                <a:gd name="connsiteX47" fmla="*/ 7853048 w 18171859"/>
                <a:gd name="connsiteY47" fmla="*/ 2526075 h 15946069"/>
                <a:gd name="connsiteX48" fmla="*/ 7323799 w 18171859"/>
                <a:gd name="connsiteY48" fmla="*/ 2632907 h 15946069"/>
                <a:gd name="connsiteX49" fmla="*/ 6977672 w 18171859"/>
                <a:gd name="connsiteY49" fmla="*/ 2178817 h 15946069"/>
                <a:gd name="connsiteX50" fmla="*/ 6594245 w 18171859"/>
                <a:gd name="connsiteY50" fmla="*/ 2055834 h 15946069"/>
                <a:gd name="connsiteX51" fmla="*/ 6431470 w 18171859"/>
                <a:gd name="connsiteY51" fmla="*/ 1314295 h 15946069"/>
                <a:gd name="connsiteX52" fmla="*/ 5642908 w 18171859"/>
                <a:gd name="connsiteY52" fmla="*/ 1343233 h 15946069"/>
                <a:gd name="connsiteX53" fmla="*/ 5150959 w 18171859"/>
                <a:gd name="connsiteY53" fmla="*/ 1610907 h 15946069"/>
                <a:gd name="connsiteX54" fmla="*/ 5480133 w 18171859"/>
                <a:gd name="connsiteY54" fmla="*/ 2167963 h 15946069"/>
                <a:gd name="connsiteX55" fmla="*/ 4742216 w 18171859"/>
                <a:gd name="connsiteY55" fmla="*/ 2862495 h 15946069"/>
                <a:gd name="connsiteX56" fmla="*/ 2658667 w 18171859"/>
                <a:gd name="connsiteY56" fmla="*/ 0 h 15946069"/>
                <a:gd name="connsiteX57" fmla="*/ 2658682 w 18171859"/>
                <a:gd name="connsiteY57" fmla="*/ 1018890 h 15946069"/>
                <a:gd name="connsiteX58" fmla="*/ 1850829 w 18171859"/>
                <a:gd name="connsiteY58" fmla="*/ 1730283 h 15946069"/>
                <a:gd name="connsiteX59" fmla="*/ 1404694 w 18171859"/>
                <a:gd name="connsiteY59" fmla="*/ 2272862 h 15946069"/>
                <a:gd name="connsiteX60" fmla="*/ 2351216 w 18171859"/>
                <a:gd name="connsiteY60" fmla="*/ 3388182 h 15946069"/>
                <a:gd name="connsiteX61" fmla="*/ 2658682 w 18171859"/>
                <a:gd name="connsiteY61" fmla="*/ 4286458 h 15946069"/>
                <a:gd name="connsiteX62" fmla="*/ 1935228 w 18171859"/>
                <a:gd name="connsiteY62" fmla="*/ 5220918 h 15946069"/>
                <a:gd name="connsiteX63" fmla="*/ 875281 w 18171859"/>
                <a:gd name="connsiteY63" fmla="*/ 5166646 h 15946069"/>
                <a:gd name="connsiteX64" fmla="*/ 0 w 18171859"/>
                <a:gd name="connsiteY64" fmla="*/ 5890112 h 15946069"/>
                <a:gd name="connsiteX65" fmla="*/ 72345 w 18171859"/>
                <a:gd name="connsiteY65" fmla="*/ 6921032 h 15946069"/>
                <a:gd name="connsiteX66" fmla="*/ 477776 w 18171859"/>
                <a:gd name="connsiteY66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10830043 w 18171859"/>
                <a:gd name="connsiteY40" fmla="*/ 1256418 h 15946069"/>
                <a:gd name="connsiteX41" fmla="*/ 10323633 w 18171859"/>
                <a:gd name="connsiteY41" fmla="*/ 1220249 h 15946069"/>
                <a:gd name="connsiteX42" fmla="*/ 9802745 w 18171859"/>
                <a:gd name="connsiteY42" fmla="*/ 1603676 h 15946069"/>
                <a:gd name="connsiteX43" fmla="*/ 9223982 w 18171859"/>
                <a:gd name="connsiteY43" fmla="*/ 1621761 h 15946069"/>
                <a:gd name="connsiteX44" fmla="*/ 8782678 w 18171859"/>
                <a:gd name="connsiteY44" fmla="*/ 2171586 h 15946069"/>
                <a:gd name="connsiteX45" fmla="*/ 8272645 w 18171859"/>
                <a:gd name="connsiteY45" fmla="*/ 2102856 h 15946069"/>
                <a:gd name="connsiteX46" fmla="*/ 7853048 w 18171859"/>
                <a:gd name="connsiteY46" fmla="*/ 2526075 h 15946069"/>
                <a:gd name="connsiteX47" fmla="*/ 7323799 w 18171859"/>
                <a:gd name="connsiteY47" fmla="*/ 2632907 h 15946069"/>
                <a:gd name="connsiteX48" fmla="*/ 6977672 w 18171859"/>
                <a:gd name="connsiteY48" fmla="*/ 2178817 h 15946069"/>
                <a:gd name="connsiteX49" fmla="*/ 6594245 w 18171859"/>
                <a:gd name="connsiteY49" fmla="*/ 2055834 h 15946069"/>
                <a:gd name="connsiteX50" fmla="*/ 6431470 w 18171859"/>
                <a:gd name="connsiteY50" fmla="*/ 1314295 h 15946069"/>
                <a:gd name="connsiteX51" fmla="*/ 5642908 w 18171859"/>
                <a:gd name="connsiteY51" fmla="*/ 1343233 h 15946069"/>
                <a:gd name="connsiteX52" fmla="*/ 5150959 w 18171859"/>
                <a:gd name="connsiteY52" fmla="*/ 1610907 h 15946069"/>
                <a:gd name="connsiteX53" fmla="*/ 5480133 w 18171859"/>
                <a:gd name="connsiteY53" fmla="*/ 2167963 h 15946069"/>
                <a:gd name="connsiteX54" fmla="*/ 4742216 w 18171859"/>
                <a:gd name="connsiteY54" fmla="*/ 2862495 h 15946069"/>
                <a:gd name="connsiteX55" fmla="*/ 2658667 w 18171859"/>
                <a:gd name="connsiteY55" fmla="*/ 0 h 15946069"/>
                <a:gd name="connsiteX56" fmla="*/ 2658682 w 18171859"/>
                <a:gd name="connsiteY56" fmla="*/ 1018890 h 15946069"/>
                <a:gd name="connsiteX57" fmla="*/ 1850829 w 18171859"/>
                <a:gd name="connsiteY57" fmla="*/ 1730283 h 15946069"/>
                <a:gd name="connsiteX58" fmla="*/ 1404694 w 18171859"/>
                <a:gd name="connsiteY58" fmla="*/ 2272862 h 15946069"/>
                <a:gd name="connsiteX59" fmla="*/ 2351216 w 18171859"/>
                <a:gd name="connsiteY59" fmla="*/ 3388182 h 15946069"/>
                <a:gd name="connsiteX60" fmla="*/ 2658682 w 18171859"/>
                <a:gd name="connsiteY60" fmla="*/ 4286458 h 15946069"/>
                <a:gd name="connsiteX61" fmla="*/ 1935228 w 18171859"/>
                <a:gd name="connsiteY61" fmla="*/ 5220918 h 15946069"/>
                <a:gd name="connsiteX62" fmla="*/ 875281 w 18171859"/>
                <a:gd name="connsiteY62" fmla="*/ 5166646 h 15946069"/>
                <a:gd name="connsiteX63" fmla="*/ 0 w 18171859"/>
                <a:gd name="connsiteY63" fmla="*/ 5890112 h 15946069"/>
                <a:gd name="connsiteX64" fmla="*/ 72345 w 18171859"/>
                <a:gd name="connsiteY64" fmla="*/ 6921032 h 15946069"/>
                <a:gd name="connsiteX65" fmla="*/ 477776 w 18171859"/>
                <a:gd name="connsiteY65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10830043 w 18171859"/>
                <a:gd name="connsiteY40" fmla="*/ 1256418 h 15946069"/>
                <a:gd name="connsiteX41" fmla="*/ 9802745 w 18171859"/>
                <a:gd name="connsiteY41" fmla="*/ 1603676 h 15946069"/>
                <a:gd name="connsiteX42" fmla="*/ 9223982 w 18171859"/>
                <a:gd name="connsiteY42" fmla="*/ 1621761 h 15946069"/>
                <a:gd name="connsiteX43" fmla="*/ 8782678 w 18171859"/>
                <a:gd name="connsiteY43" fmla="*/ 2171586 h 15946069"/>
                <a:gd name="connsiteX44" fmla="*/ 8272645 w 18171859"/>
                <a:gd name="connsiteY44" fmla="*/ 2102856 h 15946069"/>
                <a:gd name="connsiteX45" fmla="*/ 7853048 w 18171859"/>
                <a:gd name="connsiteY45" fmla="*/ 2526075 h 15946069"/>
                <a:gd name="connsiteX46" fmla="*/ 7323799 w 18171859"/>
                <a:gd name="connsiteY46" fmla="*/ 2632907 h 15946069"/>
                <a:gd name="connsiteX47" fmla="*/ 6977672 w 18171859"/>
                <a:gd name="connsiteY47" fmla="*/ 2178817 h 15946069"/>
                <a:gd name="connsiteX48" fmla="*/ 6594245 w 18171859"/>
                <a:gd name="connsiteY48" fmla="*/ 2055834 h 15946069"/>
                <a:gd name="connsiteX49" fmla="*/ 6431470 w 18171859"/>
                <a:gd name="connsiteY49" fmla="*/ 1314295 h 15946069"/>
                <a:gd name="connsiteX50" fmla="*/ 5642908 w 18171859"/>
                <a:gd name="connsiteY50" fmla="*/ 1343233 h 15946069"/>
                <a:gd name="connsiteX51" fmla="*/ 5150959 w 18171859"/>
                <a:gd name="connsiteY51" fmla="*/ 1610907 h 15946069"/>
                <a:gd name="connsiteX52" fmla="*/ 5480133 w 18171859"/>
                <a:gd name="connsiteY52" fmla="*/ 2167963 h 15946069"/>
                <a:gd name="connsiteX53" fmla="*/ 4742216 w 18171859"/>
                <a:gd name="connsiteY53" fmla="*/ 2862495 h 15946069"/>
                <a:gd name="connsiteX54" fmla="*/ 2658667 w 18171859"/>
                <a:gd name="connsiteY54" fmla="*/ 0 h 15946069"/>
                <a:gd name="connsiteX55" fmla="*/ 2658682 w 18171859"/>
                <a:gd name="connsiteY55" fmla="*/ 1018890 h 15946069"/>
                <a:gd name="connsiteX56" fmla="*/ 1850829 w 18171859"/>
                <a:gd name="connsiteY56" fmla="*/ 1730283 h 15946069"/>
                <a:gd name="connsiteX57" fmla="*/ 1404694 w 18171859"/>
                <a:gd name="connsiteY57" fmla="*/ 2272862 h 15946069"/>
                <a:gd name="connsiteX58" fmla="*/ 2351216 w 18171859"/>
                <a:gd name="connsiteY58" fmla="*/ 3388182 h 15946069"/>
                <a:gd name="connsiteX59" fmla="*/ 2658682 w 18171859"/>
                <a:gd name="connsiteY59" fmla="*/ 4286458 h 15946069"/>
                <a:gd name="connsiteX60" fmla="*/ 1935228 w 18171859"/>
                <a:gd name="connsiteY60" fmla="*/ 5220918 h 15946069"/>
                <a:gd name="connsiteX61" fmla="*/ 875281 w 18171859"/>
                <a:gd name="connsiteY61" fmla="*/ 5166646 h 15946069"/>
                <a:gd name="connsiteX62" fmla="*/ 0 w 18171859"/>
                <a:gd name="connsiteY62" fmla="*/ 5890112 h 15946069"/>
                <a:gd name="connsiteX63" fmla="*/ 72345 w 18171859"/>
                <a:gd name="connsiteY63" fmla="*/ 6921032 h 15946069"/>
                <a:gd name="connsiteX64" fmla="*/ 477776 w 18171859"/>
                <a:gd name="connsiteY64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10830043 w 18171859"/>
                <a:gd name="connsiteY40" fmla="*/ 1256418 h 15946069"/>
                <a:gd name="connsiteX41" fmla="*/ 9802745 w 18171859"/>
                <a:gd name="connsiteY41" fmla="*/ 1603676 h 15946069"/>
                <a:gd name="connsiteX42" fmla="*/ 8782678 w 18171859"/>
                <a:gd name="connsiteY42" fmla="*/ 2171586 h 15946069"/>
                <a:gd name="connsiteX43" fmla="*/ 8272645 w 18171859"/>
                <a:gd name="connsiteY43" fmla="*/ 2102856 h 15946069"/>
                <a:gd name="connsiteX44" fmla="*/ 7853048 w 18171859"/>
                <a:gd name="connsiteY44" fmla="*/ 2526075 h 15946069"/>
                <a:gd name="connsiteX45" fmla="*/ 7323799 w 18171859"/>
                <a:gd name="connsiteY45" fmla="*/ 2632907 h 15946069"/>
                <a:gd name="connsiteX46" fmla="*/ 6977672 w 18171859"/>
                <a:gd name="connsiteY46" fmla="*/ 2178817 h 15946069"/>
                <a:gd name="connsiteX47" fmla="*/ 6594245 w 18171859"/>
                <a:gd name="connsiteY47" fmla="*/ 2055834 h 15946069"/>
                <a:gd name="connsiteX48" fmla="*/ 6431470 w 18171859"/>
                <a:gd name="connsiteY48" fmla="*/ 1314295 h 15946069"/>
                <a:gd name="connsiteX49" fmla="*/ 5642908 w 18171859"/>
                <a:gd name="connsiteY49" fmla="*/ 1343233 h 15946069"/>
                <a:gd name="connsiteX50" fmla="*/ 5150959 w 18171859"/>
                <a:gd name="connsiteY50" fmla="*/ 1610907 h 15946069"/>
                <a:gd name="connsiteX51" fmla="*/ 5480133 w 18171859"/>
                <a:gd name="connsiteY51" fmla="*/ 2167963 h 15946069"/>
                <a:gd name="connsiteX52" fmla="*/ 4742216 w 18171859"/>
                <a:gd name="connsiteY52" fmla="*/ 2862495 h 15946069"/>
                <a:gd name="connsiteX53" fmla="*/ 2658667 w 18171859"/>
                <a:gd name="connsiteY53" fmla="*/ 0 h 15946069"/>
                <a:gd name="connsiteX54" fmla="*/ 2658682 w 18171859"/>
                <a:gd name="connsiteY54" fmla="*/ 1018890 h 15946069"/>
                <a:gd name="connsiteX55" fmla="*/ 1850829 w 18171859"/>
                <a:gd name="connsiteY55" fmla="*/ 1730283 h 15946069"/>
                <a:gd name="connsiteX56" fmla="*/ 1404694 w 18171859"/>
                <a:gd name="connsiteY56" fmla="*/ 2272862 h 15946069"/>
                <a:gd name="connsiteX57" fmla="*/ 2351216 w 18171859"/>
                <a:gd name="connsiteY57" fmla="*/ 3388182 h 15946069"/>
                <a:gd name="connsiteX58" fmla="*/ 2658682 w 18171859"/>
                <a:gd name="connsiteY58" fmla="*/ 4286458 h 15946069"/>
                <a:gd name="connsiteX59" fmla="*/ 1935228 w 18171859"/>
                <a:gd name="connsiteY59" fmla="*/ 5220918 h 15946069"/>
                <a:gd name="connsiteX60" fmla="*/ 875281 w 18171859"/>
                <a:gd name="connsiteY60" fmla="*/ 5166646 h 15946069"/>
                <a:gd name="connsiteX61" fmla="*/ 0 w 18171859"/>
                <a:gd name="connsiteY61" fmla="*/ 5890112 h 15946069"/>
                <a:gd name="connsiteX62" fmla="*/ 72345 w 18171859"/>
                <a:gd name="connsiteY62" fmla="*/ 6921032 h 15946069"/>
                <a:gd name="connsiteX63" fmla="*/ 477776 w 18171859"/>
                <a:gd name="connsiteY63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10830043 w 18171859"/>
                <a:gd name="connsiteY40" fmla="*/ 1256418 h 15946069"/>
                <a:gd name="connsiteX41" fmla="*/ 9802745 w 18171859"/>
                <a:gd name="connsiteY41" fmla="*/ 1603676 h 15946069"/>
                <a:gd name="connsiteX42" fmla="*/ 8782678 w 18171859"/>
                <a:gd name="connsiteY42" fmla="*/ 2171586 h 15946069"/>
                <a:gd name="connsiteX43" fmla="*/ 7853048 w 18171859"/>
                <a:gd name="connsiteY43" fmla="*/ 2526075 h 15946069"/>
                <a:gd name="connsiteX44" fmla="*/ 7323799 w 18171859"/>
                <a:gd name="connsiteY44" fmla="*/ 2632907 h 15946069"/>
                <a:gd name="connsiteX45" fmla="*/ 6977672 w 18171859"/>
                <a:gd name="connsiteY45" fmla="*/ 2178817 h 15946069"/>
                <a:gd name="connsiteX46" fmla="*/ 6594245 w 18171859"/>
                <a:gd name="connsiteY46" fmla="*/ 2055834 h 15946069"/>
                <a:gd name="connsiteX47" fmla="*/ 6431470 w 18171859"/>
                <a:gd name="connsiteY47" fmla="*/ 1314295 h 15946069"/>
                <a:gd name="connsiteX48" fmla="*/ 5642908 w 18171859"/>
                <a:gd name="connsiteY48" fmla="*/ 1343233 h 15946069"/>
                <a:gd name="connsiteX49" fmla="*/ 5150959 w 18171859"/>
                <a:gd name="connsiteY49" fmla="*/ 1610907 h 15946069"/>
                <a:gd name="connsiteX50" fmla="*/ 5480133 w 18171859"/>
                <a:gd name="connsiteY50" fmla="*/ 2167963 h 15946069"/>
                <a:gd name="connsiteX51" fmla="*/ 4742216 w 18171859"/>
                <a:gd name="connsiteY51" fmla="*/ 2862495 h 15946069"/>
                <a:gd name="connsiteX52" fmla="*/ 2658667 w 18171859"/>
                <a:gd name="connsiteY52" fmla="*/ 0 h 15946069"/>
                <a:gd name="connsiteX53" fmla="*/ 2658682 w 18171859"/>
                <a:gd name="connsiteY53" fmla="*/ 1018890 h 15946069"/>
                <a:gd name="connsiteX54" fmla="*/ 1850829 w 18171859"/>
                <a:gd name="connsiteY54" fmla="*/ 1730283 h 15946069"/>
                <a:gd name="connsiteX55" fmla="*/ 1404694 w 18171859"/>
                <a:gd name="connsiteY55" fmla="*/ 2272862 h 15946069"/>
                <a:gd name="connsiteX56" fmla="*/ 2351216 w 18171859"/>
                <a:gd name="connsiteY56" fmla="*/ 3388182 h 15946069"/>
                <a:gd name="connsiteX57" fmla="*/ 2658682 w 18171859"/>
                <a:gd name="connsiteY57" fmla="*/ 4286458 h 15946069"/>
                <a:gd name="connsiteX58" fmla="*/ 1935228 w 18171859"/>
                <a:gd name="connsiteY58" fmla="*/ 5220918 h 15946069"/>
                <a:gd name="connsiteX59" fmla="*/ 875281 w 18171859"/>
                <a:gd name="connsiteY59" fmla="*/ 5166646 h 15946069"/>
                <a:gd name="connsiteX60" fmla="*/ 0 w 18171859"/>
                <a:gd name="connsiteY60" fmla="*/ 5890112 h 15946069"/>
                <a:gd name="connsiteX61" fmla="*/ 72345 w 18171859"/>
                <a:gd name="connsiteY61" fmla="*/ 6921032 h 15946069"/>
                <a:gd name="connsiteX62" fmla="*/ 477776 w 18171859"/>
                <a:gd name="connsiteY62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10830043 w 18171859"/>
                <a:gd name="connsiteY40" fmla="*/ 1256418 h 15946069"/>
                <a:gd name="connsiteX41" fmla="*/ 9802745 w 18171859"/>
                <a:gd name="connsiteY41" fmla="*/ 1603676 h 15946069"/>
                <a:gd name="connsiteX42" fmla="*/ 8782678 w 18171859"/>
                <a:gd name="connsiteY42" fmla="*/ 2171586 h 15946069"/>
                <a:gd name="connsiteX43" fmla="*/ 7853048 w 18171859"/>
                <a:gd name="connsiteY43" fmla="*/ 2526075 h 15946069"/>
                <a:gd name="connsiteX44" fmla="*/ 6977672 w 18171859"/>
                <a:gd name="connsiteY44" fmla="*/ 2178817 h 15946069"/>
                <a:gd name="connsiteX45" fmla="*/ 6594245 w 18171859"/>
                <a:gd name="connsiteY45" fmla="*/ 2055834 h 15946069"/>
                <a:gd name="connsiteX46" fmla="*/ 6431470 w 18171859"/>
                <a:gd name="connsiteY46" fmla="*/ 1314295 h 15946069"/>
                <a:gd name="connsiteX47" fmla="*/ 5642908 w 18171859"/>
                <a:gd name="connsiteY47" fmla="*/ 1343233 h 15946069"/>
                <a:gd name="connsiteX48" fmla="*/ 5150959 w 18171859"/>
                <a:gd name="connsiteY48" fmla="*/ 1610907 h 15946069"/>
                <a:gd name="connsiteX49" fmla="*/ 5480133 w 18171859"/>
                <a:gd name="connsiteY49" fmla="*/ 2167963 h 15946069"/>
                <a:gd name="connsiteX50" fmla="*/ 4742216 w 18171859"/>
                <a:gd name="connsiteY50" fmla="*/ 2862495 h 15946069"/>
                <a:gd name="connsiteX51" fmla="*/ 2658667 w 18171859"/>
                <a:gd name="connsiteY51" fmla="*/ 0 h 15946069"/>
                <a:gd name="connsiteX52" fmla="*/ 2658682 w 18171859"/>
                <a:gd name="connsiteY52" fmla="*/ 1018890 h 15946069"/>
                <a:gd name="connsiteX53" fmla="*/ 1850829 w 18171859"/>
                <a:gd name="connsiteY53" fmla="*/ 1730283 h 15946069"/>
                <a:gd name="connsiteX54" fmla="*/ 1404694 w 18171859"/>
                <a:gd name="connsiteY54" fmla="*/ 2272862 h 15946069"/>
                <a:gd name="connsiteX55" fmla="*/ 2351216 w 18171859"/>
                <a:gd name="connsiteY55" fmla="*/ 3388182 h 15946069"/>
                <a:gd name="connsiteX56" fmla="*/ 2658682 w 18171859"/>
                <a:gd name="connsiteY56" fmla="*/ 4286458 h 15946069"/>
                <a:gd name="connsiteX57" fmla="*/ 1935228 w 18171859"/>
                <a:gd name="connsiteY57" fmla="*/ 5220918 h 15946069"/>
                <a:gd name="connsiteX58" fmla="*/ 875281 w 18171859"/>
                <a:gd name="connsiteY58" fmla="*/ 5166646 h 15946069"/>
                <a:gd name="connsiteX59" fmla="*/ 0 w 18171859"/>
                <a:gd name="connsiteY59" fmla="*/ 5890112 h 15946069"/>
                <a:gd name="connsiteX60" fmla="*/ 72345 w 18171859"/>
                <a:gd name="connsiteY60" fmla="*/ 6921032 h 15946069"/>
                <a:gd name="connsiteX61" fmla="*/ 477776 w 18171859"/>
                <a:gd name="connsiteY61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10830043 w 18171859"/>
                <a:gd name="connsiteY40" fmla="*/ 1256418 h 15946069"/>
                <a:gd name="connsiteX41" fmla="*/ 9802745 w 18171859"/>
                <a:gd name="connsiteY41" fmla="*/ 1603676 h 15946069"/>
                <a:gd name="connsiteX42" fmla="*/ 8878357 w 18171859"/>
                <a:gd name="connsiteY42" fmla="*/ 3865809 h 15946069"/>
                <a:gd name="connsiteX43" fmla="*/ 7853048 w 18171859"/>
                <a:gd name="connsiteY43" fmla="*/ 2526075 h 15946069"/>
                <a:gd name="connsiteX44" fmla="*/ 6977672 w 18171859"/>
                <a:gd name="connsiteY44" fmla="*/ 2178817 h 15946069"/>
                <a:gd name="connsiteX45" fmla="*/ 6594245 w 18171859"/>
                <a:gd name="connsiteY45" fmla="*/ 2055834 h 15946069"/>
                <a:gd name="connsiteX46" fmla="*/ 6431470 w 18171859"/>
                <a:gd name="connsiteY46" fmla="*/ 1314295 h 15946069"/>
                <a:gd name="connsiteX47" fmla="*/ 5642908 w 18171859"/>
                <a:gd name="connsiteY47" fmla="*/ 1343233 h 15946069"/>
                <a:gd name="connsiteX48" fmla="*/ 5150959 w 18171859"/>
                <a:gd name="connsiteY48" fmla="*/ 1610907 h 15946069"/>
                <a:gd name="connsiteX49" fmla="*/ 5480133 w 18171859"/>
                <a:gd name="connsiteY49" fmla="*/ 2167963 h 15946069"/>
                <a:gd name="connsiteX50" fmla="*/ 4742216 w 18171859"/>
                <a:gd name="connsiteY50" fmla="*/ 2862495 h 15946069"/>
                <a:gd name="connsiteX51" fmla="*/ 2658667 w 18171859"/>
                <a:gd name="connsiteY51" fmla="*/ 0 h 15946069"/>
                <a:gd name="connsiteX52" fmla="*/ 2658682 w 18171859"/>
                <a:gd name="connsiteY52" fmla="*/ 1018890 h 15946069"/>
                <a:gd name="connsiteX53" fmla="*/ 1850829 w 18171859"/>
                <a:gd name="connsiteY53" fmla="*/ 1730283 h 15946069"/>
                <a:gd name="connsiteX54" fmla="*/ 1404694 w 18171859"/>
                <a:gd name="connsiteY54" fmla="*/ 2272862 h 15946069"/>
                <a:gd name="connsiteX55" fmla="*/ 2351216 w 18171859"/>
                <a:gd name="connsiteY55" fmla="*/ 3388182 h 15946069"/>
                <a:gd name="connsiteX56" fmla="*/ 2658682 w 18171859"/>
                <a:gd name="connsiteY56" fmla="*/ 4286458 h 15946069"/>
                <a:gd name="connsiteX57" fmla="*/ 1935228 w 18171859"/>
                <a:gd name="connsiteY57" fmla="*/ 5220918 h 15946069"/>
                <a:gd name="connsiteX58" fmla="*/ 875281 w 18171859"/>
                <a:gd name="connsiteY58" fmla="*/ 5166646 h 15946069"/>
                <a:gd name="connsiteX59" fmla="*/ 0 w 18171859"/>
                <a:gd name="connsiteY59" fmla="*/ 5890112 h 15946069"/>
                <a:gd name="connsiteX60" fmla="*/ 72345 w 18171859"/>
                <a:gd name="connsiteY60" fmla="*/ 6921032 h 15946069"/>
                <a:gd name="connsiteX61" fmla="*/ 477776 w 18171859"/>
                <a:gd name="connsiteY61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10830043 w 18171859"/>
                <a:gd name="connsiteY40" fmla="*/ 1256418 h 15946069"/>
                <a:gd name="connsiteX41" fmla="*/ 9802745 w 18171859"/>
                <a:gd name="connsiteY41" fmla="*/ 1603676 h 15946069"/>
                <a:gd name="connsiteX42" fmla="*/ 8878357 w 18171859"/>
                <a:gd name="connsiteY42" fmla="*/ 3865809 h 15946069"/>
                <a:gd name="connsiteX43" fmla="*/ 7446446 w 18171859"/>
                <a:gd name="connsiteY43" fmla="*/ 3504429 h 15946069"/>
                <a:gd name="connsiteX44" fmla="*/ 6977672 w 18171859"/>
                <a:gd name="connsiteY44" fmla="*/ 2178817 h 15946069"/>
                <a:gd name="connsiteX45" fmla="*/ 6594245 w 18171859"/>
                <a:gd name="connsiteY45" fmla="*/ 2055834 h 15946069"/>
                <a:gd name="connsiteX46" fmla="*/ 6431470 w 18171859"/>
                <a:gd name="connsiteY46" fmla="*/ 1314295 h 15946069"/>
                <a:gd name="connsiteX47" fmla="*/ 5642908 w 18171859"/>
                <a:gd name="connsiteY47" fmla="*/ 1343233 h 15946069"/>
                <a:gd name="connsiteX48" fmla="*/ 5150959 w 18171859"/>
                <a:gd name="connsiteY48" fmla="*/ 1610907 h 15946069"/>
                <a:gd name="connsiteX49" fmla="*/ 5480133 w 18171859"/>
                <a:gd name="connsiteY49" fmla="*/ 2167963 h 15946069"/>
                <a:gd name="connsiteX50" fmla="*/ 4742216 w 18171859"/>
                <a:gd name="connsiteY50" fmla="*/ 2862495 h 15946069"/>
                <a:gd name="connsiteX51" fmla="*/ 2658667 w 18171859"/>
                <a:gd name="connsiteY51" fmla="*/ 0 h 15946069"/>
                <a:gd name="connsiteX52" fmla="*/ 2658682 w 18171859"/>
                <a:gd name="connsiteY52" fmla="*/ 1018890 h 15946069"/>
                <a:gd name="connsiteX53" fmla="*/ 1850829 w 18171859"/>
                <a:gd name="connsiteY53" fmla="*/ 1730283 h 15946069"/>
                <a:gd name="connsiteX54" fmla="*/ 1404694 w 18171859"/>
                <a:gd name="connsiteY54" fmla="*/ 2272862 h 15946069"/>
                <a:gd name="connsiteX55" fmla="*/ 2351216 w 18171859"/>
                <a:gd name="connsiteY55" fmla="*/ 3388182 h 15946069"/>
                <a:gd name="connsiteX56" fmla="*/ 2658682 w 18171859"/>
                <a:gd name="connsiteY56" fmla="*/ 4286458 h 15946069"/>
                <a:gd name="connsiteX57" fmla="*/ 1935228 w 18171859"/>
                <a:gd name="connsiteY57" fmla="*/ 5220918 h 15946069"/>
                <a:gd name="connsiteX58" fmla="*/ 875281 w 18171859"/>
                <a:gd name="connsiteY58" fmla="*/ 5166646 h 15946069"/>
                <a:gd name="connsiteX59" fmla="*/ 0 w 18171859"/>
                <a:gd name="connsiteY59" fmla="*/ 5890112 h 15946069"/>
                <a:gd name="connsiteX60" fmla="*/ 72345 w 18171859"/>
                <a:gd name="connsiteY60" fmla="*/ 6921032 h 15946069"/>
                <a:gd name="connsiteX61" fmla="*/ 477776 w 18171859"/>
                <a:gd name="connsiteY61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10830043 w 18171859"/>
                <a:gd name="connsiteY40" fmla="*/ 1256418 h 15946069"/>
                <a:gd name="connsiteX41" fmla="*/ 9802745 w 18171859"/>
                <a:gd name="connsiteY41" fmla="*/ 1603676 h 15946069"/>
                <a:gd name="connsiteX42" fmla="*/ 8878357 w 18171859"/>
                <a:gd name="connsiteY42" fmla="*/ 3865809 h 15946069"/>
                <a:gd name="connsiteX43" fmla="*/ 7446446 w 18171859"/>
                <a:gd name="connsiteY43" fmla="*/ 3504429 h 15946069"/>
                <a:gd name="connsiteX44" fmla="*/ 7264687 w 18171859"/>
                <a:gd name="connsiteY44" fmla="*/ 2131091 h 15946069"/>
                <a:gd name="connsiteX45" fmla="*/ 6594245 w 18171859"/>
                <a:gd name="connsiteY45" fmla="*/ 2055834 h 15946069"/>
                <a:gd name="connsiteX46" fmla="*/ 6431470 w 18171859"/>
                <a:gd name="connsiteY46" fmla="*/ 1314295 h 15946069"/>
                <a:gd name="connsiteX47" fmla="*/ 5642908 w 18171859"/>
                <a:gd name="connsiteY47" fmla="*/ 1343233 h 15946069"/>
                <a:gd name="connsiteX48" fmla="*/ 5150959 w 18171859"/>
                <a:gd name="connsiteY48" fmla="*/ 1610907 h 15946069"/>
                <a:gd name="connsiteX49" fmla="*/ 5480133 w 18171859"/>
                <a:gd name="connsiteY49" fmla="*/ 2167963 h 15946069"/>
                <a:gd name="connsiteX50" fmla="*/ 4742216 w 18171859"/>
                <a:gd name="connsiteY50" fmla="*/ 2862495 h 15946069"/>
                <a:gd name="connsiteX51" fmla="*/ 2658667 w 18171859"/>
                <a:gd name="connsiteY51" fmla="*/ 0 h 15946069"/>
                <a:gd name="connsiteX52" fmla="*/ 2658682 w 18171859"/>
                <a:gd name="connsiteY52" fmla="*/ 1018890 h 15946069"/>
                <a:gd name="connsiteX53" fmla="*/ 1850829 w 18171859"/>
                <a:gd name="connsiteY53" fmla="*/ 1730283 h 15946069"/>
                <a:gd name="connsiteX54" fmla="*/ 1404694 w 18171859"/>
                <a:gd name="connsiteY54" fmla="*/ 2272862 h 15946069"/>
                <a:gd name="connsiteX55" fmla="*/ 2351216 w 18171859"/>
                <a:gd name="connsiteY55" fmla="*/ 3388182 h 15946069"/>
                <a:gd name="connsiteX56" fmla="*/ 2658682 w 18171859"/>
                <a:gd name="connsiteY56" fmla="*/ 4286458 h 15946069"/>
                <a:gd name="connsiteX57" fmla="*/ 1935228 w 18171859"/>
                <a:gd name="connsiteY57" fmla="*/ 5220918 h 15946069"/>
                <a:gd name="connsiteX58" fmla="*/ 875281 w 18171859"/>
                <a:gd name="connsiteY58" fmla="*/ 5166646 h 15946069"/>
                <a:gd name="connsiteX59" fmla="*/ 0 w 18171859"/>
                <a:gd name="connsiteY59" fmla="*/ 5890112 h 15946069"/>
                <a:gd name="connsiteX60" fmla="*/ 72345 w 18171859"/>
                <a:gd name="connsiteY60" fmla="*/ 6921032 h 15946069"/>
                <a:gd name="connsiteX61" fmla="*/ 477776 w 18171859"/>
                <a:gd name="connsiteY61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10830043 w 18171859"/>
                <a:gd name="connsiteY40" fmla="*/ 1256418 h 15946069"/>
                <a:gd name="connsiteX41" fmla="*/ 9802745 w 18171859"/>
                <a:gd name="connsiteY41" fmla="*/ 1603676 h 15946069"/>
                <a:gd name="connsiteX42" fmla="*/ 8878357 w 18171859"/>
                <a:gd name="connsiteY42" fmla="*/ 3865809 h 15946069"/>
                <a:gd name="connsiteX43" fmla="*/ 7637793 w 18171859"/>
                <a:gd name="connsiteY43" fmla="*/ 2526072 h 15946069"/>
                <a:gd name="connsiteX44" fmla="*/ 7264687 w 18171859"/>
                <a:gd name="connsiteY44" fmla="*/ 2131091 h 15946069"/>
                <a:gd name="connsiteX45" fmla="*/ 6594245 w 18171859"/>
                <a:gd name="connsiteY45" fmla="*/ 2055834 h 15946069"/>
                <a:gd name="connsiteX46" fmla="*/ 6431470 w 18171859"/>
                <a:gd name="connsiteY46" fmla="*/ 1314295 h 15946069"/>
                <a:gd name="connsiteX47" fmla="*/ 5642908 w 18171859"/>
                <a:gd name="connsiteY47" fmla="*/ 1343233 h 15946069"/>
                <a:gd name="connsiteX48" fmla="*/ 5150959 w 18171859"/>
                <a:gd name="connsiteY48" fmla="*/ 1610907 h 15946069"/>
                <a:gd name="connsiteX49" fmla="*/ 5480133 w 18171859"/>
                <a:gd name="connsiteY49" fmla="*/ 2167963 h 15946069"/>
                <a:gd name="connsiteX50" fmla="*/ 4742216 w 18171859"/>
                <a:gd name="connsiteY50" fmla="*/ 2862495 h 15946069"/>
                <a:gd name="connsiteX51" fmla="*/ 2658667 w 18171859"/>
                <a:gd name="connsiteY51" fmla="*/ 0 h 15946069"/>
                <a:gd name="connsiteX52" fmla="*/ 2658682 w 18171859"/>
                <a:gd name="connsiteY52" fmla="*/ 1018890 h 15946069"/>
                <a:gd name="connsiteX53" fmla="*/ 1850829 w 18171859"/>
                <a:gd name="connsiteY53" fmla="*/ 1730283 h 15946069"/>
                <a:gd name="connsiteX54" fmla="*/ 1404694 w 18171859"/>
                <a:gd name="connsiteY54" fmla="*/ 2272862 h 15946069"/>
                <a:gd name="connsiteX55" fmla="*/ 2351216 w 18171859"/>
                <a:gd name="connsiteY55" fmla="*/ 3388182 h 15946069"/>
                <a:gd name="connsiteX56" fmla="*/ 2658682 w 18171859"/>
                <a:gd name="connsiteY56" fmla="*/ 4286458 h 15946069"/>
                <a:gd name="connsiteX57" fmla="*/ 1935228 w 18171859"/>
                <a:gd name="connsiteY57" fmla="*/ 5220918 h 15946069"/>
                <a:gd name="connsiteX58" fmla="*/ 875281 w 18171859"/>
                <a:gd name="connsiteY58" fmla="*/ 5166646 h 15946069"/>
                <a:gd name="connsiteX59" fmla="*/ 0 w 18171859"/>
                <a:gd name="connsiteY59" fmla="*/ 5890112 h 15946069"/>
                <a:gd name="connsiteX60" fmla="*/ 72345 w 18171859"/>
                <a:gd name="connsiteY60" fmla="*/ 6921032 h 15946069"/>
                <a:gd name="connsiteX61" fmla="*/ 477776 w 18171859"/>
                <a:gd name="connsiteY61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10830043 w 18171859"/>
                <a:gd name="connsiteY40" fmla="*/ 1256418 h 15946069"/>
                <a:gd name="connsiteX41" fmla="*/ 9802745 w 18171859"/>
                <a:gd name="connsiteY41" fmla="*/ 1603676 h 15946069"/>
                <a:gd name="connsiteX42" fmla="*/ 7706376 w 18171859"/>
                <a:gd name="connsiteY42" fmla="*/ 4987336 h 15946069"/>
                <a:gd name="connsiteX43" fmla="*/ 7637793 w 18171859"/>
                <a:gd name="connsiteY43" fmla="*/ 2526072 h 15946069"/>
                <a:gd name="connsiteX44" fmla="*/ 7264687 w 18171859"/>
                <a:gd name="connsiteY44" fmla="*/ 2131091 h 15946069"/>
                <a:gd name="connsiteX45" fmla="*/ 6594245 w 18171859"/>
                <a:gd name="connsiteY45" fmla="*/ 2055834 h 15946069"/>
                <a:gd name="connsiteX46" fmla="*/ 6431470 w 18171859"/>
                <a:gd name="connsiteY46" fmla="*/ 1314295 h 15946069"/>
                <a:gd name="connsiteX47" fmla="*/ 5642908 w 18171859"/>
                <a:gd name="connsiteY47" fmla="*/ 1343233 h 15946069"/>
                <a:gd name="connsiteX48" fmla="*/ 5150959 w 18171859"/>
                <a:gd name="connsiteY48" fmla="*/ 1610907 h 15946069"/>
                <a:gd name="connsiteX49" fmla="*/ 5480133 w 18171859"/>
                <a:gd name="connsiteY49" fmla="*/ 2167963 h 15946069"/>
                <a:gd name="connsiteX50" fmla="*/ 4742216 w 18171859"/>
                <a:gd name="connsiteY50" fmla="*/ 2862495 h 15946069"/>
                <a:gd name="connsiteX51" fmla="*/ 2658667 w 18171859"/>
                <a:gd name="connsiteY51" fmla="*/ 0 h 15946069"/>
                <a:gd name="connsiteX52" fmla="*/ 2658682 w 18171859"/>
                <a:gd name="connsiteY52" fmla="*/ 1018890 h 15946069"/>
                <a:gd name="connsiteX53" fmla="*/ 1850829 w 18171859"/>
                <a:gd name="connsiteY53" fmla="*/ 1730283 h 15946069"/>
                <a:gd name="connsiteX54" fmla="*/ 1404694 w 18171859"/>
                <a:gd name="connsiteY54" fmla="*/ 2272862 h 15946069"/>
                <a:gd name="connsiteX55" fmla="*/ 2351216 w 18171859"/>
                <a:gd name="connsiteY55" fmla="*/ 3388182 h 15946069"/>
                <a:gd name="connsiteX56" fmla="*/ 2658682 w 18171859"/>
                <a:gd name="connsiteY56" fmla="*/ 4286458 h 15946069"/>
                <a:gd name="connsiteX57" fmla="*/ 1935228 w 18171859"/>
                <a:gd name="connsiteY57" fmla="*/ 5220918 h 15946069"/>
                <a:gd name="connsiteX58" fmla="*/ 875281 w 18171859"/>
                <a:gd name="connsiteY58" fmla="*/ 5166646 h 15946069"/>
                <a:gd name="connsiteX59" fmla="*/ 0 w 18171859"/>
                <a:gd name="connsiteY59" fmla="*/ 5890112 h 15946069"/>
                <a:gd name="connsiteX60" fmla="*/ 72345 w 18171859"/>
                <a:gd name="connsiteY60" fmla="*/ 6921032 h 15946069"/>
                <a:gd name="connsiteX61" fmla="*/ 477776 w 18171859"/>
                <a:gd name="connsiteY61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10830043 w 18171859"/>
                <a:gd name="connsiteY40" fmla="*/ 1256418 h 15946069"/>
                <a:gd name="connsiteX41" fmla="*/ 9802745 w 18171859"/>
                <a:gd name="connsiteY41" fmla="*/ 1603676 h 15946069"/>
                <a:gd name="connsiteX42" fmla="*/ 8112983 w 18171859"/>
                <a:gd name="connsiteY42" fmla="*/ 3770361 h 15946069"/>
                <a:gd name="connsiteX43" fmla="*/ 7637793 w 18171859"/>
                <a:gd name="connsiteY43" fmla="*/ 2526072 h 15946069"/>
                <a:gd name="connsiteX44" fmla="*/ 7264687 w 18171859"/>
                <a:gd name="connsiteY44" fmla="*/ 2131091 h 15946069"/>
                <a:gd name="connsiteX45" fmla="*/ 6594245 w 18171859"/>
                <a:gd name="connsiteY45" fmla="*/ 2055834 h 15946069"/>
                <a:gd name="connsiteX46" fmla="*/ 6431470 w 18171859"/>
                <a:gd name="connsiteY46" fmla="*/ 1314295 h 15946069"/>
                <a:gd name="connsiteX47" fmla="*/ 5642908 w 18171859"/>
                <a:gd name="connsiteY47" fmla="*/ 1343233 h 15946069"/>
                <a:gd name="connsiteX48" fmla="*/ 5150959 w 18171859"/>
                <a:gd name="connsiteY48" fmla="*/ 1610907 h 15946069"/>
                <a:gd name="connsiteX49" fmla="*/ 5480133 w 18171859"/>
                <a:gd name="connsiteY49" fmla="*/ 2167963 h 15946069"/>
                <a:gd name="connsiteX50" fmla="*/ 4742216 w 18171859"/>
                <a:gd name="connsiteY50" fmla="*/ 2862495 h 15946069"/>
                <a:gd name="connsiteX51" fmla="*/ 2658667 w 18171859"/>
                <a:gd name="connsiteY51" fmla="*/ 0 h 15946069"/>
                <a:gd name="connsiteX52" fmla="*/ 2658682 w 18171859"/>
                <a:gd name="connsiteY52" fmla="*/ 1018890 h 15946069"/>
                <a:gd name="connsiteX53" fmla="*/ 1850829 w 18171859"/>
                <a:gd name="connsiteY53" fmla="*/ 1730283 h 15946069"/>
                <a:gd name="connsiteX54" fmla="*/ 1404694 w 18171859"/>
                <a:gd name="connsiteY54" fmla="*/ 2272862 h 15946069"/>
                <a:gd name="connsiteX55" fmla="*/ 2351216 w 18171859"/>
                <a:gd name="connsiteY55" fmla="*/ 3388182 h 15946069"/>
                <a:gd name="connsiteX56" fmla="*/ 2658682 w 18171859"/>
                <a:gd name="connsiteY56" fmla="*/ 4286458 h 15946069"/>
                <a:gd name="connsiteX57" fmla="*/ 1935228 w 18171859"/>
                <a:gd name="connsiteY57" fmla="*/ 5220918 h 15946069"/>
                <a:gd name="connsiteX58" fmla="*/ 875281 w 18171859"/>
                <a:gd name="connsiteY58" fmla="*/ 5166646 h 15946069"/>
                <a:gd name="connsiteX59" fmla="*/ 0 w 18171859"/>
                <a:gd name="connsiteY59" fmla="*/ 5890112 h 15946069"/>
                <a:gd name="connsiteX60" fmla="*/ 72345 w 18171859"/>
                <a:gd name="connsiteY60" fmla="*/ 6921032 h 15946069"/>
                <a:gd name="connsiteX61" fmla="*/ 477776 w 18171859"/>
                <a:gd name="connsiteY61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10830043 w 18171859"/>
                <a:gd name="connsiteY40" fmla="*/ 1256418 h 15946069"/>
                <a:gd name="connsiteX41" fmla="*/ 10161509 w 18171859"/>
                <a:gd name="connsiteY41" fmla="*/ 5230746 h 15946069"/>
                <a:gd name="connsiteX42" fmla="*/ 8112983 w 18171859"/>
                <a:gd name="connsiteY42" fmla="*/ 3770361 h 15946069"/>
                <a:gd name="connsiteX43" fmla="*/ 7637793 w 18171859"/>
                <a:gd name="connsiteY43" fmla="*/ 2526072 h 15946069"/>
                <a:gd name="connsiteX44" fmla="*/ 7264687 w 18171859"/>
                <a:gd name="connsiteY44" fmla="*/ 2131091 h 15946069"/>
                <a:gd name="connsiteX45" fmla="*/ 6594245 w 18171859"/>
                <a:gd name="connsiteY45" fmla="*/ 2055834 h 15946069"/>
                <a:gd name="connsiteX46" fmla="*/ 6431470 w 18171859"/>
                <a:gd name="connsiteY46" fmla="*/ 1314295 h 15946069"/>
                <a:gd name="connsiteX47" fmla="*/ 5642908 w 18171859"/>
                <a:gd name="connsiteY47" fmla="*/ 1343233 h 15946069"/>
                <a:gd name="connsiteX48" fmla="*/ 5150959 w 18171859"/>
                <a:gd name="connsiteY48" fmla="*/ 1610907 h 15946069"/>
                <a:gd name="connsiteX49" fmla="*/ 5480133 w 18171859"/>
                <a:gd name="connsiteY49" fmla="*/ 2167963 h 15946069"/>
                <a:gd name="connsiteX50" fmla="*/ 4742216 w 18171859"/>
                <a:gd name="connsiteY50" fmla="*/ 2862495 h 15946069"/>
                <a:gd name="connsiteX51" fmla="*/ 2658667 w 18171859"/>
                <a:gd name="connsiteY51" fmla="*/ 0 h 15946069"/>
                <a:gd name="connsiteX52" fmla="*/ 2658682 w 18171859"/>
                <a:gd name="connsiteY52" fmla="*/ 1018890 h 15946069"/>
                <a:gd name="connsiteX53" fmla="*/ 1850829 w 18171859"/>
                <a:gd name="connsiteY53" fmla="*/ 1730283 h 15946069"/>
                <a:gd name="connsiteX54" fmla="*/ 1404694 w 18171859"/>
                <a:gd name="connsiteY54" fmla="*/ 2272862 h 15946069"/>
                <a:gd name="connsiteX55" fmla="*/ 2351216 w 18171859"/>
                <a:gd name="connsiteY55" fmla="*/ 3388182 h 15946069"/>
                <a:gd name="connsiteX56" fmla="*/ 2658682 w 18171859"/>
                <a:gd name="connsiteY56" fmla="*/ 4286458 h 15946069"/>
                <a:gd name="connsiteX57" fmla="*/ 1935228 w 18171859"/>
                <a:gd name="connsiteY57" fmla="*/ 5220918 h 15946069"/>
                <a:gd name="connsiteX58" fmla="*/ 875281 w 18171859"/>
                <a:gd name="connsiteY58" fmla="*/ 5166646 h 15946069"/>
                <a:gd name="connsiteX59" fmla="*/ 0 w 18171859"/>
                <a:gd name="connsiteY59" fmla="*/ 5890112 h 15946069"/>
                <a:gd name="connsiteX60" fmla="*/ 72345 w 18171859"/>
                <a:gd name="connsiteY60" fmla="*/ 6921032 h 15946069"/>
                <a:gd name="connsiteX61" fmla="*/ 477776 w 18171859"/>
                <a:gd name="connsiteY61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10830043 w 18171859"/>
                <a:gd name="connsiteY40" fmla="*/ 1256418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9801570 w 18171859"/>
                <a:gd name="connsiteY40" fmla="*/ 6243641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6859659 w 18171859"/>
                <a:gd name="connsiteY40" fmla="*/ 6315230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6285626 w 18171859"/>
                <a:gd name="connsiteY40" fmla="*/ 5551639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5998609 w 18171859"/>
                <a:gd name="connsiteY40" fmla="*/ 5074389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6309547 w 18171859"/>
                <a:gd name="connsiteY40" fmla="*/ 5647086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6166035 w 18171859"/>
                <a:gd name="connsiteY40" fmla="*/ 5408467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11976717 w 18171859"/>
                <a:gd name="connsiteY39" fmla="*/ 2139025 h 15946069"/>
                <a:gd name="connsiteX40" fmla="*/ 7744624 w 18171859"/>
                <a:gd name="connsiteY40" fmla="*/ 4382387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9704505 w 18171859"/>
                <a:gd name="connsiteY39" fmla="*/ 7102384 h 15946069"/>
                <a:gd name="connsiteX40" fmla="*/ 7744624 w 18171859"/>
                <a:gd name="connsiteY40" fmla="*/ 4382387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7982404 w 18171859"/>
                <a:gd name="connsiteY39" fmla="*/ 7508044 h 15946069"/>
                <a:gd name="connsiteX40" fmla="*/ 7744624 w 18171859"/>
                <a:gd name="connsiteY40" fmla="*/ 4382387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13383819 w 18171859"/>
                <a:gd name="connsiteY38" fmla="*/ 2963756 h 15946069"/>
                <a:gd name="connsiteX39" fmla="*/ 8412926 w 18171859"/>
                <a:gd name="connsiteY39" fmla="*/ 4835463 h 15946069"/>
                <a:gd name="connsiteX40" fmla="*/ 7744624 w 18171859"/>
                <a:gd name="connsiteY40" fmla="*/ 4382387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6017067 w 18171859"/>
                <a:gd name="connsiteY38" fmla="*/ 9931550 h 15946069"/>
                <a:gd name="connsiteX39" fmla="*/ 8412926 w 18171859"/>
                <a:gd name="connsiteY39" fmla="*/ 4835463 h 15946069"/>
                <a:gd name="connsiteX40" fmla="*/ 7744624 w 18171859"/>
                <a:gd name="connsiteY40" fmla="*/ 4382387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4429201 w 18171859"/>
                <a:gd name="connsiteY37" fmla="*/ 4027238 h 15946069"/>
                <a:gd name="connsiteX38" fmla="*/ 8600211 w 18171859"/>
                <a:gd name="connsiteY38" fmla="*/ 5564744 h 15946069"/>
                <a:gd name="connsiteX39" fmla="*/ 8412926 w 18171859"/>
                <a:gd name="connsiteY39" fmla="*/ 4835463 h 15946069"/>
                <a:gd name="connsiteX40" fmla="*/ 7744624 w 18171859"/>
                <a:gd name="connsiteY40" fmla="*/ 4382387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10076123 w 18171859"/>
                <a:gd name="connsiteY37" fmla="*/ 8513358 h 15946069"/>
                <a:gd name="connsiteX38" fmla="*/ 8600211 w 18171859"/>
                <a:gd name="connsiteY38" fmla="*/ 5564744 h 15946069"/>
                <a:gd name="connsiteX39" fmla="*/ 8412926 w 18171859"/>
                <a:gd name="connsiteY39" fmla="*/ 4835463 h 15946069"/>
                <a:gd name="connsiteX40" fmla="*/ 7744624 w 18171859"/>
                <a:gd name="connsiteY40" fmla="*/ 4382387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16852763 w 18171859"/>
                <a:gd name="connsiteY36" fmla="*/ 3282076 h 15946069"/>
                <a:gd name="connsiteX37" fmla="*/ 9215073 w 18171859"/>
                <a:gd name="connsiteY37" fmla="*/ 5387392 h 15946069"/>
                <a:gd name="connsiteX38" fmla="*/ 8600211 w 18171859"/>
                <a:gd name="connsiteY38" fmla="*/ 5564744 h 15946069"/>
                <a:gd name="connsiteX39" fmla="*/ 8412926 w 18171859"/>
                <a:gd name="connsiteY39" fmla="*/ 4835463 h 15946069"/>
                <a:gd name="connsiteX40" fmla="*/ 7744624 w 18171859"/>
                <a:gd name="connsiteY40" fmla="*/ 4382387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9844788 w 18171859"/>
                <a:gd name="connsiteY36" fmla="*/ 9748760 h 15946069"/>
                <a:gd name="connsiteX37" fmla="*/ 9215073 w 18171859"/>
                <a:gd name="connsiteY37" fmla="*/ 5387392 h 15946069"/>
                <a:gd name="connsiteX38" fmla="*/ 8600211 w 18171859"/>
                <a:gd name="connsiteY38" fmla="*/ 5564744 h 15946069"/>
                <a:gd name="connsiteX39" fmla="*/ 8412926 w 18171859"/>
                <a:gd name="connsiteY39" fmla="*/ 4835463 h 15946069"/>
                <a:gd name="connsiteX40" fmla="*/ 7744624 w 18171859"/>
                <a:gd name="connsiteY40" fmla="*/ 4382387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9366431 w 18171859"/>
                <a:gd name="connsiteY36" fmla="*/ 5930786 h 15946069"/>
                <a:gd name="connsiteX37" fmla="*/ 9215073 w 18171859"/>
                <a:gd name="connsiteY37" fmla="*/ 5387392 h 15946069"/>
                <a:gd name="connsiteX38" fmla="*/ 8600211 w 18171859"/>
                <a:gd name="connsiteY38" fmla="*/ 5564744 h 15946069"/>
                <a:gd name="connsiteX39" fmla="*/ 8412926 w 18171859"/>
                <a:gd name="connsiteY39" fmla="*/ 4835463 h 15946069"/>
                <a:gd name="connsiteX40" fmla="*/ 7744624 w 18171859"/>
                <a:gd name="connsiteY40" fmla="*/ 4382387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8218364 w 18171859"/>
                <a:gd name="connsiteY36" fmla="*/ 7219350 h 15946069"/>
                <a:gd name="connsiteX37" fmla="*/ 9215073 w 18171859"/>
                <a:gd name="connsiteY37" fmla="*/ 5387392 h 15946069"/>
                <a:gd name="connsiteX38" fmla="*/ 8600211 w 18171859"/>
                <a:gd name="connsiteY38" fmla="*/ 5564744 h 15946069"/>
                <a:gd name="connsiteX39" fmla="*/ 8412926 w 18171859"/>
                <a:gd name="connsiteY39" fmla="*/ 4835463 h 15946069"/>
                <a:gd name="connsiteX40" fmla="*/ 7744624 w 18171859"/>
                <a:gd name="connsiteY40" fmla="*/ 4382387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7814953 w 18171859"/>
                <a:gd name="connsiteY35" fmla="*/ 4117660 h 15946069"/>
                <a:gd name="connsiteX36" fmla="*/ 9318595 w 18171859"/>
                <a:gd name="connsiteY36" fmla="*/ 5859197 h 15946069"/>
                <a:gd name="connsiteX37" fmla="*/ 9215073 w 18171859"/>
                <a:gd name="connsiteY37" fmla="*/ 5387392 h 15946069"/>
                <a:gd name="connsiteX38" fmla="*/ 8600211 w 18171859"/>
                <a:gd name="connsiteY38" fmla="*/ 5564744 h 15946069"/>
                <a:gd name="connsiteX39" fmla="*/ 8412926 w 18171859"/>
                <a:gd name="connsiteY39" fmla="*/ 4835463 h 15946069"/>
                <a:gd name="connsiteX40" fmla="*/ 7744624 w 18171859"/>
                <a:gd name="connsiteY40" fmla="*/ 4382387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0639545 w 18171859"/>
                <a:gd name="connsiteY35" fmla="*/ 7482246 h 15946069"/>
                <a:gd name="connsiteX36" fmla="*/ 9318595 w 18171859"/>
                <a:gd name="connsiteY36" fmla="*/ 5859197 h 15946069"/>
                <a:gd name="connsiteX37" fmla="*/ 9215073 w 18171859"/>
                <a:gd name="connsiteY37" fmla="*/ 5387392 h 15946069"/>
                <a:gd name="connsiteX38" fmla="*/ 8600211 w 18171859"/>
                <a:gd name="connsiteY38" fmla="*/ 5564744 h 15946069"/>
                <a:gd name="connsiteX39" fmla="*/ 8412926 w 18171859"/>
                <a:gd name="connsiteY39" fmla="*/ 4835463 h 15946069"/>
                <a:gd name="connsiteX40" fmla="*/ 7744624 w 18171859"/>
                <a:gd name="connsiteY40" fmla="*/ 4382387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8171859"/>
                <a:gd name="connsiteY0" fmla="*/ 7436569 h 15946069"/>
                <a:gd name="connsiteX1" fmla="*/ 271294 w 18171859"/>
                <a:gd name="connsiteY1" fmla="*/ 8060457 h 15946069"/>
                <a:gd name="connsiteX2" fmla="*/ 379812 w 18171859"/>
                <a:gd name="connsiteY2" fmla="*/ 8675382 h 15946069"/>
                <a:gd name="connsiteX3" fmla="*/ 759624 w 18171859"/>
                <a:gd name="connsiteY3" fmla="*/ 9217969 h 15946069"/>
                <a:gd name="connsiteX4" fmla="*/ 687278 w 18171859"/>
                <a:gd name="connsiteY4" fmla="*/ 9670126 h 15946069"/>
                <a:gd name="connsiteX5" fmla="*/ 144687 w 18171859"/>
                <a:gd name="connsiteY5" fmla="*/ 9941420 h 15946069"/>
                <a:gd name="connsiteX6" fmla="*/ 343643 w 18171859"/>
                <a:gd name="connsiteY6" fmla="*/ 10592536 h 15946069"/>
                <a:gd name="connsiteX7" fmla="*/ 940487 w 18171859"/>
                <a:gd name="connsiteY7" fmla="*/ 10954252 h 15946069"/>
                <a:gd name="connsiteX8" fmla="*/ 596844 w 18171859"/>
                <a:gd name="connsiteY8" fmla="*/ 11786221 h 15946069"/>
                <a:gd name="connsiteX9" fmla="*/ 633017 w 18171859"/>
                <a:gd name="connsiteY9" fmla="*/ 12780969 h 15946069"/>
                <a:gd name="connsiteX10" fmla="*/ 198944 w 18171859"/>
                <a:gd name="connsiteY10" fmla="*/ 13341645 h 15946069"/>
                <a:gd name="connsiteX11" fmla="*/ 723451 w 18171859"/>
                <a:gd name="connsiteY11" fmla="*/ 13757629 h 15946069"/>
                <a:gd name="connsiteX12" fmla="*/ 1640036 w 18171859"/>
                <a:gd name="connsiteY12" fmla="*/ 13197151 h 15946069"/>
                <a:gd name="connsiteX13" fmla="*/ 1880971 w 18171859"/>
                <a:gd name="connsiteY13" fmla="*/ 13395906 h 15946069"/>
                <a:gd name="connsiteX14" fmla="*/ 2930086 w 18171859"/>
                <a:gd name="connsiteY14" fmla="*/ 12952832 h 15946069"/>
                <a:gd name="connsiteX15" fmla="*/ 3828256 w 18171859"/>
                <a:gd name="connsiteY15" fmla="*/ 13245188 h 15946069"/>
                <a:gd name="connsiteX16" fmla="*/ 4768739 w 18171859"/>
                <a:gd name="connsiteY16" fmla="*/ 13040205 h 15946069"/>
                <a:gd name="connsiteX17" fmla="*/ 5190751 w 18171859"/>
                <a:gd name="connsiteY17" fmla="*/ 13649115 h 15946069"/>
                <a:gd name="connsiteX18" fmla="*/ 5932290 w 18171859"/>
                <a:gd name="connsiteY18" fmla="*/ 13444132 h 15946069"/>
                <a:gd name="connsiteX19" fmla="*/ 6498992 w 18171859"/>
                <a:gd name="connsiteY19" fmla="*/ 12991975 h 15946069"/>
                <a:gd name="connsiteX20" fmla="*/ 7373161 w 18171859"/>
                <a:gd name="connsiteY20" fmla="*/ 13582800 h 15946069"/>
                <a:gd name="connsiteX21" fmla="*/ 8512588 w 18171859"/>
                <a:gd name="connsiteY21" fmla="*/ 13570738 h 15946069"/>
                <a:gd name="connsiteX22" fmla="*/ 9742454 w 18171859"/>
                <a:gd name="connsiteY22" fmla="*/ 14004811 h 15946069"/>
                <a:gd name="connsiteX23" fmla="*/ 10616683 w 18171859"/>
                <a:gd name="connsiteY23" fmla="*/ 15358294 h 15946069"/>
                <a:gd name="connsiteX24" fmla="*/ 11117010 w 18171859"/>
                <a:gd name="connsiteY24" fmla="*/ 15946069 h 15946069"/>
                <a:gd name="connsiteX25" fmla="*/ 11780218 w 18171859"/>
                <a:gd name="connsiteY25" fmla="*/ 13579811 h 15946069"/>
                <a:gd name="connsiteX26" fmla="*/ 12196146 w 18171859"/>
                <a:gd name="connsiteY26" fmla="*/ 11388328 h 15946069"/>
                <a:gd name="connsiteX27" fmla="*/ 14004775 w 18171859"/>
                <a:gd name="connsiteY27" fmla="*/ 11611395 h 15946069"/>
                <a:gd name="connsiteX28" fmla="*/ 15409477 w 18171859"/>
                <a:gd name="connsiteY28" fmla="*/ 11882693 h 15946069"/>
                <a:gd name="connsiteX29" fmla="*/ 16413199 w 18171859"/>
                <a:gd name="connsiteY29" fmla="*/ 10920339 h 15946069"/>
                <a:gd name="connsiteX30" fmla="*/ 16428336 w 18171859"/>
                <a:gd name="connsiteY30" fmla="*/ 9374732 h 15946069"/>
                <a:gd name="connsiteX31" fmla="*/ 16024409 w 18171859"/>
                <a:gd name="connsiteY31" fmla="*/ 7433474 h 15946069"/>
                <a:gd name="connsiteX32" fmla="*/ 17911414 w 18171859"/>
                <a:gd name="connsiteY32" fmla="*/ 6083041 h 15946069"/>
                <a:gd name="connsiteX33" fmla="*/ 17385711 w 18171859"/>
                <a:gd name="connsiteY33" fmla="*/ 5219213 h 15946069"/>
                <a:gd name="connsiteX34" fmla="*/ 18171858 w 18171859"/>
                <a:gd name="connsiteY34" fmla="*/ 4701949 h 15946069"/>
                <a:gd name="connsiteX35" fmla="*/ 10017677 w 18171859"/>
                <a:gd name="connsiteY35" fmla="*/ 5883475 h 15946069"/>
                <a:gd name="connsiteX36" fmla="*/ 9318595 w 18171859"/>
                <a:gd name="connsiteY36" fmla="*/ 5859197 h 15946069"/>
                <a:gd name="connsiteX37" fmla="*/ 9215073 w 18171859"/>
                <a:gd name="connsiteY37" fmla="*/ 5387392 h 15946069"/>
                <a:gd name="connsiteX38" fmla="*/ 8600211 w 18171859"/>
                <a:gd name="connsiteY38" fmla="*/ 5564744 h 15946069"/>
                <a:gd name="connsiteX39" fmla="*/ 8412926 w 18171859"/>
                <a:gd name="connsiteY39" fmla="*/ 4835463 h 15946069"/>
                <a:gd name="connsiteX40" fmla="*/ 7744624 w 18171859"/>
                <a:gd name="connsiteY40" fmla="*/ 4382387 h 15946069"/>
                <a:gd name="connsiteX41" fmla="*/ 8112983 w 18171859"/>
                <a:gd name="connsiteY41" fmla="*/ 3770361 h 15946069"/>
                <a:gd name="connsiteX42" fmla="*/ 7637793 w 18171859"/>
                <a:gd name="connsiteY42" fmla="*/ 2526072 h 15946069"/>
                <a:gd name="connsiteX43" fmla="*/ 7264687 w 18171859"/>
                <a:gd name="connsiteY43" fmla="*/ 2131091 h 15946069"/>
                <a:gd name="connsiteX44" fmla="*/ 6594245 w 18171859"/>
                <a:gd name="connsiteY44" fmla="*/ 2055834 h 15946069"/>
                <a:gd name="connsiteX45" fmla="*/ 6431470 w 18171859"/>
                <a:gd name="connsiteY45" fmla="*/ 1314295 h 15946069"/>
                <a:gd name="connsiteX46" fmla="*/ 5642908 w 18171859"/>
                <a:gd name="connsiteY46" fmla="*/ 1343233 h 15946069"/>
                <a:gd name="connsiteX47" fmla="*/ 5150959 w 18171859"/>
                <a:gd name="connsiteY47" fmla="*/ 1610907 h 15946069"/>
                <a:gd name="connsiteX48" fmla="*/ 5480133 w 18171859"/>
                <a:gd name="connsiteY48" fmla="*/ 2167963 h 15946069"/>
                <a:gd name="connsiteX49" fmla="*/ 4742216 w 18171859"/>
                <a:gd name="connsiteY49" fmla="*/ 2862495 h 15946069"/>
                <a:gd name="connsiteX50" fmla="*/ 2658667 w 18171859"/>
                <a:gd name="connsiteY50" fmla="*/ 0 h 15946069"/>
                <a:gd name="connsiteX51" fmla="*/ 2658682 w 18171859"/>
                <a:gd name="connsiteY51" fmla="*/ 1018890 h 15946069"/>
                <a:gd name="connsiteX52" fmla="*/ 1850829 w 18171859"/>
                <a:gd name="connsiteY52" fmla="*/ 1730283 h 15946069"/>
                <a:gd name="connsiteX53" fmla="*/ 1404694 w 18171859"/>
                <a:gd name="connsiteY53" fmla="*/ 2272862 h 15946069"/>
                <a:gd name="connsiteX54" fmla="*/ 2351216 w 18171859"/>
                <a:gd name="connsiteY54" fmla="*/ 3388182 h 15946069"/>
                <a:gd name="connsiteX55" fmla="*/ 2658682 w 18171859"/>
                <a:gd name="connsiteY55" fmla="*/ 4286458 h 15946069"/>
                <a:gd name="connsiteX56" fmla="*/ 1935228 w 18171859"/>
                <a:gd name="connsiteY56" fmla="*/ 5220918 h 15946069"/>
                <a:gd name="connsiteX57" fmla="*/ 875281 w 18171859"/>
                <a:gd name="connsiteY57" fmla="*/ 5166646 h 15946069"/>
                <a:gd name="connsiteX58" fmla="*/ 0 w 18171859"/>
                <a:gd name="connsiteY58" fmla="*/ 5890112 h 15946069"/>
                <a:gd name="connsiteX59" fmla="*/ 72345 w 18171859"/>
                <a:gd name="connsiteY59" fmla="*/ 6921032 h 15946069"/>
                <a:gd name="connsiteX60" fmla="*/ 477776 w 18171859"/>
                <a:gd name="connsiteY60" fmla="*/ 7436569 h 15946069"/>
                <a:gd name="connsiteX0" fmla="*/ 477776 w 17911411"/>
                <a:gd name="connsiteY0" fmla="*/ 7436569 h 15946069"/>
                <a:gd name="connsiteX1" fmla="*/ 271294 w 17911411"/>
                <a:gd name="connsiteY1" fmla="*/ 8060457 h 15946069"/>
                <a:gd name="connsiteX2" fmla="*/ 379812 w 17911411"/>
                <a:gd name="connsiteY2" fmla="*/ 8675382 h 15946069"/>
                <a:gd name="connsiteX3" fmla="*/ 759624 w 17911411"/>
                <a:gd name="connsiteY3" fmla="*/ 9217969 h 15946069"/>
                <a:gd name="connsiteX4" fmla="*/ 687278 w 17911411"/>
                <a:gd name="connsiteY4" fmla="*/ 9670126 h 15946069"/>
                <a:gd name="connsiteX5" fmla="*/ 144687 w 17911411"/>
                <a:gd name="connsiteY5" fmla="*/ 9941420 h 15946069"/>
                <a:gd name="connsiteX6" fmla="*/ 343643 w 17911411"/>
                <a:gd name="connsiteY6" fmla="*/ 10592536 h 15946069"/>
                <a:gd name="connsiteX7" fmla="*/ 940487 w 17911411"/>
                <a:gd name="connsiteY7" fmla="*/ 10954252 h 15946069"/>
                <a:gd name="connsiteX8" fmla="*/ 596844 w 17911411"/>
                <a:gd name="connsiteY8" fmla="*/ 11786221 h 15946069"/>
                <a:gd name="connsiteX9" fmla="*/ 633017 w 17911411"/>
                <a:gd name="connsiteY9" fmla="*/ 12780969 h 15946069"/>
                <a:gd name="connsiteX10" fmla="*/ 198944 w 17911411"/>
                <a:gd name="connsiteY10" fmla="*/ 13341645 h 15946069"/>
                <a:gd name="connsiteX11" fmla="*/ 723451 w 17911411"/>
                <a:gd name="connsiteY11" fmla="*/ 13757629 h 15946069"/>
                <a:gd name="connsiteX12" fmla="*/ 1640036 w 17911411"/>
                <a:gd name="connsiteY12" fmla="*/ 13197151 h 15946069"/>
                <a:gd name="connsiteX13" fmla="*/ 1880971 w 17911411"/>
                <a:gd name="connsiteY13" fmla="*/ 13395906 h 15946069"/>
                <a:gd name="connsiteX14" fmla="*/ 2930086 w 17911411"/>
                <a:gd name="connsiteY14" fmla="*/ 12952832 h 15946069"/>
                <a:gd name="connsiteX15" fmla="*/ 3828256 w 17911411"/>
                <a:gd name="connsiteY15" fmla="*/ 13245188 h 15946069"/>
                <a:gd name="connsiteX16" fmla="*/ 4768739 w 17911411"/>
                <a:gd name="connsiteY16" fmla="*/ 13040205 h 15946069"/>
                <a:gd name="connsiteX17" fmla="*/ 5190751 w 17911411"/>
                <a:gd name="connsiteY17" fmla="*/ 13649115 h 15946069"/>
                <a:gd name="connsiteX18" fmla="*/ 5932290 w 17911411"/>
                <a:gd name="connsiteY18" fmla="*/ 13444132 h 15946069"/>
                <a:gd name="connsiteX19" fmla="*/ 6498992 w 17911411"/>
                <a:gd name="connsiteY19" fmla="*/ 12991975 h 15946069"/>
                <a:gd name="connsiteX20" fmla="*/ 7373161 w 17911411"/>
                <a:gd name="connsiteY20" fmla="*/ 13582800 h 15946069"/>
                <a:gd name="connsiteX21" fmla="*/ 8512588 w 17911411"/>
                <a:gd name="connsiteY21" fmla="*/ 13570738 h 15946069"/>
                <a:gd name="connsiteX22" fmla="*/ 9742454 w 17911411"/>
                <a:gd name="connsiteY22" fmla="*/ 14004811 h 15946069"/>
                <a:gd name="connsiteX23" fmla="*/ 10616683 w 17911411"/>
                <a:gd name="connsiteY23" fmla="*/ 15358294 h 15946069"/>
                <a:gd name="connsiteX24" fmla="*/ 11117010 w 17911411"/>
                <a:gd name="connsiteY24" fmla="*/ 15946069 h 15946069"/>
                <a:gd name="connsiteX25" fmla="*/ 11780218 w 17911411"/>
                <a:gd name="connsiteY25" fmla="*/ 13579811 h 15946069"/>
                <a:gd name="connsiteX26" fmla="*/ 12196146 w 17911411"/>
                <a:gd name="connsiteY26" fmla="*/ 11388328 h 15946069"/>
                <a:gd name="connsiteX27" fmla="*/ 14004775 w 17911411"/>
                <a:gd name="connsiteY27" fmla="*/ 11611395 h 15946069"/>
                <a:gd name="connsiteX28" fmla="*/ 15409477 w 17911411"/>
                <a:gd name="connsiteY28" fmla="*/ 11882693 h 15946069"/>
                <a:gd name="connsiteX29" fmla="*/ 16413199 w 17911411"/>
                <a:gd name="connsiteY29" fmla="*/ 10920339 h 15946069"/>
                <a:gd name="connsiteX30" fmla="*/ 16428336 w 17911411"/>
                <a:gd name="connsiteY30" fmla="*/ 9374732 h 15946069"/>
                <a:gd name="connsiteX31" fmla="*/ 16024409 w 17911411"/>
                <a:gd name="connsiteY31" fmla="*/ 7433474 h 15946069"/>
                <a:gd name="connsiteX32" fmla="*/ 17911414 w 17911411"/>
                <a:gd name="connsiteY32" fmla="*/ 6083041 h 15946069"/>
                <a:gd name="connsiteX33" fmla="*/ 17385711 w 17911411"/>
                <a:gd name="connsiteY33" fmla="*/ 5219213 h 15946069"/>
                <a:gd name="connsiteX34" fmla="*/ 11259549 w 17911411"/>
                <a:gd name="connsiteY34" fmla="*/ 7947227 h 15946069"/>
                <a:gd name="connsiteX35" fmla="*/ 10017677 w 17911411"/>
                <a:gd name="connsiteY35" fmla="*/ 5883475 h 15946069"/>
                <a:gd name="connsiteX36" fmla="*/ 9318595 w 17911411"/>
                <a:gd name="connsiteY36" fmla="*/ 5859197 h 15946069"/>
                <a:gd name="connsiteX37" fmla="*/ 9215073 w 17911411"/>
                <a:gd name="connsiteY37" fmla="*/ 5387392 h 15946069"/>
                <a:gd name="connsiteX38" fmla="*/ 8600211 w 17911411"/>
                <a:gd name="connsiteY38" fmla="*/ 5564744 h 15946069"/>
                <a:gd name="connsiteX39" fmla="*/ 8412926 w 17911411"/>
                <a:gd name="connsiteY39" fmla="*/ 4835463 h 15946069"/>
                <a:gd name="connsiteX40" fmla="*/ 7744624 w 17911411"/>
                <a:gd name="connsiteY40" fmla="*/ 4382387 h 15946069"/>
                <a:gd name="connsiteX41" fmla="*/ 8112983 w 17911411"/>
                <a:gd name="connsiteY41" fmla="*/ 3770361 h 15946069"/>
                <a:gd name="connsiteX42" fmla="*/ 7637793 w 17911411"/>
                <a:gd name="connsiteY42" fmla="*/ 2526072 h 15946069"/>
                <a:gd name="connsiteX43" fmla="*/ 7264687 w 17911411"/>
                <a:gd name="connsiteY43" fmla="*/ 2131091 h 15946069"/>
                <a:gd name="connsiteX44" fmla="*/ 6594245 w 17911411"/>
                <a:gd name="connsiteY44" fmla="*/ 2055834 h 15946069"/>
                <a:gd name="connsiteX45" fmla="*/ 6431470 w 17911411"/>
                <a:gd name="connsiteY45" fmla="*/ 1314295 h 15946069"/>
                <a:gd name="connsiteX46" fmla="*/ 5642908 w 17911411"/>
                <a:gd name="connsiteY46" fmla="*/ 1343233 h 15946069"/>
                <a:gd name="connsiteX47" fmla="*/ 5150959 w 17911411"/>
                <a:gd name="connsiteY47" fmla="*/ 1610907 h 15946069"/>
                <a:gd name="connsiteX48" fmla="*/ 5480133 w 17911411"/>
                <a:gd name="connsiteY48" fmla="*/ 2167963 h 15946069"/>
                <a:gd name="connsiteX49" fmla="*/ 4742216 w 17911411"/>
                <a:gd name="connsiteY49" fmla="*/ 2862495 h 15946069"/>
                <a:gd name="connsiteX50" fmla="*/ 2658667 w 17911411"/>
                <a:gd name="connsiteY50" fmla="*/ 0 h 15946069"/>
                <a:gd name="connsiteX51" fmla="*/ 2658682 w 17911411"/>
                <a:gd name="connsiteY51" fmla="*/ 1018890 h 15946069"/>
                <a:gd name="connsiteX52" fmla="*/ 1850829 w 17911411"/>
                <a:gd name="connsiteY52" fmla="*/ 1730283 h 15946069"/>
                <a:gd name="connsiteX53" fmla="*/ 1404694 w 17911411"/>
                <a:gd name="connsiteY53" fmla="*/ 2272862 h 15946069"/>
                <a:gd name="connsiteX54" fmla="*/ 2351216 w 17911411"/>
                <a:gd name="connsiteY54" fmla="*/ 3388182 h 15946069"/>
                <a:gd name="connsiteX55" fmla="*/ 2658682 w 17911411"/>
                <a:gd name="connsiteY55" fmla="*/ 4286458 h 15946069"/>
                <a:gd name="connsiteX56" fmla="*/ 1935228 w 17911411"/>
                <a:gd name="connsiteY56" fmla="*/ 5220918 h 15946069"/>
                <a:gd name="connsiteX57" fmla="*/ 875281 w 17911411"/>
                <a:gd name="connsiteY57" fmla="*/ 5166646 h 15946069"/>
                <a:gd name="connsiteX58" fmla="*/ 0 w 17911411"/>
                <a:gd name="connsiteY58" fmla="*/ 5890112 h 15946069"/>
                <a:gd name="connsiteX59" fmla="*/ 72345 w 17911411"/>
                <a:gd name="connsiteY59" fmla="*/ 6921032 h 15946069"/>
                <a:gd name="connsiteX60" fmla="*/ 477776 w 17911411"/>
                <a:gd name="connsiteY60" fmla="*/ 7436569 h 15946069"/>
                <a:gd name="connsiteX0" fmla="*/ 477776 w 17911411"/>
                <a:gd name="connsiteY0" fmla="*/ 7436569 h 15946069"/>
                <a:gd name="connsiteX1" fmla="*/ 271294 w 17911411"/>
                <a:gd name="connsiteY1" fmla="*/ 8060457 h 15946069"/>
                <a:gd name="connsiteX2" fmla="*/ 379812 w 17911411"/>
                <a:gd name="connsiteY2" fmla="*/ 8675382 h 15946069"/>
                <a:gd name="connsiteX3" fmla="*/ 759624 w 17911411"/>
                <a:gd name="connsiteY3" fmla="*/ 9217969 h 15946069"/>
                <a:gd name="connsiteX4" fmla="*/ 687278 w 17911411"/>
                <a:gd name="connsiteY4" fmla="*/ 9670126 h 15946069"/>
                <a:gd name="connsiteX5" fmla="*/ 144687 w 17911411"/>
                <a:gd name="connsiteY5" fmla="*/ 9941420 h 15946069"/>
                <a:gd name="connsiteX6" fmla="*/ 343643 w 17911411"/>
                <a:gd name="connsiteY6" fmla="*/ 10592536 h 15946069"/>
                <a:gd name="connsiteX7" fmla="*/ 940487 w 17911411"/>
                <a:gd name="connsiteY7" fmla="*/ 10954252 h 15946069"/>
                <a:gd name="connsiteX8" fmla="*/ 596844 w 17911411"/>
                <a:gd name="connsiteY8" fmla="*/ 11786221 h 15946069"/>
                <a:gd name="connsiteX9" fmla="*/ 633017 w 17911411"/>
                <a:gd name="connsiteY9" fmla="*/ 12780969 h 15946069"/>
                <a:gd name="connsiteX10" fmla="*/ 198944 w 17911411"/>
                <a:gd name="connsiteY10" fmla="*/ 13341645 h 15946069"/>
                <a:gd name="connsiteX11" fmla="*/ 723451 w 17911411"/>
                <a:gd name="connsiteY11" fmla="*/ 13757629 h 15946069"/>
                <a:gd name="connsiteX12" fmla="*/ 1640036 w 17911411"/>
                <a:gd name="connsiteY12" fmla="*/ 13197151 h 15946069"/>
                <a:gd name="connsiteX13" fmla="*/ 1880971 w 17911411"/>
                <a:gd name="connsiteY13" fmla="*/ 13395906 h 15946069"/>
                <a:gd name="connsiteX14" fmla="*/ 2930086 w 17911411"/>
                <a:gd name="connsiteY14" fmla="*/ 12952832 h 15946069"/>
                <a:gd name="connsiteX15" fmla="*/ 3828256 w 17911411"/>
                <a:gd name="connsiteY15" fmla="*/ 13245188 h 15946069"/>
                <a:gd name="connsiteX16" fmla="*/ 4768739 w 17911411"/>
                <a:gd name="connsiteY16" fmla="*/ 13040205 h 15946069"/>
                <a:gd name="connsiteX17" fmla="*/ 5190751 w 17911411"/>
                <a:gd name="connsiteY17" fmla="*/ 13649115 h 15946069"/>
                <a:gd name="connsiteX18" fmla="*/ 5932290 w 17911411"/>
                <a:gd name="connsiteY18" fmla="*/ 13444132 h 15946069"/>
                <a:gd name="connsiteX19" fmla="*/ 6498992 w 17911411"/>
                <a:gd name="connsiteY19" fmla="*/ 12991975 h 15946069"/>
                <a:gd name="connsiteX20" fmla="*/ 7373161 w 17911411"/>
                <a:gd name="connsiteY20" fmla="*/ 13582800 h 15946069"/>
                <a:gd name="connsiteX21" fmla="*/ 8512588 w 17911411"/>
                <a:gd name="connsiteY21" fmla="*/ 13570738 h 15946069"/>
                <a:gd name="connsiteX22" fmla="*/ 9742454 w 17911411"/>
                <a:gd name="connsiteY22" fmla="*/ 14004811 h 15946069"/>
                <a:gd name="connsiteX23" fmla="*/ 10616683 w 17911411"/>
                <a:gd name="connsiteY23" fmla="*/ 15358294 h 15946069"/>
                <a:gd name="connsiteX24" fmla="*/ 11117010 w 17911411"/>
                <a:gd name="connsiteY24" fmla="*/ 15946069 h 15946069"/>
                <a:gd name="connsiteX25" fmla="*/ 11780218 w 17911411"/>
                <a:gd name="connsiteY25" fmla="*/ 13579811 h 15946069"/>
                <a:gd name="connsiteX26" fmla="*/ 12196146 w 17911411"/>
                <a:gd name="connsiteY26" fmla="*/ 11388328 h 15946069"/>
                <a:gd name="connsiteX27" fmla="*/ 14004775 w 17911411"/>
                <a:gd name="connsiteY27" fmla="*/ 11611395 h 15946069"/>
                <a:gd name="connsiteX28" fmla="*/ 15409477 w 17911411"/>
                <a:gd name="connsiteY28" fmla="*/ 11882693 h 15946069"/>
                <a:gd name="connsiteX29" fmla="*/ 16413199 w 17911411"/>
                <a:gd name="connsiteY29" fmla="*/ 10920339 h 15946069"/>
                <a:gd name="connsiteX30" fmla="*/ 16428336 w 17911411"/>
                <a:gd name="connsiteY30" fmla="*/ 9374732 h 15946069"/>
                <a:gd name="connsiteX31" fmla="*/ 16024409 w 17911411"/>
                <a:gd name="connsiteY31" fmla="*/ 7433474 h 15946069"/>
                <a:gd name="connsiteX32" fmla="*/ 17911414 w 17911411"/>
                <a:gd name="connsiteY32" fmla="*/ 6083041 h 15946069"/>
                <a:gd name="connsiteX33" fmla="*/ 17385711 w 17911411"/>
                <a:gd name="connsiteY33" fmla="*/ 5219213 h 15946069"/>
                <a:gd name="connsiteX34" fmla="*/ 8628570 w 17911411"/>
                <a:gd name="connsiteY34" fmla="*/ 7994950 h 15946069"/>
                <a:gd name="connsiteX35" fmla="*/ 10017677 w 17911411"/>
                <a:gd name="connsiteY35" fmla="*/ 5883475 h 15946069"/>
                <a:gd name="connsiteX36" fmla="*/ 9318595 w 17911411"/>
                <a:gd name="connsiteY36" fmla="*/ 5859197 h 15946069"/>
                <a:gd name="connsiteX37" fmla="*/ 9215073 w 17911411"/>
                <a:gd name="connsiteY37" fmla="*/ 5387392 h 15946069"/>
                <a:gd name="connsiteX38" fmla="*/ 8600211 w 17911411"/>
                <a:gd name="connsiteY38" fmla="*/ 5564744 h 15946069"/>
                <a:gd name="connsiteX39" fmla="*/ 8412926 w 17911411"/>
                <a:gd name="connsiteY39" fmla="*/ 4835463 h 15946069"/>
                <a:gd name="connsiteX40" fmla="*/ 7744624 w 17911411"/>
                <a:gd name="connsiteY40" fmla="*/ 4382387 h 15946069"/>
                <a:gd name="connsiteX41" fmla="*/ 8112983 w 17911411"/>
                <a:gd name="connsiteY41" fmla="*/ 3770361 h 15946069"/>
                <a:gd name="connsiteX42" fmla="*/ 7637793 w 17911411"/>
                <a:gd name="connsiteY42" fmla="*/ 2526072 h 15946069"/>
                <a:gd name="connsiteX43" fmla="*/ 7264687 w 17911411"/>
                <a:gd name="connsiteY43" fmla="*/ 2131091 h 15946069"/>
                <a:gd name="connsiteX44" fmla="*/ 6594245 w 17911411"/>
                <a:gd name="connsiteY44" fmla="*/ 2055834 h 15946069"/>
                <a:gd name="connsiteX45" fmla="*/ 6431470 w 17911411"/>
                <a:gd name="connsiteY45" fmla="*/ 1314295 h 15946069"/>
                <a:gd name="connsiteX46" fmla="*/ 5642908 w 17911411"/>
                <a:gd name="connsiteY46" fmla="*/ 1343233 h 15946069"/>
                <a:gd name="connsiteX47" fmla="*/ 5150959 w 17911411"/>
                <a:gd name="connsiteY47" fmla="*/ 1610907 h 15946069"/>
                <a:gd name="connsiteX48" fmla="*/ 5480133 w 17911411"/>
                <a:gd name="connsiteY48" fmla="*/ 2167963 h 15946069"/>
                <a:gd name="connsiteX49" fmla="*/ 4742216 w 17911411"/>
                <a:gd name="connsiteY49" fmla="*/ 2862495 h 15946069"/>
                <a:gd name="connsiteX50" fmla="*/ 2658667 w 17911411"/>
                <a:gd name="connsiteY50" fmla="*/ 0 h 15946069"/>
                <a:gd name="connsiteX51" fmla="*/ 2658682 w 17911411"/>
                <a:gd name="connsiteY51" fmla="*/ 1018890 h 15946069"/>
                <a:gd name="connsiteX52" fmla="*/ 1850829 w 17911411"/>
                <a:gd name="connsiteY52" fmla="*/ 1730283 h 15946069"/>
                <a:gd name="connsiteX53" fmla="*/ 1404694 w 17911411"/>
                <a:gd name="connsiteY53" fmla="*/ 2272862 h 15946069"/>
                <a:gd name="connsiteX54" fmla="*/ 2351216 w 17911411"/>
                <a:gd name="connsiteY54" fmla="*/ 3388182 h 15946069"/>
                <a:gd name="connsiteX55" fmla="*/ 2658682 w 17911411"/>
                <a:gd name="connsiteY55" fmla="*/ 4286458 h 15946069"/>
                <a:gd name="connsiteX56" fmla="*/ 1935228 w 17911411"/>
                <a:gd name="connsiteY56" fmla="*/ 5220918 h 15946069"/>
                <a:gd name="connsiteX57" fmla="*/ 875281 w 17911411"/>
                <a:gd name="connsiteY57" fmla="*/ 5166646 h 15946069"/>
                <a:gd name="connsiteX58" fmla="*/ 0 w 17911411"/>
                <a:gd name="connsiteY58" fmla="*/ 5890112 h 15946069"/>
                <a:gd name="connsiteX59" fmla="*/ 72345 w 17911411"/>
                <a:gd name="connsiteY59" fmla="*/ 6921032 h 15946069"/>
                <a:gd name="connsiteX60" fmla="*/ 477776 w 17911411"/>
                <a:gd name="connsiteY60" fmla="*/ 7436569 h 15946069"/>
                <a:gd name="connsiteX0" fmla="*/ 477776 w 17911411"/>
                <a:gd name="connsiteY0" fmla="*/ 7436569 h 15946069"/>
                <a:gd name="connsiteX1" fmla="*/ 271294 w 17911411"/>
                <a:gd name="connsiteY1" fmla="*/ 8060457 h 15946069"/>
                <a:gd name="connsiteX2" fmla="*/ 379812 w 17911411"/>
                <a:gd name="connsiteY2" fmla="*/ 8675382 h 15946069"/>
                <a:gd name="connsiteX3" fmla="*/ 759624 w 17911411"/>
                <a:gd name="connsiteY3" fmla="*/ 9217969 h 15946069"/>
                <a:gd name="connsiteX4" fmla="*/ 687278 w 17911411"/>
                <a:gd name="connsiteY4" fmla="*/ 9670126 h 15946069"/>
                <a:gd name="connsiteX5" fmla="*/ 144687 w 17911411"/>
                <a:gd name="connsiteY5" fmla="*/ 9941420 h 15946069"/>
                <a:gd name="connsiteX6" fmla="*/ 343643 w 17911411"/>
                <a:gd name="connsiteY6" fmla="*/ 10592536 h 15946069"/>
                <a:gd name="connsiteX7" fmla="*/ 940487 w 17911411"/>
                <a:gd name="connsiteY7" fmla="*/ 10954252 h 15946069"/>
                <a:gd name="connsiteX8" fmla="*/ 596844 w 17911411"/>
                <a:gd name="connsiteY8" fmla="*/ 11786221 h 15946069"/>
                <a:gd name="connsiteX9" fmla="*/ 633017 w 17911411"/>
                <a:gd name="connsiteY9" fmla="*/ 12780969 h 15946069"/>
                <a:gd name="connsiteX10" fmla="*/ 198944 w 17911411"/>
                <a:gd name="connsiteY10" fmla="*/ 13341645 h 15946069"/>
                <a:gd name="connsiteX11" fmla="*/ 723451 w 17911411"/>
                <a:gd name="connsiteY11" fmla="*/ 13757629 h 15946069"/>
                <a:gd name="connsiteX12" fmla="*/ 1640036 w 17911411"/>
                <a:gd name="connsiteY12" fmla="*/ 13197151 h 15946069"/>
                <a:gd name="connsiteX13" fmla="*/ 1880971 w 17911411"/>
                <a:gd name="connsiteY13" fmla="*/ 13395906 h 15946069"/>
                <a:gd name="connsiteX14" fmla="*/ 2930086 w 17911411"/>
                <a:gd name="connsiteY14" fmla="*/ 12952832 h 15946069"/>
                <a:gd name="connsiteX15" fmla="*/ 3828256 w 17911411"/>
                <a:gd name="connsiteY15" fmla="*/ 13245188 h 15946069"/>
                <a:gd name="connsiteX16" fmla="*/ 4768739 w 17911411"/>
                <a:gd name="connsiteY16" fmla="*/ 13040205 h 15946069"/>
                <a:gd name="connsiteX17" fmla="*/ 5190751 w 17911411"/>
                <a:gd name="connsiteY17" fmla="*/ 13649115 h 15946069"/>
                <a:gd name="connsiteX18" fmla="*/ 5932290 w 17911411"/>
                <a:gd name="connsiteY18" fmla="*/ 13444132 h 15946069"/>
                <a:gd name="connsiteX19" fmla="*/ 6498992 w 17911411"/>
                <a:gd name="connsiteY19" fmla="*/ 12991975 h 15946069"/>
                <a:gd name="connsiteX20" fmla="*/ 7373161 w 17911411"/>
                <a:gd name="connsiteY20" fmla="*/ 13582800 h 15946069"/>
                <a:gd name="connsiteX21" fmla="*/ 8512588 w 17911411"/>
                <a:gd name="connsiteY21" fmla="*/ 13570738 h 15946069"/>
                <a:gd name="connsiteX22" fmla="*/ 9742454 w 17911411"/>
                <a:gd name="connsiteY22" fmla="*/ 14004811 h 15946069"/>
                <a:gd name="connsiteX23" fmla="*/ 10616683 w 17911411"/>
                <a:gd name="connsiteY23" fmla="*/ 15358294 h 15946069"/>
                <a:gd name="connsiteX24" fmla="*/ 11117010 w 17911411"/>
                <a:gd name="connsiteY24" fmla="*/ 15946069 h 15946069"/>
                <a:gd name="connsiteX25" fmla="*/ 11780218 w 17911411"/>
                <a:gd name="connsiteY25" fmla="*/ 13579811 h 15946069"/>
                <a:gd name="connsiteX26" fmla="*/ 12196146 w 17911411"/>
                <a:gd name="connsiteY26" fmla="*/ 11388328 h 15946069"/>
                <a:gd name="connsiteX27" fmla="*/ 14004775 w 17911411"/>
                <a:gd name="connsiteY27" fmla="*/ 11611395 h 15946069"/>
                <a:gd name="connsiteX28" fmla="*/ 15409477 w 17911411"/>
                <a:gd name="connsiteY28" fmla="*/ 11882693 h 15946069"/>
                <a:gd name="connsiteX29" fmla="*/ 16413199 w 17911411"/>
                <a:gd name="connsiteY29" fmla="*/ 10920339 h 15946069"/>
                <a:gd name="connsiteX30" fmla="*/ 16428336 w 17911411"/>
                <a:gd name="connsiteY30" fmla="*/ 9374732 h 15946069"/>
                <a:gd name="connsiteX31" fmla="*/ 16024409 w 17911411"/>
                <a:gd name="connsiteY31" fmla="*/ 7433474 h 15946069"/>
                <a:gd name="connsiteX32" fmla="*/ 17911414 w 17911411"/>
                <a:gd name="connsiteY32" fmla="*/ 6083041 h 15946069"/>
                <a:gd name="connsiteX33" fmla="*/ 17385711 w 17911411"/>
                <a:gd name="connsiteY33" fmla="*/ 5219213 h 15946069"/>
                <a:gd name="connsiteX34" fmla="*/ 10709437 w 17911411"/>
                <a:gd name="connsiteY34" fmla="*/ 6730245 h 15946069"/>
                <a:gd name="connsiteX35" fmla="*/ 10017677 w 17911411"/>
                <a:gd name="connsiteY35" fmla="*/ 5883475 h 15946069"/>
                <a:gd name="connsiteX36" fmla="*/ 9318595 w 17911411"/>
                <a:gd name="connsiteY36" fmla="*/ 5859197 h 15946069"/>
                <a:gd name="connsiteX37" fmla="*/ 9215073 w 17911411"/>
                <a:gd name="connsiteY37" fmla="*/ 5387392 h 15946069"/>
                <a:gd name="connsiteX38" fmla="*/ 8600211 w 17911411"/>
                <a:gd name="connsiteY38" fmla="*/ 5564744 h 15946069"/>
                <a:gd name="connsiteX39" fmla="*/ 8412926 w 17911411"/>
                <a:gd name="connsiteY39" fmla="*/ 4835463 h 15946069"/>
                <a:gd name="connsiteX40" fmla="*/ 7744624 w 17911411"/>
                <a:gd name="connsiteY40" fmla="*/ 4382387 h 15946069"/>
                <a:gd name="connsiteX41" fmla="*/ 8112983 w 17911411"/>
                <a:gd name="connsiteY41" fmla="*/ 3770361 h 15946069"/>
                <a:gd name="connsiteX42" fmla="*/ 7637793 w 17911411"/>
                <a:gd name="connsiteY42" fmla="*/ 2526072 h 15946069"/>
                <a:gd name="connsiteX43" fmla="*/ 7264687 w 17911411"/>
                <a:gd name="connsiteY43" fmla="*/ 2131091 h 15946069"/>
                <a:gd name="connsiteX44" fmla="*/ 6594245 w 17911411"/>
                <a:gd name="connsiteY44" fmla="*/ 2055834 h 15946069"/>
                <a:gd name="connsiteX45" fmla="*/ 6431470 w 17911411"/>
                <a:gd name="connsiteY45" fmla="*/ 1314295 h 15946069"/>
                <a:gd name="connsiteX46" fmla="*/ 5642908 w 17911411"/>
                <a:gd name="connsiteY46" fmla="*/ 1343233 h 15946069"/>
                <a:gd name="connsiteX47" fmla="*/ 5150959 w 17911411"/>
                <a:gd name="connsiteY47" fmla="*/ 1610907 h 15946069"/>
                <a:gd name="connsiteX48" fmla="*/ 5480133 w 17911411"/>
                <a:gd name="connsiteY48" fmla="*/ 2167963 h 15946069"/>
                <a:gd name="connsiteX49" fmla="*/ 4742216 w 17911411"/>
                <a:gd name="connsiteY49" fmla="*/ 2862495 h 15946069"/>
                <a:gd name="connsiteX50" fmla="*/ 2658667 w 17911411"/>
                <a:gd name="connsiteY50" fmla="*/ 0 h 15946069"/>
                <a:gd name="connsiteX51" fmla="*/ 2658682 w 17911411"/>
                <a:gd name="connsiteY51" fmla="*/ 1018890 h 15946069"/>
                <a:gd name="connsiteX52" fmla="*/ 1850829 w 17911411"/>
                <a:gd name="connsiteY52" fmla="*/ 1730283 h 15946069"/>
                <a:gd name="connsiteX53" fmla="*/ 1404694 w 17911411"/>
                <a:gd name="connsiteY53" fmla="*/ 2272862 h 15946069"/>
                <a:gd name="connsiteX54" fmla="*/ 2351216 w 17911411"/>
                <a:gd name="connsiteY54" fmla="*/ 3388182 h 15946069"/>
                <a:gd name="connsiteX55" fmla="*/ 2658682 w 17911411"/>
                <a:gd name="connsiteY55" fmla="*/ 4286458 h 15946069"/>
                <a:gd name="connsiteX56" fmla="*/ 1935228 w 17911411"/>
                <a:gd name="connsiteY56" fmla="*/ 5220918 h 15946069"/>
                <a:gd name="connsiteX57" fmla="*/ 875281 w 17911411"/>
                <a:gd name="connsiteY57" fmla="*/ 5166646 h 15946069"/>
                <a:gd name="connsiteX58" fmla="*/ 0 w 17911411"/>
                <a:gd name="connsiteY58" fmla="*/ 5890112 h 15946069"/>
                <a:gd name="connsiteX59" fmla="*/ 72345 w 17911411"/>
                <a:gd name="connsiteY59" fmla="*/ 6921032 h 15946069"/>
                <a:gd name="connsiteX60" fmla="*/ 477776 w 17911411"/>
                <a:gd name="connsiteY60" fmla="*/ 7436569 h 15946069"/>
                <a:gd name="connsiteX0" fmla="*/ 477776 w 17911411"/>
                <a:gd name="connsiteY0" fmla="*/ 7436569 h 15946069"/>
                <a:gd name="connsiteX1" fmla="*/ 271294 w 17911411"/>
                <a:gd name="connsiteY1" fmla="*/ 8060457 h 15946069"/>
                <a:gd name="connsiteX2" fmla="*/ 379812 w 17911411"/>
                <a:gd name="connsiteY2" fmla="*/ 8675382 h 15946069"/>
                <a:gd name="connsiteX3" fmla="*/ 759624 w 17911411"/>
                <a:gd name="connsiteY3" fmla="*/ 9217969 h 15946069"/>
                <a:gd name="connsiteX4" fmla="*/ 687278 w 17911411"/>
                <a:gd name="connsiteY4" fmla="*/ 9670126 h 15946069"/>
                <a:gd name="connsiteX5" fmla="*/ 144687 w 17911411"/>
                <a:gd name="connsiteY5" fmla="*/ 9941420 h 15946069"/>
                <a:gd name="connsiteX6" fmla="*/ 343643 w 17911411"/>
                <a:gd name="connsiteY6" fmla="*/ 10592536 h 15946069"/>
                <a:gd name="connsiteX7" fmla="*/ 940487 w 17911411"/>
                <a:gd name="connsiteY7" fmla="*/ 10954252 h 15946069"/>
                <a:gd name="connsiteX8" fmla="*/ 596844 w 17911411"/>
                <a:gd name="connsiteY8" fmla="*/ 11786221 h 15946069"/>
                <a:gd name="connsiteX9" fmla="*/ 633017 w 17911411"/>
                <a:gd name="connsiteY9" fmla="*/ 12780969 h 15946069"/>
                <a:gd name="connsiteX10" fmla="*/ 198944 w 17911411"/>
                <a:gd name="connsiteY10" fmla="*/ 13341645 h 15946069"/>
                <a:gd name="connsiteX11" fmla="*/ 723451 w 17911411"/>
                <a:gd name="connsiteY11" fmla="*/ 13757629 h 15946069"/>
                <a:gd name="connsiteX12" fmla="*/ 1640036 w 17911411"/>
                <a:gd name="connsiteY12" fmla="*/ 13197151 h 15946069"/>
                <a:gd name="connsiteX13" fmla="*/ 1880971 w 17911411"/>
                <a:gd name="connsiteY13" fmla="*/ 13395906 h 15946069"/>
                <a:gd name="connsiteX14" fmla="*/ 2930086 w 17911411"/>
                <a:gd name="connsiteY14" fmla="*/ 12952832 h 15946069"/>
                <a:gd name="connsiteX15" fmla="*/ 3828256 w 17911411"/>
                <a:gd name="connsiteY15" fmla="*/ 13245188 h 15946069"/>
                <a:gd name="connsiteX16" fmla="*/ 4768739 w 17911411"/>
                <a:gd name="connsiteY16" fmla="*/ 13040205 h 15946069"/>
                <a:gd name="connsiteX17" fmla="*/ 5190751 w 17911411"/>
                <a:gd name="connsiteY17" fmla="*/ 13649115 h 15946069"/>
                <a:gd name="connsiteX18" fmla="*/ 5932290 w 17911411"/>
                <a:gd name="connsiteY18" fmla="*/ 13444132 h 15946069"/>
                <a:gd name="connsiteX19" fmla="*/ 6498992 w 17911411"/>
                <a:gd name="connsiteY19" fmla="*/ 12991975 h 15946069"/>
                <a:gd name="connsiteX20" fmla="*/ 7373161 w 17911411"/>
                <a:gd name="connsiteY20" fmla="*/ 13582800 h 15946069"/>
                <a:gd name="connsiteX21" fmla="*/ 8512588 w 17911411"/>
                <a:gd name="connsiteY21" fmla="*/ 13570738 h 15946069"/>
                <a:gd name="connsiteX22" fmla="*/ 9742454 w 17911411"/>
                <a:gd name="connsiteY22" fmla="*/ 14004811 h 15946069"/>
                <a:gd name="connsiteX23" fmla="*/ 10616683 w 17911411"/>
                <a:gd name="connsiteY23" fmla="*/ 15358294 h 15946069"/>
                <a:gd name="connsiteX24" fmla="*/ 11117010 w 17911411"/>
                <a:gd name="connsiteY24" fmla="*/ 15946069 h 15946069"/>
                <a:gd name="connsiteX25" fmla="*/ 11780218 w 17911411"/>
                <a:gd name="connsiteY25" fmla="*/ 13579811 h 15946069"/>
                <a:gd name="connsiteX26" fmla="*/ 12196146 w 17911411"/>
                <a:gd name="connsiteY26" fmla="*/ 11388328 h 15946069"/>
                <a:gd name="connsiteX27" fmla="*/ 14004775 w 17911411"/>
                <a:gd name="connsiteY27" fmla="*/ 11611395 h 15946069"/>
                <a:gd name="connsiteX28" fmla="*/ 15409477 w 17911411"/>
                <a:gd name="connsiteY28" fmla="*/ 11882693 h 15946069"/>
                <a:gd name="connsiteX29" fmla="*/ 16413199 w 17911411"/>
                <a:gd name="connsiteY29" fmla="*/ 10920339 h 15946069"/>
                <a:gd name="connsiteX30" fmla="*/ 16428336 w 17911411"/>
                <a:gd name="connsiteY30" fmla="*/ 9374732 h 15946069"/>
                <a:gd name="connsiteX31" fmla="*/ 16024409 w 17911411"/>
                <a:gd name="connsiteY31" fmla="*/ 7433474 h 15946069"/>
                <a:gd name="connsiteX32" fmla="*/ 17911414 w 17911411"/>
                <a:gd name="connsiteY32" fmla="*/ 6083041 h 15946069"/>
                <a:gd name="connsiteX33" fmla="*/ 9779785 w 17911411"/>
                <a:gd name="connsiteY33" fmla="*/ 9514428 h 15946069"/>
                <a:gd name="connsiteX34" fmla="*/ 10709437 w 17911411"/>
                <a:gd name="connsiteY34" fmla="*/ 6730245 h 15946069"/>
                <a:gd name="connsiteX35" fmla="*/ 10017677 w 17911411"/>
                <a:gd name="connsiteY35" fmla="*/ 5883475 h 15946069"/>
                <a:gd name="connsiteX36" fmla="*/ 9318595 w 17911411"/>
                <a:gd name="connsiteY36" fmla="*/ 5859197 h 15946069"/>
                <a:gd name="connsiteX37" fmla="*/ 9215073 w 17911411"/>
                <a:gd name="connsiteY37" fmla="*/ 5387392 h 15946069"/>
                <a:gd name="connsiteX38" fmla="*/ 8600211 w 17911411"/>
                <a:gd name="connsiteY38" fmla="*/ 5564744 h 15946069"/>
                <a:gd name="connsiteX39" fmla="*/ 8412926 w 17911411"/>
                <a:gd name="connsiteY39" fmla="*/ 4835463 h 15946069"/>
                <a:gd name="connsiteX40" fmla="*/ 7744624 w 17911411"/>
                <a:gd name="connsiteY40" fmla="*/ 4382387 h 15946069"/>
                <a:gd name="connsiteX41" fmla="*/ 8112983 w 17911411"/>
                <a:gd name="connsiteY41" fmla="*/ 3770361 h 15946069"/>
                <a:gd name="connsiteX42" fmla="*/ 7637793 w 17911411"/>
                <a:gd name="connsiteY42" fmla="*/ 2526072 h 15946069"/>
                <a:gd name="connsiteX43" fmla="*/ 7264687 w 17911411"/>
                <a:gd name="connsiteY43" fmla="*/ 2131091 h 15946069"/>
                <a:gd name="connsiteX44" fmla="*/ 6594245 w 17911411"/>
                <a:gd name="connsiteY44" fmla="*/ 2055834 h 15946069"/>
                <a:gd name="connsiteX45" fmla="*/ 6431470 w 17911411"/>
                <a:gd name="connsiteY45" fmla="*/ 1314295 h 15946069"/>
                <a:gd name="connsiteX46" fmla="*/ 5642908 w 17911411"/>
                <a:gd name="connsiteY46" fmla="*/ 1343233 h 15946069"/>
                <a:gd name="connsiteX47" fmla="*/ 5150959 w 17911411"/>
                <a:gd name="connsiteY47" fmla="*/ 1610907 h 15946069"/>
                <a:gd name="connsiteX48" fmla="*/ 5480133 w 17911411"/>
                <a:gd name="connsiteY48" fmla="*/ 2167963 h 15946069"/>
                <a:gd name="connsiteX49" fmla="*/ 4742216 w 17911411"/>
                <a:gd name="connsiteY49" fmla="*/ 2862495 h 15946069"/>
                <a:gd name="connsiteX50" fmla="*/ 2658667 w 17911411"/>
                <a:gd name="connsiteY50" fmla="*/ 0 h 15946069"/>
                <a:gd name="connsiteX51" fmla="*/ 2658682 w 17911411"/>
                <a:gd name="connsiteY51" fmla="*/ 1018890 h 15946069"/>
                <a:gd name="connsiteX52" fmla="*/ 1850829 w 17911411"/>
                <a:gd name="connsiteY52" fmla="*/ 1730283 h 15946069"/>
                <a:gd name="connsiteX53" fmla="*/ 1404694 w 17911411"/>
                <a:gd name="connsiteY53" fmla="*/ 2272862 h 15946069"/>
                <a:gd name="connsiteX54" fmla="*/ 2351216 w 17911411"/>
                <a:gd name="connsiteY54" fmla="*/ 3388182 h 15946069"/>
                <a:gd name="connsiteX55" fmla="*/ 2658682 w 17911411"/>
                <a:gd name="connsiteY55" fmla="*/ 4286458 h 15946069"/>
                <a:gd name="connsiteX56" fmla="*/ 1935228 w 17911411"/>
                <a:gd name="connsiteY56" fmla="*/ 5220918 h 15946069"/>
                <a:gd name="connsiteX57" fmla="*/ 875281 w 17911411"/>
                <a:gd name="connsiteY57" fmla="*/ 5166646 h 15946069"/>
                <a:gd name="connsiteX58" fmla="*/ 0 w 17911411"/>
                <a:gd name="connsiteY58" fmla="*/ 5890112 h 15946069"/>
                <a:gd name="connsiteX59" fmla="*/ 72345 w 17911411"/>
                <a:gd name="connsiteY59" fmla="*/ 6921032 h 15946069"/>
                <a:gd name="connsiteX60" fmla="*/ 477776 w 17911411"/>
                <a:gd name="connsiteY60" fmla="*/ 7436569 h 15946069"/>
                <a:gd name="connsiteX0" fmla="*/ 477776 w 17911411"/>
                <a:gd name="connsiteY0" fmla="*/ 7436569 h 15946069"/>
                <a:gd name="connsiteX1" fmla="*/ 271294 w 17911411"/>
                <a:gd name="connsiteY1" fmla="*/ 8060457 h 15946069"/>
                <a:gd name="connsiteX2" fmla="*/ 379812 w 17911411"/>
                <a:gd name="connsiteY2" fmla="*/ 8675382 h 15946069"/>
                <a:gd name="connsiteX3" fmla="*/ 759624 w 17911411"/>
                <a:gd name="connsiteY3" fmla="*/ 9217969 h 15946069"/>
                <a:gd name="connsiteX4" fmla="*/ 687278 w 17911411"/>
                <a:gd name="connsiteY4" fmla="*/ 9670126 h 15946069"/>
                <a:gd name="connsiteX5" fmla="*/ 144687 w 17911411"/>
                <a:gd name="connsiteY5" fmla="*/ 9941420 h 15946069"/>
                <a:gd name="connsiteX6" fmla="*/ 343643 w 17911411"/>
                <a:gd name="connsiteY6" fmla="*/ 10592536 h 15946069"/>
                <a:gd name="connsiteX7" fmla="*/ 940487 w 17911411"/>
                <a:gd name="connsiteY7" fmla="*/ 10954252 h 15946069"/>
                <a:gd name="connsiteX8" fmla="*/ 596844 w 17911411"/>
                <a:gd name="connsiteY8" fmla="*/ 11786221 h 15946069"/>
                <a:gd name="connsiteX9" fmla="*/ 633017 w 17911411"/>
                <a:gd name="connsiteY9" fmla="*/ 12780969 h 15946069"/>
                <a:gd name="connsiteX10" fmla="*/ 198944 w 17911411"/>
                <a:gd name="connsiteY10" fmla="*/ 13341645 h 15946069"/>
                <a:gd name="connsiteX11" fmla="*/ 723451 w 17911411"/>
                <a:gd name="connsiteY11" fmla="*/ 13757629 h 15946069"/>
                <a:gd name="connsiteX12" fmla="*/ 1640036 w 17911411"/>
                <a:gd name="connsiteY12" fmla="*/ 13197151 h 15946069"/>
                <a:gd name="connsiteX13" fmla="*/ 1880971 w 17911411"/>
                <a:gd name="connsiteY13" fmla="*/ 13395906 h 15946069"/>
                <a:gd name="connsiteX14" fmla="*/ 2930086 w 17911411"/>
                <a:gd name="connsiteY14" fmla="*/ 12952832 h 15946069"/>
                <a:gd name="connsiteX15" fmla="*/ 3828256 w 17911411"/>
                <a:gd name="connsiteY15" fmla="*/ 13245188 h 15946069"/>
                <a:gd name="connsiteX16" fmla="*/ 4768739 w 17911411"/>
                <a:gd name="connsiteY16" fmla="*/ 13040205 h 15946069"/>
                <a:gd name="connsiteX17" fmla="*/ 5190751 w 17911411"/>
                <a:gd name="connsiteY17" fmla="*/ 13649115 h 15946069"/>
                <a:gd name="connsiteX18" fmla="*/ 5932290 w 17911411"/>
                <a:gd name="connsiteY18" fmla="*/ 13444132 h 15946069"/>
                <a:gd name="connsiteX19" fmla="*/ 6498992 w 17911411"/>
                <a:gd name="connsiteY19" fmla="*/ 12991975 h 15946069"/>
                <a:gd name="connsiteX20" fmla="*/ 7373161 w 17911411"/>
                <a:gd name="connsiteY20" fmla="*/ 13582800 h 15946069"/>
                <a:gd name="connsiteX21" fmla="*/ 8512588 w 17911411"/>
                <a:gd name="connsiteY21" fmla="*/ 13570738 h 15946069"/>
                <a:gd name="connsiteX22" fmla="*/ 9742454 w 17911411"/>
                <a:gd name="connsiteY22" fmla="*/ 14004811 h 15946069"/>
                <a:gd name="connsiteX23" fmla="*/ 10616683 w 17911411"/>
                <a:gd name="connsiteY23" fmla="*/ 15358294 h 15946069"/>
                <a:gd name="connsiteX24" fmla="*/ 11117010 w 17911411"/>
                <a:gd name="connsiteY24" fmla="*/ 15946069 h 15946069"/>
                <a:gd name="connsiteX25" fmla="*/ 11780218 w 17911411"/>
                <a:gd name="connsiteY25" fmla="*/ 13579811 h 15946069"/>
                <a:gd name="connsiteX26" fmla="*/ 12196146 w 17911411"/>
                <a:gd name="connsiteY26" fmla="*/ 11388328 h 15946069"/>
                <a:gd name="connsiteX27" fmla="*/ 14004775 w 17911411"/>
                <a:gd name="connsiteY27" fmla="*/ 11611395 h 15946069"/>
                <a:gd name="connsiteX28" fmla="*/ 15409477 w 17911411"/>
                <a:gd name="connsiteY28" fmla="*/ 11882693 h 15946069"/>
                <a:gd name="connsiteX29" fmla="*/ 16413199 w 17911411"/>
                <a:gd name="connsiteY29" fmla="*/ 10920339 h 15946069"/>
                <a:gd name="connsiteX30" fmla="*/ 16428336 w 17911411"/>
                <a:gd name="connsiteY30" fmla="*/ 9374732 h 15946069"/>
                <a:gd name="connsiteX31" fmla="*/ 16024409 w 17911411"/>
                <a:gd name="connsiteY31" fmla="*/ 7433474 h 15946069"/>
                <a:gd name="connsiteX32" fmla="*/ 17911414 w 17911411"/>
                <a:gd name="connsiteY32" fmla="*/ 6083041 h 15946069"/>
                <a:gd name="connsiteX33" fmla="*/ 9301422 w 17911411"/>
                <a:gd name="connsiteY33" fmla="*/ 7486132 h 15946069"/>
                <a:gd name="connsiteX34" fmla="*/ 10709437 w 17911411"/>
                <a:gd name="connsiteY34" fmla="*/ 6730245 h 15946069"/>
                <a:gd name="connsiteX35" fmla="*/ 10017677 w 17911411"/>
                <a:gd name="connsiteY35" fmla="*/ 5883475 h 15946069"/>
                <a:gd name="connsiteX36" fmla="*/ 9318595 w 17911411"/>
                <a:gd name="connsiteY36" fmla="*/ 5859197 h 15946069"/>
                <a:gd name="connsiteX37" fmla="*/ 9215073 w 17911411"/>
                <a:gd name="connsiteY37" fmla="*/ 5387392 h 15946069"/>
                <a:gd name="connsiteX38" fmla="*/ 8600211 w 17911411"/>
                <a:gd name="connsiteY38" fmla="*/ 5564744 h 15946069"/>
                <a:gd name="connsiteX39" fmla="*/ 8412926 w 17911411"/>
                <a:gd name="connsiteY39" fmla="*/ 4835463 h 15946069"/>
                <a:gd name="connsiteX40" fmla="*/ 7744624 w 17911411"/>
                <a:gd name="connsiteY40" fmla="*/ 4382387 h 15946069"/>
                <a:gd name="connsiteX41" fmla="*/ 8112983 w 17911411"/>
                <a:gd name="connsiteY41" fmla="*/ 3770361 h 15946069"/>
                <a:gd name="connsiteX42" fmla="*/ 7637793 w 17911411"/>
                <a:gd name="connsiteY42" fmla="*/ 2526072 h 15946069"/>
                <a:gd name="connsiteX43" fmla="*/ 7264687 w 17911411"/>
                <a:gd name="connsiteY43" fmla="*/ 2131091 h 15946069"/>
                <a:gd name="connsiteX44" fmla="*/ 6594245 w 17911411"/>
                <a:gd name="connsiteY44" fmla="*/ 2055834 h 15946069"/>
                <a:gd name="connsiteX45" fmla="*/ 6431470 w 17911411"/>
                <a:gd name="connsiteY45" fmla="*/ 1314295 h 15946069"/>
                <a:gd name="connsiteX46" fmla="*/ 5642908 w 17911411"/>
                <a:gd name="connsiteY46" fmla="*/ 1343233 h 15946069"/>
                <a:gd name="connsiteX47" fmla="*/ 5150959 w 17911411"/>
                <a:gd name="connsiteY47" fmla="*/ 1610907 h 15946069"/>
                <a:gd name="connsiteX48" fmla="*/ 5480133 w 17911411"/>
                <a:gd name="connsiteY48" fmla="*/ 2167963 h 15946069"/>
                <a:gd name="connsiteX49" fmla="*/ 4742216 w 17911411"/>
                <a:gd name="connsiteY49" fmla="*/ 2862495 h 15946069"/>
                <a:gd name="connsiteX50" fmla="*/ 2658667 w 17911411"/>
                <a:gd name="connsiteY50" fmla="*/ 0 h 15946069"/>
                <a:gd name="connsiteX51" fmla="*/ 2658682 w 17911411"/>
                <a:gd name="connsiteY51" fmla="*/ 1018890 h 15946069"/>
                <a:gd name="connsiteX52" fmla="*/ 1850829 w 17911411"/>
                <a:gd name="connsiteY52" fmla="*/ 1730283 h 15946069"/>
                <a:gd name="connsiteX53" fmla="*/ 1404694 w 17911411"/>
                <a:gd name="connsiteY53" fmla="*/ 2272862 h 15946069"/>
                <a:gd name="connsiteX54" fmla="*/ 2351216 w 17911411"/>
                <a:gd name="connsiteY54" fmla="*/ 3388182 h 15946069"/>
                <a:gd name="connsiteX55" fmla="*/ 2658682 w 17911411"/>
                <a:gd name="connsiteY55" fmla="*/ 4286458 h 15946069"/>
                <a:gd name="connsiteX56" fmla="*/ 1935228 w 17911411"/>
                <a:gd name="connsiteY56" fmla="*/ 5220918 h 15946069"/>
                <a:gd name="connsiteX57" fmla="*/ 875281 w 17911411"/>
                <a:gd name="connsiteY57" fmla="*/ 5166646 h 15946069"/>
                <a:gd name="connsiteX58" fmla="*/ 0 w 17911411"/>
                <a:gd name="connsiteY58" fmla="*/ 5890112 h 15946069"/>
                <a:gd name="connsiteX59" fmla="*/ 72345 w 17911411"/>
                <a:gd name="connsiteY59" fmla="*/ 6921032 h 15946069"/>
                <a:gd name="connsiteX60" fmla="*/ 477776 w 17911411"/>
                <a:gd name="connsiteY60" fmla="*/ 7436569 h 15946069"/>
                <a:gd name="connsiteX0" fmla="*/ 477776 w 17911411"/>
                <a:gd name="connsiteY0" fmla="*/ 7436569 h 15946069"/>
                <a:gd name="connsiteX1" fmla="*/ 271294 w 17911411"/>
                <a:gd name="connsiteY1" fmla="*/ 8060457 h 15946069"/>
                <a:gd name="connsiteX2" fmla="*/ 379812 w 17911411"/>
                <a:gd name="connsiteY2" fmla="*/ 8675382 h 15946069"/>
                <a:gd name="connsiteX3" fmla="*/ 759624 w 17911411"/>
                <a:gd name="connsiteY3" fmla="*/ 9217969 h 15946069"/>
                <a:gd name="connsiteX4" fmla="*/ 687278 w 17911411"/>
                <a:gd name="connsiteY4" fmla="*/ 9670126 h 15946069"/>
                <a:gd name="connsiteX5" fmla="*/ 144687 w 17911411"/>
                <a:gd name="connsiteY5" fmla="*/ 9941420 h 15946069"/>
                <a:gd name="connsiteX6" fmla="*/ 343643 w 17911411"/>
                <a:gd name="connsiteY6" fmla="*/ 10592536 h 15946069"/>
                <a:gd name="connsiteX7" fmla="*/ 940487 w 17911411"/>
                <a:gd name="connsiteY7" fmla="*/ 10954252 h 15946069"/>
                <a:gd name="connsiteX8" fmla="*/ 596844 w 17911411"/>
                <a:gd name="connsiteY8" fmla="*/ 11786221 h 15946069"/>
                <a:gd name="connsiteX9" fmla="*/ 633017 w 17911411"/>
                <a:gd name="connsiteY9" fmla="*/ 12780969 h 15946069"/>
                <a:gd name="connsiteX10" fmla="*/ 198944 w 17911411"/>
                <a:gd name="connsiteY10" fmla="*/ 13341645 h 15946069"/>
                <a:gd name="connsiteX11" fmla="*/ 723451 w 17911411"/>
                <a:gd name="connsiteY11" fmla="*/ 13757629 h 15946069"/>
                <a:gd name="connsiteX12" fmla="*/ 1640036 w 17911411"/>
                <a:gd name="connsiteY12" fmla="*/ 13197151 h 15946069"/>
                <a:gd name="connsiteX13" fmla="*/ 1880971 w 17911411"/>
                <a:gd name="connsiteY13" fmla="*/ 13395906 h 15946069"/>
                <a:gd name="connsiteX14" fmla="*/ 2930086 w 17911411"/>
                <a:gd name="connsiteY14" fmla="*/ 12952832 h 15946069"/>
                <a:gd name="connsiteX15" fmla="*/ 3828256 w 17911411"/>
                <a:gd name="connsiteY15" fmla="*/ 13245188 h 15946069"/>
                <a:gd name="connsiteX16" fmla="*/ 4768739 w 17911411"/>
                <a:gd name="connsiteY16" fmla="*/ 13040205 h 15946069"/>
                <a:gd name="connsiteX17" fmla="*/ 5190751 w 17911411"/>
                <a:gd name="connsiteY17" fmla="*/ 13649115 h 15946069"/>
                <a:gd name="connsiteX18" fmla="*/ 5932290 w 17911411"/>
                <a:gd name="connsiteY18" fmla="*/ 13444132 h 15946069"/>
                <a:gd name="connsiteX19" fmla="*/ 6498992 w 17911411"/>
                <a:gd name="connsiteY19" fmla="*/ 12991975 h 15946069"/>
                <a:gd name="connsiteX20" fmla="*/ 7373161 w 17911411"/>
                <a:gd name="connsiteY20" fmla="*/ 13582800 h 15946069"/>
                <a:gd name="connsiteX21" fmla="*/ 8512588 w 17911411"/>
                <a:gd name="connsiteY21" fmla="*/ 13570738 h 15946069"/>
                <a:gd name="connsiteX22" fmla="*/ 9742454 w 17911411"/>
                <a:gd name="connsiteY22" fmla="*/ 14004811 h 15946069"/>
                <a:gd name="connsiteX23" fmla="*/ 10616683 w 17911411"/>
                <a:gd name="connsiteY23" fmla="*/ 15358294 h 15946069"/>
                <a:gd name="connsiteX24" fmla="*/ 11117010 w 17911411"/>
                <a:gd name="connsiteY24" fmla="*/ 15946069 h 15946069"/>
                <a:gd name="connsiteX25" fmla="*/ 11780218 w 17911411"/>
                <a:gd name="connsiteY25" fmla="*/ 13579811 h 15946069"/>
                <a:gd name="connsiteX26" fmla="*/ 12196146 w 17911411"/>
                <a:gd name="connsiteY26" fmla="*/ 11388328 h 15946069"/>
                <a:gd name="connsiteX27" fmla="*/ 14004775 w 17911411"/>
                <a:gd name="connsiteY27" fmla="*/ 11611395 h 15946069"/>
                <a:gd name="connsiteX28" fmla="*/ 15409477 w 17911411"/>
                <a:gd name="connsiteY28" fmla="*/ 11882693 h 15946069"/>
                <a:gd name="connsiteX29" fmla="*/ 16413199 w 17911411"/>
                <a:gd name="connsiteY29" fmla="*/ 10920339 h 15946069"/>
                <a:gd name="connsiteX30" fmla="*/ 16428336 w 17911411"/>
                <a:gd name="connsiteY30" fmla="*/ 9374732 h 15946069"/>
                <a:gd name="connsiteX31" fmla="*/ 16024409 w 17911411"/>
                <a:gd name="connsiteY31" fmla="*/ 7433474 h 15946069"/>
                <a:gd name="connsiteX32" fmla="*/ 17911414 w 17911411"/>
                <a:gd name="connsiteY32" fmla="*/ 6083041 h 15946069"/>
                <a:gd name="connsiteX33" fmla="*/ 10425568 w 17911411"/>
                <a:gd name="connsiteY33" fmla="*/ 7223642 h 15946069"/>
                <a:gd name="connsiteX34" fmla="*/ 10709437 w 17911411"/>
                <a:gd name="connsiteY34" fmla="*/ 6730245 h 15946069"/>
                <a:gd name="connsiteX35" fmla="*/ 10017677 w 17911411"/>
                <a:gd name="connsiteY35" fmla="*/ 5883475 h 15946069"/>
                <a:gd name="connsiteX36" fmla="*/ 9318595 w 17911411"/>
                <a:gd name="connsiteY36" fmla="*/ 5859197 h 15946069"/>
                <a:gd name="connsiteX37" fmla="*/ 9215073 w 17911411"/>
                <a:gd name="connsiteY37" fmla="*/ 5387392 h 15946069"/>
                <a:gd name="connsiteX38" fmla="*/ 8600211 w 17911411"/>
                <a:gd name="connsiteY38" fmla="*/ 5564744 h 15946069"/>
                <a:gd name="connsiteX39" fmla="*/ 8412926 w 17911411"/>
                <a:gd name="connsiteY39" fmla="*/ 4835463 h 15946069"/>
                <a:gd name="connsiteX40" fmla="*/ 7744624 w 17911411"/>
                <a:gd name="connsiteY40" fmla="*/ 4382387 h 15946069"/>
                <a:gd name="connsiteX41" fmla="*/ 8112983 w 17911411"/>
                <a:gd name="connsiteY41" fmla="*/ 3770361 h 15946069"/>
                <a:gd name="connsiteX42" fmla="*/ 7637793 w 17911411"/>
                <a:gd name="connsiteY42" fmla="*/ 2526072 h 15946069"/>
                <a:gd name="connsiteX43" fmla="*/ 7264687 w 17911411"/>
                <a:gd name="connsiteY43" fmla="*/ 2131091 h 15946069"/>
                <a:gd name="connsiteX44" fmla="*/ 6594245 w 17911411"/>
                <a:gd name="connsiteY44" fmla="*/ 2055834 h 15946069"/>
                <a:gd name="connsiteX45" fmla="*/ 6431470 w 17911411"/>
                <a:gd name="connsiteY45" fmla="*/ 1314295 h 15946069"/>
                <a:gd name="connsiteX46" fmla="*/ 5642908 w 17911411"/>
                <a:gd name="connsiteY46" fmla="*/ 1343233 h 15946069"/>
                <a:gd name="connsiteX47" fmla="*/ 5150959 w 17911411"/>
                <a:gd name="connsiteY47" fmla="*/ 1610907 h 15946069"/>
                <a:gd name="connsiteX48" fmla="*/ 5480133 w 17911411"/>
                <a:gd name="connsiteY48" fmla="*/ 2167963 h 15946069"/>
                <a:gd name="connsiteX49" fmla="*/ 4742216 w 17911411"/>
                <a:gd name="connsiteY49" fmla="*/ 2862495 h 15946069"/>
                <a:gd name="connsiteX50" fmla="*/ 2658667 w 17911411"/>
                <a:gd name="connsiteY50" fmla="*/ 0 h 15946069"/>
                <a:gd name="connsiteX51" fmla="*/ 2658682 w 17911411"/>
                <a:gd name="connsiteY51" fmla="*/ 1018890 h 15946069"/>
                <a:gd name="connsiteX52" fmla="*/ 1850829 w 17911411"/>
                <a:gd name="connsiteY52" fmla="*/ 1730283 h 15946069"/>
                <a:gd name="connsiteX53" fmla="*/ 1404694 w 17911411"/>
                <a:gd name="connsiteY53" fmla="*/ 2272862 h 15946069"/>
                <a:gd name="connsiteX54" fmla="*/ 2351216 w 17911411"/>
                <a:gd name="connsiteY54" fmla="*/ 3388182 h 15946069"/>
                <a:gd name="connsiteX55" fmla="*/ 2658682 w 17911411"/>
                <a:gd name="connsiteY55" fmla="*/ 4286458 h 15946069"/>
                <a:gd name="connsiteX56" fmla="*/ 1935228 w 17911411"/>
                <a:gd name="connsiteY56" fmla="*/ 5220918 h 15946069"/>
                <a:gd name="connsiteX57" fmla="*/ 875281 w 17911411"/>
                <a:gd name="connsiteY57" fmla="*/ 5166646 h 15946069"/>
                <a:gd name="connsiteX58" fmla="*/ 0 w 17911411"/>
                <a:gd name="connsiteY58" fmla="*/ 5890112 h 15946069"/>
                <a:gd name="connsiteX59" fmla="*/ 72345 w 17911411"/>
                <a:gd name="connsiteY59" fmla="*/ 6921032 h 15946069"/>
                <a:gd name="connsiteX60" fmla="*/ 477776 w 17911411"/>
                <a:gd name="connsiteY60" fmla="*/ 7436569 h 15946069"/>
                <a:gd name="connsiteX0" fmla="*/ 477776 w 16428338"/>
                <a:gd name="connsiteY0" fmla="*/ 7436569 h 15946069"/>
                <a:gd name="connsiteX1" fmla="*/ 271294 w 16428338"/>
                <a:gd name="connsiteY1" fmla="*/ 8060457 h 15946069"/>
                <a:gd name="connsiteX2" fmla="*/ 379812 w 16428338"/>
                <a:gd name="connsiteY2" fmla="*/ 8675382 h 15946069"/>
                <a:gd name="connsiteX3" fmla="*/ 759624 w 16428338"/>
                <a:gd name="connsiteY3" fmla="*/ 9217969 h 15946069"/>
                <a:gd name="connsiteX4" fmla="*/ 687278 w 16428338"/>
                <a:gd name="connsiteY4" fmla="*/ 9670126 h 15946069"/>
                <a:gd name="connsiteX5" fmla="*/ 144687 w 16428338"/>
                <a:gd name="connsiteY5" fmla="*/ 9941420 h 15946069"/>
                <a:gd name="connsiteX6" fmla="*/ 343643 w 16428338"/>
                <a:gd name="connsiteY6" fmla="*/ 10592536 h 15946069"/>
                <a:gd name="connsiteX7" fmla="*/ 940487 w 16428338"/>
                <a:gd name="connsiteY7" fmla="*/ 10954252 h 15946069"/>
                <a:gd name="connsiteX8" fmla="*/ 596844 w 16428338"/>
                <a:gd name="connsiteY8" fmla="*/ 11786221 h 15946069"/>
                <a:gd name="connsiteX9" fmla="*/ 633017 w 16428338"/>
                <a:gd name="connsiteY9" fmla="*/ 12780969 h 15946069"/>
                <a:gd name="connsiteX10" fmla="*/ 198944 w 16428338"/>
                <a:gd name="connsiteY10" fmla="*/ 13341645 h 15946069"/>
                <a:gd name="connsiteX11" fmla="*/ 723451 w 16428338"/>
                <a:gd name="connsiteY11" fmla="*/ 13757629 h 15946069"/>
                <a:gd name="connsiteX12" fmla="*/ 1640036 w 16428338"/>
                <a:gd name="connsiteY12" fmla="*/ 13197151 h 15946069"/>
                <a:gd name="connsiteX13" fmla="*/ 1880971 w 16428338"/>
                <a:gd name="connsiteY13" fmla="*/ 13395906 h 15946069"/>
                <a:gd name="connsiteX14" fmla="*/ 2930086 w 16428338"/>
                <a:gd name="connsiteY14" fmla="*/ 12952832 h 15946069"/>
                <a:gd name="connsiteX15" fmla="*/ 3828256 w 16428338"/>
                <a:gd name="connsiteY15" fmla="*/ 13245188 h 15946069"/>
                <a:gd name="connsiteX16" fmla="*/ 4768739 w 16428338"/>
                <a:gd name="connsiteY16" fmla="*/ 13040205 h 15946069"/>
                <a:gd name="connsiteX17" fmla="*/ 5190751 w 16428338"/>
                <a:gd name="connsiteY17" fmla="*/ 13649115 h 15946069"/>
                <a:gd name="connsiteX18" fmla="*/ 5932290 w 16428338"/>
                <a:gd name="connsiteY18" fmla="*/ 13444132 h 15946069"/>
                <a:gd name="connsiteX19" fmla="*/ 6498992 w 16428338"/>
                <a:gd name="connsiteY19" fmla="*/ 12991975 h 15946069"/>
                <a:gd name="connsiteX20" fmla="*/ 7373161 w 16428338"/>
                <a:gd name="connsiteY20" fmla="*/ 13582800 h 15946069"/>
                <a:gd name="connsiteX21" fmla="*/ 8512588 w 16428338"/>
                <a:gd name="connsiteY21" fmla="*/ 13570738 h 15946069"/>
                <a:gd name="connsiteX22" fmla="*/ 9742454 w 16428338"/>
                <a:gd name="connsiteY22" fmla="*/ 14004811 h 15946069"/>
                <a:gd name="connsiteX23" fmla="*/ 10616683 w 16428338"/>
                <a:gd name="connsiteY23" fmla="*/ 15358294 h 15946069"/>
                <a:gd name="connsiteX24" fmla="*/ 11117010 w 16428338"/>
                <a:gd name="connsiteY24" fmla="*/ 15946069 h 15946069"/>
                <a:gd name="connsiteX25" fmla="*/ 11780218 w 16428338"/>
                <a:gd name="connsiteY25" fmla="*/ 13579811 h 15946069"/>
                <a:gd name="connsiteX26" fmla="*/ 12196146 w 16428338"/>
                <a:gd name="connsiteY26" fmla="*/ 11388328 h 15946069"/>
                <a:gd name="connsiteX27" fmla="*/ 14004775 w 16428338"/>
                <a:gd name="connsiteY27" fmla="*/ 11611395 h 15946069"/>
                <a:gd name="connsiteX28" fmla="*/ 15409477 w 16428338"/>
                <a:gd name="connsiteY28" fmla="*/ 11882693 h 15946069"/>
                <a:gd name="connsiteX29" fmla="*/ 16413199 w 16428338"/>
                <a:gd name="connsiteY29" fmla="*/ 10920339 h 15946069"/>
                <a:gd name="connsiteX30" fmla="*/ 16428336 w 16428338"/>
                <a:gd name="connsiteY30" fmla="*/ 9374732 h 15946069"/>
                <a:gd name="connsiteX31" fmla="*/ 16024409 w 16428338"/>
                <a:gd name="connsiteY31" fmla="*/ 7433474 h 15946069"/>
                <a:gd name="connsiteX32" fmla="*/ 10161984 w 16428338"/>
                <a:gd name="connsiteY32" fmla="*/ 8636304 h 15946069"/>
                <a:gd name="connsiteX33" fmla="*/ 10425568 w 16428338"/>
                <a:gd name="connsiteY33" fmla="*/ 7223642 h 15946069"/>
                <a:gd name="connsiteX34" fmla="*/ 10709437 w 16428338"/>
                <a:gd name="connsiteY34" fmla="*/ 6730245 h 15946069"/>
                <a:gd name="connsiteX35" fmla="*/ 10017677 w 16428338"/>
                <a:gd name="connsiteY35" fmla="*/ 5883475 h 15946069"/>
                <a:gd name="connsiteX36" fmla="*/ 9318595 w 16428338"/>
                <a:gd name="connsiteY36" fmla="*/ 5859197 h 15946069"/>
                <a:gd name="connsiteX37" fmla="*/ 9215073 w 16428338"/>
                <a:gd name="connsiteY37" fmla="*/ 5387392 h 15946069"/>
                <a:gd name="connsiteX38" fmla="*/ 8600211 w 16428338"/>
                <a:gd name="connsiteY38" fmla="*/ 5564744 h 15946069"/>
                <a:gd name="connsiteX39" fmla="*/ 8412926 w 16428338"/>
                <a:gd name="connsiteY39" fmla="*/ 4835463 h 15946069"/>
                <a:gd name="connsiteX40" fmla="*/ 7744624 w 16428338"/>
                <a:gd name="connsiteY40" fmla="*/ 4382387 h 15946069"/>
                <a:gd name="connsiteX41" fmla="*/ 8112983 w 16428338"/>
                <a:gd name="connsiteY41" fmla="*/ 3770361 h 15946069"/>
                <a:gd name="connsiteX42" fmla="*/ 7637793 w 16428338"/>
                <a:gd name="connsiteY42" fmla="*/ 2526072 h 15946069"/>
                <a:gd name="connsiteX43" fmla="*/ 7264687 w 16428338"/>
                <a:gd name="connsiteY43" fmla="*/ 2131091 h 15946069"/>
                <a:gd name="connsiteX44" fmla="*/ 6594245 w 16428338"/>
                <a:gd name="connsiteY44" fmla="*/ 2055834 h 15946069"/>
                <a:gd name="connsiteX45" fmla="*/ 6431470 w 16428338"/>
                <a:gd name="connsiteY45" fmla="*/ 1314295 h 15946069"/>
                <a:gd name="connsiteX46" fmla="*/ 5642908 w 16428338"/>
                <a:gd name="connsiteY46" fmla="*/ 1343233 h 15946069"/>
                <a:gd name="connsiteX47" fmla="*/ 5150959 w 16428338"/>
                <a:gd name="connsiteY47" fmla="*/ 1610907 h 15946069"/>
                <a:gd name="connsiteX48" fmla="*/ 5480133 w 16428338"/>
                <a:gd name="connsiteY48" fmla="*/ 2167963 h 15946069"/>
                <a:gd name="connsiteX49" fmla="*/ 4742216 w 16428338"/>
                <a:gd name="connsiteY49" fmla="*/ 2862495 h 15946069"/>
                <a:gd name="connsiteX50" fmla="*/ 2658667 w 16428338"/>
                <a:gd name="connsiteY50" fmla="*/ 0 h 15946069"/>
                <a:gd name="connsiteX51" fmla="*/ 2658682 w 16428338"/>
                <a:gd name="connsiteY51" fmla="*/ 1018890 h 15946069"/>
                <a:gd name="connsiteX52" fmla="*/ 1850829 w 16428338"/>
                <a:gd name="connsiteY52" fmla="*/ 1730283 h 15946069"/>
                <a:gd name="connsiteX53" fmla="*/ 1404694 w 16428338"/>
                <a:gd name="connsiteY53" fmla="*/ 2272862 h 15946069"/>
                <a:gd name="connsiteX54" fmla="*/ 2351216 w 16428338"/>
                <a:gd name="connsiteY54" fmla="*/ 3388182 h 15946069"/>
                <a:gd name="connsiteX55" fmla="*/ 2658682 w 16428338"/>
                <a:gd name="connsiteY55" fmla="*/ 4286458 h 15946069"/>
                <a:gd name="connsiteX56" fmla="*/ 1935228 w 16428338"/>
                <a:gd name="connsiteY56" fmla="*/ 5220918 h 15946069"/>
                <a:gd name="connsiteX57" fmla="*/ 875281 w 16428338"/>
                <a:gd name="connsiteY57" fmla="*/ 5166646 h 15946069"/>
                <a:gd name="connsiteX58" fmla="*/ 0 w 16428338"/>
                <a:gd name="connsiteY58" fmla="*/ 5890112 h 15946069"/>
                <a:gd name="connsiteX59" fmla="*/ 72345 w 16428338"/>
                <a:gd name="connsiteY59" fmla="*/ 6921032 h 15946069"/>
                <a:gd name="connsiteX60" fmla="*/ 477776 w 16428338"/>
                <a:gd name="connsiteY60" fmla="*/ 7436569 h 15946069"/>
                <a:gd name="connsiteX0" fmla="*/ 477776 w 16428338"/>
                <a:gd name="connsiteY0" fmla="*/ 7436569 h 15946069"/>
                <a:gd name="connsiteX1" fmla="*/ 271294 w 16428338"/>
                <a:gd name="connsiteY1" fmla="*/ 8060457 h 15946069"/>
                <a:gd name="connsiteX2" fmla="*/ 379812 w 16428338"/>
                <a:gd name="connsiteY2" fmla="*/ 8675382 h 15946069"/>
                <a:gd name="connsiteX3" fmla="*/ 759624 w 16428338"/>
                <a:gd name="connsiteY3" fmla="*/ 9217969 h 15946069"/>
                <a:gd name="connsiteX4" fmla="*/ 687278 w 16428338"/>
                <a:gd name="connsiteY4" fmla="*/ 9670126 h 15946069"/>
                <a:gd name="connsiteX5" fmla="*/ 144687 w 16428338"/>
                <a:gd name="connsiteY5" fmla="*/ 9941420 h 15946069"/>
                <a:gd name="connsiteX6" fmla="*/ 343643 w 16428338"/>
                <a:gd name="connsiteY6" fmla="*/ 10592536 h 15946069"/>
                <a:gd name="connsiteX7" fmla="*/ 940487 w 16428338"/>
                <a:gd name="connsiteY7" fmla="*/ 10954252 h 15946069"/>
                <a:gd name="connsiteX8" fmla="*/ 596844 w 16428338"/>
                <a:gd name="connsiteY8" fmla="*/ 11786221 h 15946069"/>
                <a:gd name="connsiteX9" fmla="*/ 633017 w 16428338"/>
                <a:gd name="connsiteY9" fmla="*/ 12780969 h 15946069"/>
                <a:gd name="connsiteX10" fmla="*/ 198944 w 16428338"/>
                <a:gd name="connsiteY10" fmla="*/ 13341645 h 15946069"/>
                <a:gd name="connsiteX11" fmla="*/ 723451 w 16428338"/>
                <a:gd name="connsiteY11" fmla="*/ 13757629 h 15946069"/>
                <a:gd name="connsiteX12" fmla="*/ 1640036 w 16428338"/>
                <a:gd name="connsiteY12" fmla="*/ 13197151 h 15946069"/>
                <a:gd name="connsiteX13" fmla="*/ 1880971 w 16428338"/>
                <a:gd name="connsiteY13" fmla="*/ 13395906 h 15946069"/>
                <a:gd name="connsiteX14" fmla="*/ 2930086 w 16428338"/>
                <a:gd name="connsiteY14" fmla="*/ 12952832 h 15946069"/>
                <a:gd name="connsiteX15" fmla="*/ 3828256 w 16428338"/>
                <a:gd name="connsiteY15" fmla="*/ 13245188 h 15946069"/>
                <a:gd name="connsiteX16" fmla="*/ 4768739 w 16428338"/>
                <a:gd name="connsiteY16" fmla="*/ 13040205 h 15946069"/>
                <a:gd name="connsiteX17" fmla="*/ 5190751 w 16428338"/>
                <a:gd name="connsiteY17" fmla="*/ 13649115 h 15946069"/>
                <a:gd name="connsiteX18" fmla="*/ 5932290 w 16428338"/>
                <a:gd name="connsiteY18" fmla="*/ 13444132 h 15946069"/>
                <a:gd name="connsiteX19" fmla="*/ 6498992 w 16428338"/>
                <a:gd name="connsiteY19" fmla="*/ 12991975 h 15946069"/>
                <a:gd name="connsiteX20" fmla="*/ 7373161 w 16428338"/>
                <a:gd name="connsiteY20" fmla="*/ 13582800 h 15946069"/>
                <a:gd name="connsiteX21" fmla="*/ 8512588 w 16428338"/>
                <a:gd name="connsiteY21" fmla="*/ 13570738 h 15946069"/>
                <a:gd name="connsiteX22" fmla="*/ 9742454 w 16428338"/>
                <a:gd name="connsiteY22" fmla="*/ 14004811 h 15946069"/>
                <a:gd name="connsiteX23" fmla="*/ 10616683 w 16428338"/>
                <a:gd name="connsiteY23" fmla="*/ 15358294 h 15946069"/>
                <a:gd name="connsiteX24" fmla="*/ 11117010 w 16428338"/>
                <a:gd name="connsiteY24" fmla="*/ 15946069 h 15946069"/>
                <a:gd name="connsiteX25" fmla="*/ 11780218 w 16428338"/>
                <a:gd name="connsiteY25" fmla="*/ 13579811 h 15946069"/>
                <a:gd name="connsiteX26" fmla="*/ 12196146 w 16428338"/>
                <a:gd name="connsiteY26" fmla="*/ 11388328 h 15946069"/>
                <a:gd name="connsiteX27" fmla="*/ 14004775 w 16428338"/>
                <a:gd name="connsiteY27" fmla="*/ 11611395 h 15946069"/>
                <a:gd name="connsiteX28" fmla="*/ 15409477 w 16428338"/>
                <a:gd name="connsiteY28" fmla="*/ 11882693 h 15946069"/>
                <a:gd name="connsiteX29" fmla="*/ 16413199 w 16428338"/>
                <a:gd name="connsiteY29" fmla="*/ 10920339 h 15946069"/>
                <a:gd name="connsiteX30" fmla="*/ 16428336 w 16428338"/>
                <a:gd name="connsiteY30" fmla="*/ 9374732 h 15946069"/>
                <a:gd name="connsiteX31" fmla="*/ 16024409 w 16428338"/>
                <a:gd name="connsiteY31" fmla="*/ 7433474 h 15946069"/>
                <a:gd name="connsiteX32" fmla="*/ 11118705 w 16428338"/>
                <a:gd name="connsiteY32" fmla="*/ 7156845 h 15946069"/>
                <a:gd name="connsiteX33" fmla="*/ 10425568 w 16428338"/>
                <a:gd name="connsiteY33" fmla="*/ 7223642 h 15946069"/>
                <a:gd name="connsiteX34" fmla="*/ 10709437 w 16428338"/>
                <a:gd name="connsiteY34" fmla="*/ 6730245 h 15946069"/>
                <a:gd name="connsiteX35" fmla="*/ 10017677 w 16428338"/>
                <a:gd name="connsiteY35" fmla="*/ 5883475 h 15946069"/>
                <a:gd name="connsiteX36" fmla="*/ 9318595 w 16428338"/>
                <a:gd name="connsiteY36" fmla="*/ 5859197 h 15946069"/>
                <a:gd name="connsiteX37" fmla="*/ 9215073 w 16428338"/>
                <a:gd name="connsiteY37" fmla="*/ 5387392 h 15946069"/>
                <a:gd name="connsiteX38" fmla="*/ 8600211 w 16428338"/>
                <a:gd name="connsiteY38" fmla="*/ 5564744 h 15946069"/>
                <a:gd name="connsiteX39" fmla="*/ 8412926 w 16428338"/>
                <a:gd name="connsiteY39" fmla="*/ 4835463 h 15946069"/>
                <a:gd name="connsiteX40" fmla="*/ 7744624 w 16428338"/>
                <a:gd name="connsiteY40" fmla="*/ 4382387 h 15946069"/>
                <a:gd name="connsiteX41" fmla="*/ 8112983 w 16428338"/>
                <a:gd name="connsiteY41" fmla="*/ 3770361 h 15946069"/>
                <a:gd name="connsiteX42" fmla="*/ 7637793 w 16428338"/>
                <a:gd name="connsiteY42" fmla="*/ 2526072 h 15946069"/>
                <a:gd name="connsiteX43" fmla="*/ 7264687 w 16428338"/>
                <a:gd name="connsiteY43" fmla="*/ 2131091 h 15946069"/>
                <a:gd name="connsiteX44" fmla="*/ 6594245 w 16428338"/>
                <a:gd name="connsiteY44" fmla="*/ 2055834 h 15946069"/>
                <a:gd name="connsiteX45" fmla="*/ 6431470 w 16428338"/>
                <a:gd name="connsiteY45" fmla="*/ 1314295 h 15946069"/>
                <a:gd name="connsiteX46" fmla="*/ 5642908 w 16428338"/>
                <a:gd name="connsiteY46" fmla="*/ 1343233 h 15946069"/>
                <a:gd name="connsiteX47" fmla="*/ 5150959 w 16428338"/>
                <a:gd name="connsiteY47" fmla="*/ 1610907 h 15946069"/>
                <a:gd name="connsiteX48" fmla="*/ 5480133 w 16428338"/>
                <a:gd name="connsiteY48" fmla="*/ 2167963 h 15946069"/>
                <a:gd name="connsiteX49" fmla="*/ 4742216 w 16428338"/>
                <a:gd name="connsiteY49" fmla="*/ 2862495 h 15946069"/>
                <a:gd name="connsiteX50" fmla="*/ 2658667 w 16428338"/>
                <a:gd name="connsiteY50" fmla="*/ 0 h 15946069"/>
                <a:gd name="connsiteX51" fmla="*/ 2658682 w 16428338"/>
                <a:gd name="connsiteY51" fmla="*/ 1018890 h 15946069"/>
                <a:gd name="connsiteX52" fmla="*/ 1850829 w 16428338"/>
                <a:gd name="connsiteY52" fmla="*/ 1730283 h 15946069"/>
                <a:gd name="connsiteX53" fmla="*/ 1404694 w 16428338"/>
                <a:gd name="connsiteY53" fmla="*/ 2272862 h 15946069"/>
                <a:gd name="connsiteX54" fmla="*/ 2351216 w 16428338"/>
                <a:gd name="connsiteY54" fmla="*/ 3388182 h 15946069"/>
                <a:gd name="connsiteX55" fmla="*/ 2658682 w 16428338"/>
                <a:gd name="connsiteY55" fmla="*/ 4286458 h 15946069"/>
                <a:gd name="connsiteX56" fmla="*/ 1935228 w 16428338"/>
                <a:gd name="connsiteY56" fmla="*/ 5220918 h 15946069"/>
                <a:gd name="connsiteX57" fmla="*/ 875281 w 16428338"/>
                <a:gd name="connsiteY57" fmla="*/ 5166646 h 15946069"/>
                <a:gd name="connsiteX58" fmla="*/ 0 w 16428338"/>
                <a:gd name="connsiteY58" fmla="*/ 5890112 h 15946069"/>
                <a:gd name="connsiteX59" fmla="*/ 72345 w 16428338"/>
                <a:gd name="connsiteY59" fmla="*/ 6921032 h 15946069"/>
                <a:gd name="connsiteX60" fmla="*/ 477776 w 16428338"/>
                <a:gd name="connsiteY60" fmla="*/ 7436569 h 15946069"/>
                <a:gd name="connsiteX0" fmla="*/ 477776 w 16428338"/>
                <a:gd name="connsiteY0" fmla="*/ 7436569 h 15946069"/>
                <a:gd name="connsiteX1" fmla="*/ 271294 w 16428338"/>
                <a:gd name="connsiteY1" fmla="*/ 8060457 h 15946069"/>
                <a:gd name="connsiteX2" fmla="*/ 379812 w 16428338"/>
                <a:gd name="connsiteY2" fmla="*/ 8675382 h 15946069"/>
                <a:gd name="connsiteX3" fmla="*/ 759624 w 16428338"/>
                <a:gd name="connsiteY3" fmla="*/ 9217969 h 15946069"/>
                <a:gd name="connsiteX4" fmla="*/ 687278 w 16428338"/>
                <a:gd name="connsiteY4" fmla="*/ 9670126 h 15946069"/>
                <a:gd name="connsiteX5" fmla="*/ 144687 w 16428338"/>
                <a:gd name="connsiteY5" fmla="*/ 9941420 h 15946069"/>
                <a:gd name="connsiteX6" fmla="*/ 343643 w 16428338"/>
                <a:gd name="connsiteY6" fmla="*/ 10592536 h 15946069"/>
                <a:gd name="connsiteX7" fmla="*/ 940487 w 16428338"/>
                <a:gd name="connsiteY7" fmla="*/ 10954252 h 15946069"/>
                <a:gd name="connsiteX8" fmla="*/ 596844 w 16428338"/>
                <a:gd name="connsiteY8" fmla="*/ 11786221 h 15946069"/>
                <a:gd name="connsiteX9" fmla="*/ 633017 w 16428338"/>
                <a:gd name="connsiteY9" fmla="*/ 12780969 h 15946069"/>
                <a:gd name="connsiteX10" fmla="*/ 198944 w 16428338"/>
                <a:gd name="connsiteY10" fmla="*/ 13341645 h 15946069"/>
                <a:gd name="connsiteX11" fmla="*/ 723451 w 16428338"/>
                <a:gd name="connsiteY11" fmla="*/ 13757629 h 15946069"/>
                <a:gd name="connsiteX12" fmla="*/ 1640036 w 16428338"/>
                <a:gd name="connsiteY12" fmla="*/ 13197151 h 15946069"/>
                <a:gd name="connsiteX13" fmla="*/ 1880971 w 16428338"/>
                <a:gd name="connsiteY13" fmla="*/ 13395906 h 15946069"/>
                <a:gd name="connsiteX14" fmla="*/ 2930086 w 16428338"/>
                <a:gd name="connsiteY14" fmla="*/ 12952832 h 15946069"/>
                <a:gd name="connsiteX15" fmla="*/ 3828256 w 16428338"/>
                <a:gd name="connsiteY15" fmla="*/ 13245188 h 15946069"/>
                <a:gd name="connsiteX16" fmla="*/ 4768739 w 16428338"/>
                <a:gd name="connsiteY16" fmla="*/ 13040205 h 15946069"/>
                <a:gd name="connsiteX17" fmla="*/ 5190751 w 16428338"/>
                <a:gd name="connsiteY17" fmla="*/ 13649115 h 15946069"/>
                <a:gd name="connsiteX18" fmla="*/ 5932290 w 16428338"/>
                <a:gd name="connsiteY18" fmla="*/ 13444132 h 15946069"/>
                <a:gd name="connsiteX19" fmla="*/ 6498992 w 16428338"/>
                <a:gd name="connsiteY19" fmla="*/ 12991975 h 15946069"/>
                <a:gd name="connsiteX20" fmla="*/ 7373161 w 16428338"/>
                <a:gd name="connsiteY20" fmla="*/ 13582800 h 15946069"/>
                <a:gd name="connsiteX21" fmla="*/ 8512588 w 16428338"/>
                <a:gd name="connsiteY21" fmla="*/ 13570738 h 15946069"/>
                <a:gd name="connsiteX22" fmla="*/ 9742454 w 16428338"/>
                <a:gd name="connsiteY22" fmla="*/ 14004811 h 15946069"/>
                <a:gd name="connsiteX23" fmla="*/ 10616683 w 16428338"/>
                <a:gd name="connsiteY23" fmla="*/ 15358294 h 15946069"/>
                <a:gd name="connsiteX24" fmla="*/ 11117010 w 16428338"/>
                <a:gd name="connsiteY24" fmla="*/ 15946069 h 15946069"/>
                <a:gd name="connsiteX25" fmla="*/ 11780218 w 16428338"/>
                <a:gd name="connsiteY25" fmla="*/ 13579811 h 15946069"/>
                <a:gd name="connsiteX26" fmla="*/ 12196146 w 16428338"/>
                <a:gd name="connsiteY26" fmla="*/ 11388328 h 15946069"/>
                <a:gd name="connsiteX27" fmla="*/ 14004775 w 16428338"/>
                <a:gd name="connsiteY27" fmla="*/ 11611395 h 15946069"/>
                <a:gd name="connsiteX28" fmla="*/ 15409477 w 16428338"/>
                <a:gd name="connsiteY28" fmla="*/ 11882693 h 15946069"/>
                <a:gd name="connsiteX29" fmla="*/ 16413199 w 16428338"/>
                <a:gd name="connsiteY29" fmla="*/ 10920339 h 15946069"/>
                <a:gd name="connsiteX30" fmla="*/ 16428336 w 16428338"/>
                <a:gd name="connsiteY30" fmla="*/ 9374732 h 15946069"/>
                <a:gd name="connsiteX31" fmla="*/ 11886591 w 16428338"/>
                <a:gd name="connsiteY31" fmla="*/ 8912940 h 15946069"/>
                <a:gd name="connsiteX32" fmla="*/ 11118705 w 16428338"/>
                <a:gd name="connsiteY32" fmla="*/ 7156845 h 15946069"/>
                <a:gd name="connsiteX33" fmla="*/ 10425568 w 16428338"/>
                <a:gd name="connsiteY33" fmla="*/ 7223642 h 15946069"/>
                <a:gd name="connsiteX34" fmla="*/ 10709437 w 16428338"/>
                <a:gd name="connsiteY34" fmla="*/ 6730245 h 15946069"/>
                <a:gd name="connsiteX35" fmla="*/ 10017677 w 16428338"/>
                <a:gd name="connsiteY35" fmla="*/ 5883475 h 15946069"/>
                <a:gd name="connsiteX36" fmla="*/ 9318595 w 16428338"/>
                <a:gd name="connsiteY36" fmla="*/ 5859197 h 15946069"/>
                <a:gd name="connsiteX37" fmla="*/ 9215073 w 16428338"/>
                <a:gd name="connsiteY37" fmla="*/ 5387392 h 15946069"/>
                <a:gd name="connsiteX38" fmla="*/ 8600211 w 16428338"/>
                <a:gd name="connsiteY38" fmla="*/ 5564744 h 15946069"/>
                <a:gd name="connsiteX39" fmla="*/ 8412926 w 16428338"/>
                <a:gd name="connsiteY39" fmla="*/ 4835463 h 15946069"/>
                <a:gd name="connsiteX40" fmla="*/ 7744624 w 16428338"/>
                <a:gd name="connsiteY40" fmla="*/ 4382387 h 15946069"/>
                <a:gd name="connsiteX41" fmla="*/ 8112983 w 16428338"/>
                <a:gd name="connsiteY41" fmla="*/ 3770361 h 15946069"/>
                <a:gd name="connsiteX42" fmla="*/ 7637793 w 16428338"/>
                <a:gd name="connsiteY42" fmla="*/ 2526072 h 15946069"/>
                <a:gd name="connsiteX43" fmla="*/ 7264687 w 16428338"/>
                <a:gd name="connsiteY43" fmla="*/ 2131091 h 15946069"/>
                <a:gd name="connsiteX44" fmla="*/ 6594245 w 16428338"/>
                <a:gd name="connsiteY44" fmla="*/ 2055834 h 15946069"/>
                <a:gd name="connsiteX45" fmla="*/ 6431470 w 16428338"/>
                <a:gd name="connsiteY45" fmla="*/ 1314295 h 15946069"/>
                <a:gd name="connsiteX46" fmla="*/ 5642908 w 16428338"/>
                <a:gd name="connsiteY46" fmla="*/ 1343233 h 15946069"/>
                <a:gd name="connsiteX47" fmla="*/ 5150959 w 16428338"/>
                <a:gd name="connsiteY47" fmla="*/ 1610907 h 15946069"/>
                <a:gd name="connsiteX48" fmla="*/ 5480133 w 16428338"/>
                <a:gd name="connsiteY48" fmla="*/ 2167963 h 15946069"/>
                <a:gd name="connsiteX49" fmla="*/ 4742216 w 16428338"/>
                <a:gd name="connsiteY49" fmla="*/ 2862495 h 15946069"/>
                <a:gd name="connsiteX50" fmla="*/ 2658667 w 16428338"/>
                <a:gd name="connsiteY50" fmla="*/ 0 h 15946069"/>
                <a:gd name="connsiteX51" fmla="*/ 2658682 w 16428338"/>
                <a:gd name="connsiteY51" fmla="*/ 1018890 h 15946069"/>
                <a:gd name="connsiteX52" fmla="*/ 1850829 w 16428338"/>
                <a:gd name="connsiteY52" fmla="*/ 1730283 h 15946069"/>
                <a:gd name="connsiteX53" fmla="*/ 1404694 w 16428338"/>
                <a:gd name="connsiteY53" fmla="*/ 2272862 h 15946069"/>
                <a:gd name="connsiteX54" fmla="*/ 2351216 w 16428338"/>
                <a:gd name="connsiteY54" fmla="*/ 3388182 h 15946069"/>
                <a:gd name="connsiteX55" fmla="*/ 2658682 w 16428338"/>
                <a:gd name="connsiteY55" fmla="*/ 4286458 h 15946069"/>
                <a:gd name="connsiteX56" fmla="*/ 1935228 w 16428338"/>
                <a:gd name="connsiteY56" fmla="*/ 5220918 h 15946069"/>
                <a:gd name="connsiteX57" fmla="*/ 875281 w 16428338"/>
                <a:gd name="connsiteY57" fmla="*/ 5166646 h 15946069"/>
                <a:gd name="connsiteX58" fmla="*/ 0 w 16428338"/>
                <a:gd name="connsiteY58" fmla="*/ 5890112 h 15946069"/>
                <a:gd name="connsiteX59" fmla="*/ 72345 w 16428338"/>
                <a:gd name="connsiteY59" fmla="*/ 6921032 h 15946069"/>
                <a:gd name="connsiteX60" fmla="*/ 477776 w 16428338"/>
                <a:gd name="connsiteY60" fmla="*/ 7436569 h 15946069"/>
                <a:gd name="connsiteX0" fmla="*/ 477776 w 16428338"/>
                <a:gd name="connsiteY0" fmla="*/ 7436569 h 15946069"/>
                <a:gd name="connsiteX1" fmla="*/ 271294 w 16428338"/>
                <a:gd name="connsiteY1" fmla="*/ 8060457 h 15946069"/>
                <a:gd name="connsiteX2" fmla="*/ 379812 w 16428338"/>
                <a:gd name="connsiteY2" fmla="*/ 8675382 h 15946069"/>
                <a:gd name="connsiteX3" fmla="*/ 759624 w 16428338"/>
                <a:gd name="connsiteY3" fmla="*/ 9217969 h 15946069"/>
                <a:gd name="connsiteX4" fmla="*/ 687278 w 16428338"/>
                <a:gd name="connsiteY4" fmla="*/ 9670126 h 15946069"/>
                <a:gd name="connsiteX5" fmla="*/ 144687 w 16428338"/>
                <a:gd name="connsiteY5" fmla="*/ 9941420 h 15946069"/>
                <a:gd name="connsiteX6" fmla="*/ 343643 w 16428338"/>
                <a:gd name="connsiteY6" fmla="*/ 10592536 h 15946069"/>
                <a:gd name="connsiteX7" fmla="*/ 940487 w 16428338"/>
                <a:gd name="connsiteY7" fmla="*/ 10954252 h 15946069"/>
                <a:gd name="connsiteX8" fmla="*/ 596844 w 16428338"/>
                <a:gd name="connsiteY8" fmla="*/ 11786221 h 15946069"/>
                <a:gd name="connsiteX9" fmla="*/ 633017 w 16428338"/>
                <a:gd name="connsiteY9" fmla="*/ 12780969 h 15946069"/>
                <a:gd name="connsiteX10" fmla="*/ 198944 w 16428338"/>
                <a:gd name="connsiteY10" fmla="*/ 13341645 h 15946069"/>
                <a:gd name="connsiteX11" fmla="*/ 723451 w 16428338"/>
                <a:gd name="connsiteY11" fmla="*/ 13757629 h 15946069"/>
                <a:gd name="connsiteX12" fmla="*/ 1640036 w 16428338"/>
                <a:gd name="connsiteY12" fmla="*/ 13197151 h 15946069"/>
                <a:gd name="connsiteX13" fmla="*/ 1880971 w 16428338"/>
                <a:gd name="connsiteY13" fmla="*/ 13395906 h 15946069"/>
                <a:gd name="connsiteX14" fmla="*/ 2930086 w 16428338"/>
                <a:gd name="connsiteY14" fmla="*/ 12952832 h 15946069"/>
                <a:gd name="connsiteX15" fmla="*/ 3828256 w 16428338"/>
                <a:gd name="connsiteY15" fmla="*/ 13245188 h 15946069"/>
                <a:gd name="connsiteX16" fmla="*/ 4768739 w 16428338"/>
                <a:gd name="connsiteY16" fmla="*/ 13040205 h 15946069"/>
                <a:gd name="connsiteX17" fmla="*/ 5190751 w 16428338"/>
                <a:gd name="connsiteY17" fmla="*/ 13649115 h 15946069"/>
                <a:gd name="connsiteX18" fmla="*/ 5932290 w 16428338"/>
                <a:gd name="connsiteY18" fmla="*/ 13444132 h 15946069"/>
                <a:gd name="connsiteX19" fmla="*/ 6498992 w 16428338"/>
                <a:gd name="connsiteY19" fmla="*/ 12991975 h 15946069"/>
                <a:gd name="connsiteX20" fmla="*/ 7373161 w 16428338"/>
                <a:gd name="connsiteY20" fmla="*/ 13582800 h 15946069"/>
                <a:gd name="connsiteX21" fmla="*/ 8512588 w 16428338"/>
                <a:gd name="connsiteY21" fmla="*/ 13570738 h 15946069"/>
                <a:gd name="connsiteX22" fmla="*/ 9742454 w 16428338"/>
                <a:gd name="connsiteY22" fmla="*/ 14004811 h 15946069"/>
                <a:gd name="connsiteX23" fmla="*/ 10616683 w 16428338"/>
                <a:gd name="connsiteY23" fmla="*/ 15358294 h 15946069"/>
                <a:gd name="connsiteX24" fmla="*/ 11117010 w 16428338"/>
                <a:gd name="connsiteY24" fmla="*/ 15946069 h 15946069"/>
                <a:gd name="connsiteX25" fmla="*/ 11780218 w 16428338"/>
                <a:gd name="connsiteY25" fmla="*/ 13579811 h 15946069"/>
                <a:gd name="connsiteX26" fmla="*/ 12196146 w 16428338"/>
                <a:gd name="connsiteY26" fmla="*/ 11388328 h 15946069"/>
                <a:gd name="connsiteX27" fmla="*/ 14004775 w 16428338"/>
                <a:gd name="connsiteY27" fmla="*/ 11611395 h 15946069"/>
                <a:gd name="connsiteX28" fmla="*/ 15409477 w 16428338"/>
                <a:gd name="connsiteY28" fmla="*/ 11882693 h 15946069"/>
                <a:gd name="connsiteX29" fmla="*/ 16413199 w 16428338"/>
                <a:gd name="connsiteY29" fmla="*/ 10920339 h 15946069"/>
                <a:gd name="connsiteX30" fmla="*/ 16428336 w 16428338"/>
                <a:gd name="connsiteY30" fmla="*/ 9374732 h 15946069"/>
                <a:gd name="connsiteX31" fmla="*/ 10451507 w 16428338"/>
                <a:gd name="connsiteY31" fmla="*/ 8889075 h 15946069"/>
                <a:gd name="connsiteX32" fmla="*/ 11118705 w 16428338"/>
                <a:gd name="connsiteY32" fmla="*/ 7156845 h 15946069"/>
                <a:gd name="connsiteX33" fmla="*/ 10425568 w 16428338"/>
                <a:gd name="connsiteY33" fmla="*/ 7223642 h 15946069"/>
                <a:gd name="connsiteX34" fmla="*/ 10709437 w 16428338"/>
                <a:gd name="connsiteY34" fmla="*/ 6730245 h 15946069"/>
                <a:gd name="connsiteX35" fmla="*/ 10017677 w 16428338"/>
                <a:gd name="connsiteY35" fmla="*/ 5883475 h 15946069"/>
                <a:gd name="connsiteX36" fmla="*/ 9318595 w 16428338"/>
                <a:gd name="connsiteY36" fmla="*/ 5859197 h 15946069"/>
                <a:gd name="connsiteX37" fmla="*/ 9215073 w 16428338"/>
                <a:gd name="connsiteY37" fmla="*/ 5387392 h 15946069"/>
                <a:gd name="connsiteX38" fmla="*/ 8600211 w 16428338"/>
                <a:gd name="connsiteY38" fmla="*/ 5564744 h 15946069"/>
                <a:gd name="connsiteX39" fmla="*/ 8412926 w 16428338"/>
                <a:gd name="connsiteY39" fmla="*/ 4835463 h 15946069"/>
                <a:gd name="connsiteX40" fmla="*/ 7744624 w 16428338"/>
                <a:gd name="connsiteY40" fmla="*/ 4382387 h 15946069"/>
                <a:gd name="connsiteX41" fmla="*/ 8112983 w 16428338"/>
                <a:gd name="connsiteY41" fmla="*/ 3770361 h 15946069"/>
                <a:gd name="connsiteX42" fmla="*/ 7637793 w 16428338"/>
                <a:gd name="connsiteY42" fmla="*/ 2526072 h 15946069"/>
                <a:gd name="connsiteX43" fmla="*/ 7264687 w 16428338"/>
                <a:gd name="connsiteY43" fmla="*/ 2131091 h 15946069"/>
                <a:gd name="connsiteX44" fmla="*/ 6594245 w 16428338"/>
                <a:gd name="connsiteY44" fmla="*/ 2055834 h 15946069"/>
                <a:gd name="connsiteX45" fmla="*/ 6431470 w 16428338"/>
                <a:gd name="connsiteY45" fmla="*/ 1314295 h 15946069"/>
                <a:gd name="connsiteX46" fmla="*/ 5642908 w 16428338"/>
                <a:gd name="connsiteY46" fmla="*/ 1343233 h 15946069"/>
                <a:gd name="connsiteX47" fmla="*/ 5150959 w 16428338"/>
                <a:gd name="connsiteY47" fmla="*/ 1610907 h 15946069"/>
                <a:gd name="connsiteX48" fmla="*/ 5480133 w 16428338"/>
                <a:gd name="connsiteY48" fmla="*/ 2167963 h 15946069"/>
                <a:gd name="connsiteX49" fmla="*/ 4742216 w 16428338"/>
                <a:gd name="connsiteY49" fmla="*/ 2862495 h 15946069"/>
                <a:gd name="connsiteX50" fmla="*/ 2658667 w 16428338"/>
                <a:gd name="connsiteY50" fmla="*/ 0 h 15946069"/>
                <a:gd name="connsiteX51" fmla="*/ 2658682 w 16428338"/>
                <a:gd name="connsiteY51" fmla="*/ 1018890 h 15946069"/>
                <a:gd name="connsiteX52" fmla="*/ 1850829 w 16428338"/>
                <a:gd name="connsiteY52" fmla="*/ 1730283 h 15946069"/>
                <a:gd name="connsiteX53" fmla="*/ 1404694 w 16428338"/>
                <a:gd name="connsiteY53" fmla="*/ 2272862 h 15946069"/>
                <a:gd name="connsiteX54" fmla="*/ 2351216 w 16428338"/>
                <a:gd name="connsiteY54" fmla="*/ 3388182 h 15946069"/>
                <a:gd name="connsiteX55" fmla="*/ 2658682 w 16428338"/>
                <a:gd name="connsiteY55" fmla="*/ 4286458 h 15946069"/>
                <a:gd name="connsiteX56" fmla="*/ 1935228 w 16428338"/>
                <a:gd name="connsiteY56" fmla="*/ 5220918 h 15946069"/>
                <a:gd name="connsiteX57" fmla="*/ 875281 w 16428338"/>
                <a:gd name="connsiteY57" fmla="*/ 5166646 h 15946069"/>
                <a:gd name="connsiteX58" fmla="*/ 0 w 16428338"/>
                <a:gd name="connsiteY58" fmla="*/ 5890112 h 15946069"/>
                <a:gd name="connsiteX59" fmla="*/ 72345 w 16428338"/>
                <a:gd name="connsiteY59" fmla="*/ 6921032 h 15946069"/>
                <a:gd name="connsiteX60" fmla="*/ 477776 w 16428338"/>
                <a:gd name="connsiteY60" fmla="*/ 7436569 h 15946069"/>
                <a:gd name="connsiteX0" fmla="*/ 477776 w 16428338"/>
                <a:gd name="connsiteY0" fmla="*/ 7436569 h 15946069"/>
                <a:gd name="connsiteX1" fmla="*/ 271294 w 16428338"/>
                <a:gd name="connsiteY1" fmla="*/ 8060457 h 15946069"/>
                <a:gd name="connsiteX2" fmla="*/ 379812 w 16428338"/>
                <a:gd name="connsiteY2" fmla="*/ 8675382 h 15946069"/>
                <a:gd name="connsiteX3" fmla="*/ 759624 w 16428338"/>
                <a:gd name="connsiteY3" fmla="*/ 9217969 h 15946069"/>
                <a:gd name="connsiteX4" fmla="*/ 687278 w 16428338"/>
                <a:gd name="connsiteY4" fmla="*/ 9670126 h 15946069"/>
                <a:gd name="connsiteX5" fmla="*/ 144687 w 16428338"/>
                <a:gd name="connsiteY5" fmla="*/ 9941420 h 15946069"/>
                <a:gd name="connsiteX6" fmla="*/ 343643 w 16428338"/>
                <a:gd name="connsiteY6" fmla="*/ 10592536 h 15946069"/>
                <a:gd name="connsiteX7" fmla="*/ 940487 w 16428338"/>
                <a:gd name="connsiteY7" fmla="*/ 10954252 h 15946069"/>
                <a:gd name="connsiteX8" fmla="*/ 596844 w 16428338"/>
                <a:gd name="connsiteY8" fmla="*/ 11786221 h 15946069"/>
                <a:gd name="connsiteX9" fmla="*/ 633017 w 16428338"/>
                <a:gd name="connsiteY9" fmla="*/ 12780969 h 15946069"/>
                <a:gd name="connsiteX10" fmla="*/ 198944 w 16428338"/>
                <a:gd name="connsiteY10" fmla="*/ 13341645 h 15946069"/>
                <a:gd name="connsiteX11" fmla="*/ 723451 w 16428338"/>
                <a:gd name="connsiteY11" fmla="*/ 13757629 h 15946069"/>
                <a:gd name="connsiteX12" fmla="*/ 1640036 w 16428338"/>
                <a:gd name="connsiteY12" fmla="*/ 13197151 h 15946069"/>
                <a:gd name="connsiteX13" fmla="*/ 1880971 w 16428338"/>
                <a:gd name="connsiteY13" fmla="*/ 13395906 h 15946069"/>
                <a:gd name="connsiteX14" fmla="*/ 2930086 w 16428338"/>
                <a:gd name="connsiteY14" fmla="*/ 12952832 h 15946069"/>
                <a:gd name="connsiteX15" fmla="*/ 3828256 w 16428338"/>
                <a:gd name="connsiteY15" fmla="*/ 13245188 h 15946069"/>
                <a:gd name="connsiteX16" fmla="*/ 4768739 w 16428338"/>
                <a:gd name="connsiteY16" fmla="*/ 13040205 h 15946069"/>
                <a:gd name="connsiteX17" fmla="*/ 5190751 w 16428338"/>
                <a:gd name="connsiteY17" fmla="*/ 13649115 h 15946069"/>
                <a:gd name="connsiteX18" fmla="*/ 5932290 w 16428338"/>
                <a:gd name="connsiteY18" fmla="*/ 13444132 h 15946069"/>
                <a:gd name="connsiteX19" fmla="*/ 6498992 w 16428338"/>
                <a:gd name="connsiteY19" fmla="*/ 12991975 h 15946069"/>
                <a:gd name="connsiteX20" fmla="*/ 7373161 w 16428338"/>
                <a:gd name="connsiteY20" fmla="*/ 13582800 h 15946069"/>
                <a:gd name="connsiteX21" fmla="*/ 8512588 w 16428338"/>
                <a:gd name="connsiteY21" fmla="*/ 13570738 h 15946069"/>
                <a:gd name="connsiteX22" fmla="*/ 9742454 w 16428338"/>
                <a:gd name="connsiteY22" fmla="*/ 14004811 h 15946069"/>
                <a:gd name="connsiteX23" fmla="*/ 10616683 w 16428338"/>
                <a:gd name="connsiteY23" fmla="*/ 15358294 h 15946069"/>
                <a:gd name="connsiteX24" fmla="*/ 11117010 w 16428338"/>
                <a:gd name="connsiteY24" fmla="*/ 15946069 h 15946069"/>
                <a:gd name="connsiteX25" fmla="*/ 11780218 w 16428338"/>
                <a:gd name="connsiteY25" fmla="*/ 13579811 h 15946069"/>
                <a:gd name="connsiteX26" fmla="*/ 12196146 w 16428338"/>
                <a:gd name="connsiteY26" fmla="*/ 11388328 h 15946069"/>
                <a:gd name="connsiteX27" fmla="*/ 14004775 w 16428338"/>
                <a:gd name="connsiteY27" fmla="*/ 11611395 h 15946069"/>
                <a:gd name="connsiteX28" fmla="*/ 15409477 w 16428338"/>
                <a:gd name="connsiteY28" fmla="*/ 11882693 h 15946069"/>
                <a:gd name="connsiteX29" fmla="*/ 16413199 w 16428338"/>
                <a:gd name="connsiteY29" fmla="*/ 10920339 h 15946069"/>
                <a:gd name="connsiteX30" fmla="*/ 16428336 w 16428338"/>
                <a:gd name="connsiteY30" fmla="*/ 9374732 h 15946069"/>
                <a:gd name="connsiteX31" fmla="*/ 12149687 w 16428338"/>
                <a:gd name="connsiteY31" fmla="*/ 8101619 h 15946069"/>
                <a:gd name="connsiteX32" fmla="*/ 11118705 w 16428338"/>
                <a:gd name="connsiteY32" fmla="*/ 7156845 h 15946069"/>
                <a:gd name="connsiteX33" fmla="*/ 10425568 w 16428338"/>
                <a:gd name="connsiteY33" fmla="*/ 7223642 h 15946069"/>
                <a:gd name="connsiteX34" fmla="*/ 10709437 w 16428338"/>
                <a:gd name="connsiteY34" fmla="*/ 6730245 h 15946069"/>
                <a:gd name="connsiteX35" fmla="*/ 10017677 w 16428338"/>
                <a:gd name="connsiteY35" fmla="*/ 5883475 h 15946069"/>
                <a:gd name="connsiteX36" fmla="*/ 9318595 w 16428338"/>
                <a:gd name="connsiteY36" fmla="*/ 5859197 h 15946069"/>
                <a:gd name="connsiteX37" fmla="*/ 9215073 w 16428338"/>
                <a:gd name="connsiteY37" fmla="*/ 5387392 h 15946069"/>
                <a:gd name="connsiteX38" fmla="*/ 8600211 w 16428338"/>
                <a:gd name="connsiteY38" fmla="*/ 5564744 h 15946069"/>
                <a:gd name="connsiteX39" fmla="*/ 8412926 w 16428338"/>
                <a:gd name="connsiteY39" fmla="*/ 4835463 h 15946069"/>
                <a:gd name="connsiteX40" fmla="*/ 7744624 w 16428338"/>
                <a:gd name="connsiteY40" fmla="*/ 4382387 h 15946069"/>
                <a:gd name="connsiteX41" fmla="*/ 8112983 w 16428338"/>
                <a:gd name="connsiteY41" fmla="*/ 3770361 h 15946069"/>
                <a:gd name="connsiteX42" fmla="*/ 7637793 w 16428338"/>
                <a:gd name="connsiteY42" fmla="*/ 2526072 h 15946069"/>
                <a:gd name="connsiteX43" fmla="*/ 7264687 w 16428338"/>
                <a:gd name="connsiteY43" fmla="*/ 2131091 h 15946069"/>
                <a:gd name="connsiteX44" fmla="*/ 6594245 w 16428338"/>
                <a:gd name="connsiteY44" fmla="*/ 2055834 h 15946069"/>
                <a:gd name="connsiteX45" fmla="*/ 6431470 w 16428338"/>
                <a:gd name="connsiteY45" fmla="*/ 1314295 h 15946069"/>
                <a:gd name="connsiteX46" fmla="*/ 5642908 w 16428338"/>
                <a:gd name="connsiteY46" fmla="*/ 1343233 h 15946069"/>
                <a:gd name="connsiteX47" fmla="*/ 5150959 w 16428338"/>
                <a:gd name="connsiteY47" fmla="*/ 1610907 h 15946069"/>
                <a:gd name="connsiteX48" fmla="*/ 5480133 w 16428338"/>
                <a:gd name="connsiteY48" fmla="*/ 2167963 h 15946069"/>
                <a:gd name="connsiteX49" fmla="*/ 4742216 w 16428338"/>
                <a:gd name="connsiteY49" fmla="*/ 2862495 h 15946069"/>
                <a:gd name="connsiteX50" fmla="*/ 2658667 w 16428338"/>
                <a:gd name="connsiteY50" fmla="*/ 0 h 15946069"/>
                <a:gd name="connsiteX51" fmla="*/ 2658682 w 16428338"/>
                <a:gd name="connsiteY51" fmla="*/ 1018890 h 15946069"/>
                <a:gd name="connsiteX52" fmla="*/ 1850829 w 16428338"/>
                <a:gd name="connsiteY52" fmla="*/ 1730283 h 15946069"/>
                <a:gd name="connsiteX53" fmla="*/ 1404694 w 16428338"/>
                <a:gd name="connsiteY53" fmla="*/ 2272862 h 15946069"/>
                <a:gd name="connsiteX54" fmla="*/ 2351216 w 16428338"/>
                <a:gd name="connsiteY54" fmla="*/ 3388182 h 15946069"/>
                <a:gd name="connsiteX55" fmla="*/ 2658682 w 16428338"/>
                <a:gd name="connsiteY55" fmla="*/ 4286458 h 15946069"/>
                <a:gd name="connsiteX56" fmla="*/ 1935228 w 16428338"/>
                <a:gd name="connsiteY56" fmla="*/ 5220918 h 15946069"/>
                <a:gd name="connsiteX57" fmla="*/ 875281 w 16428338"/>
                <a:gd name="connsiteY57" fmla="*/ 5166646 h 15946069"/>
                <a:gd name="connsiteX58" fmla="*/ 0 w 16428338"/>
                <a:gd name="connsiteY58" fmla="*/ 5890112 h 15946069"/>
                <a:gd name="connsiteX59" fmla="*/ 72345 w 16428338"/>
                <a:gd name="connsiteY59" fmla="*/ 6921032 h 15946069"/>
                <a:gd name="connsiteX60" fmla="*/ 477776 w 16428338"/>
                <a:gd name="connsiteY60" fmla="*/ 7436569 h 15946069"/>
                <a:gd name="connsiteX0" fmla="*/ 477776 w 16413202"/>
                <a:gd name="connsiteY0" fmla="*/ 7436569 h 15946069"/>
                <a:gd name="connsiteX1" fmla="*/ 271294 w 16413202"/>
                <a:gd name="connsiteY1" fmla="*/ 8060457 h 15946069"/>
                <a:gd name="connsiteX2" fmla="*/ 379812 w 16413202"/>
                <a:gd name="connsiteY2" fmla="*/ 8675382 h 15946069"/>
                <a:gd name="connsiteX3" fmla="*/ 759624 w 16413202"/>
                <a:gd name="connsiteY3" fmla="*/ 9217969 h 15946069"/>
                <a:gd name="connsiteX4" fmla="*/ 687278 w 16413202"/>
                <a:gd name="connsiteY4" fmla="*/ 9670126 h 15946069"/>
                <a:gd name="connsiteX5" fmla="*/ 144687 w 16413202"/>
                <a:gd name="connsiteY5" fmla="*/ 9941420 h 15946069"/>
                <a:gd name="connsiteX6" fmla="*/ 343643 w 16413202"/>
                <a:gd name="connsiteY6" fmla="*/ 10592536 h 15946069"/>
                <a:gd name="connsiteX7" fmla="*/ 940487 w 16413202"/>
                <a:gd name="connsiteY7" fmla="*/ 10954252 h 15946069"/>
                <a:gd name="connsiteX8" fmla="*/ 596844 w 16413202"/>
                <a:gd name="connsiteY8" fmla="*/ 11786221 h 15946069"/>
                <a:gd name="connsiteX9" fmla="*/ 633017 w 16413202"/>
                <a:gd name="connsiteY9" fmla="*/ 12780969 h 15946069"/>
                <a:gd name="connsiteX10" fmla="*/ 198944 w 16413202"/>
                <a:gd name="connsiteY10" fmla="*/ 13341645 h 15946069"/>
                <a:gd name="connsiteX11" fmla="*/ 723451 w 16413202"/>
                <a:gd name="connsiteY11" fmla="*/ 13757629 h 15946069"/>
                <a:gd name="connsiteX12" fmla="*/ 1640036 w 16413202"/>
                <a:gd name="connsiteY12" fmla="*/ 13197151 h 15946069"/>
                <a:gd name="connsiteX13" fmla="*/ 1880971 w 16413202"/>
                <a:gd name="connsiteY13" fmla="*/ 13395906 h 15946069"/>
                <a:gd name="connsiteX14" fmla="*/ 2930086 w 16413202"/>
                <a:gd name="connsiteY14" fmla="*/ 12952832 h 15946069"/>
                <a:gd name="connsiteX15" fmla="*/ 3828256 w 16413202"/>
                <a:gd name="connsiteY15" fmla="*/ 13245188 h 15946069"/>
                <a:gd name="connsiteX16" fmla="*/ 4768739 w 16413202"/>
                <a:gd name="connsiteY16" fmla="*/ 13040205 h 15946069"/>
                <a:gd name="connsiteX17" fmla="*/ 5190751 w 16413202"/>
                <a:gd name="connsiteY17" fmla="*/ 13649115 h 15946069"/>
                <a:gd name="connsiteX18" fmla="*/ 5932290 w 16413202"/>
                <a:gd name="connsiteY18" fmla="*/ 13444132 h 15946069"/>
                <a:gd name="connsiteX19" fmla="*/ 6498992 w 16413202"/>
                <a:gd name="connsiteY19" fmla="*/ 12991975 h 15946069"/>
                <a:gd name="connsiteX20" fmla="*/ 7373161 w 16413202"/>
                <a:gd name="connsiteY20" fmla="*/ 13582800 h 15946069"/>
                <a:gd name="connsiteX21" fmla="*/ 8512588 w 16413202"/>
                <a:gd name="connsiteY21" fmla="*/ 13570738 h 15946069"/>
                <a:gd name="connsiteX22" fmla="*/ 9742454 w 16413202"/>
                <a:gd name="connsiteY22" fmla="*/ 14004811 h 15946069"/>
                <a:gd name="connsiteX23" fmla="*/ 10616683 w 16413202"/>
                <a:gd name="connsiteY23" fmla="*/ 15358294 h 15946069"/>
                <a:gd name="connsiteX24" fmla="*/ 11117010 w 16413202"/>
                <a:gd name="connsiteY24" fmla="*/ 15946069 h 15946069"/>
                <a:gd name="connsiteX25" fmla="*/ 11780218 w 16413202"/>
                <a:gd name="connsiteY25" fmla="*/ 13579811 h 15946069"/>
                <a:gd name="connsiteX26" fmla="*/ 12196146 w 16413202"/>
                <a:gd name="connsiteY26" fmla="*/ 11388328 h 15946069"/>
                <a:gd name="connsiteX27" fmla="*/ 14004775 w 16413202"/>
                <a:gd name="connsiteY27" fmla="*/ 11611395 h 15946069"/>
                <a:gd name="connsiteX28" fmla="*/ 15409477 w 16413202"/>
                <a:gd name="connsiteY28" fmla="*/ 11882693 h 15946069"/>
                <a:gd name="connsiteX29" fmla="*/ 16413199 w 16413202"/>
                <a:gd name="connsiteY29" fmla="*/ 10920339 h 15946069"/>
                <a:gd name="connsiteX30" fmla="*/ 10305329 w 16413202"/>
                <a:gd name="connsiteY30" fmla="*/ 10066739 h 15946069"/>
                <a:gd name="connsiteX31" fmla="*/ 12149687 w 16413202"/>
                <a:gd name="connsiteY31" fmla="*/ 8101619 h 15946069"/>
                <a:gd name="connsiteX32" fmla="*/ 11118705 w 16413202"/>
                <a:gd name="connsiteY32" fmla="*/ 7156845 h 15946069"/>
                <a:gd name="connsiteX33" fmla="*/ 10425568 w 16413202"/>
                <a:gd name="connsiteY33" fmla="*/ 7223642 h 15946069"/>
                <a:gd name="connsiteX34" fmla="*/ 10709437 w 16413202"/>
                <a:gd name="connsiteY34" fmla="*/ 6730245 h 15946069"/>
                <a:gd name="connsiteX35" fmla="*/ 10017677 w 16413202"/>
                <a:gd name="connsiteY35" fmla="*/ 5883475 h 15946069"/>
                <a:gd name="connsiteX36" fmla="*/ 9318595 w 16413202"/>
                <a:gd name="connsiteY36" fmla="*/ 5859197 h 15946069"/>
                <a:gd name="connsiteX37" fmla="*/ 9215073 w 16413202"/>
                <a:gd name="connsiteY37" fmla="*/ 5387392 h 15946069"/>
                <a:gd name="connsiteX38" fmla="*/ 8600211 w 16413202"/>
                <a:gd name="connsiteY38" fmla="*/ 5564744 h 15946069"/>
                <a:gd name="connsiteX39" fmla="*/ 8412926 w 16413202"/>
                <a:gd name="connsiteY39" fmla="*/ 4835463 h 15946069"/>
                <a:gd name="connsiteX40" fmla="*/ 7744624 w 16413202"/>
                <a:gd name="connsiteY40" fmla="*/ 4382387 h 15946069"/>
                <a:gd name="connsiteX41" fmla="*/ 8112983 w 16413202"/>
                <a:gd name="connsiteY41" fmla="*/ 3770361 h 15946069"/>
                <a:gd name="connsiteX42" fmla="*/ 7637793 w 16413202"/>
                <a:gd name="connsiteY42" fmla="*/ 2526072 h 15946069"/>
                <a:gd name="connsiteX43" fmla="*/ 7264687 w 16413202"/>
                <a:gd name="connsiteY43" fmla="*/ 2131091 h 15946069"/>
                <a:gd name="connsiteX44" fmla="*/ 6594245 w 16413202"/>
                <a:gd name="connsiteY44" fmla="*/ 2055834 h 15946069"/>
                <a:gd name="connsiteX45" fmla="*/ 6431470 w 16413202"/>
                <a:gd name="connsiteY45" fmla="*/ 1314295 h 15946069"/>
                <a:gd name="connsiteX46" fmla="*/ 5642908 w 16413202"/>
                <a:gd name="connsiteY46" fmla="*/ 1343233 h 15946069"/>
                <a:gd name="connsiteX47" fmla="*/ 5150959 w 16413202"/>
                <a:gd name="connsiteY47" fmla="*/ 1610907 h 15946069"/>
                <a:gd name="connsiteX48" fmla="*/ 5480133 w 16413202"/>
                <a:gd name="connsiteY48" fmla="*/ 2167963 h 15946069"/>
                <a:gd name="connsiteX49" fmla="*/ 4742216 w 16413202"/>
                <a:gd name="connsiteY49" fmla="*/ 2862495 h 15946069"/>
                <a:gd name="connsiteX50" fmla="*/ 2658667 w 16413202"/>
                <a:gd name="connsiteY50" fmla="*/ 0 h 15946069"/>
                <a:gd name="connsiteX51" fmla="*/ 2658682 w 16413202"/>
                <a:gd name="connsiteY51" fmla="*/ 1018890 h 15946069"/>
                <a:gd name="connsiteX52" fmla="*/ 1850829 w 16413202"/>
                <a:gd name="connsiteY52" fmla="*/ 1730283 h 15946069"/>
                <a:gd name="connsiteX53" fmla="*/ 1404694 w 16413202"/>
                <a:gd name="connsiteY53" fmla="*/ 2272862 h 15946069"/>
                <a:gd name="connsiteX54" fmla="*/ 2351216 w 16413202"/>
                <a:gd name="connsiteY54" fmla="*/ 3388182 h 15946069"/>
                <a:gd name="connsiteX55" fmla="*/ 2658682 w 16413202"/>
                <a:gd name="connsiteY55" fmla="*/ 4286458 h 15946069"/>
                <a:gd name="connsiteX56" fmla="*/ 1935228 w 16413202"/>
                <a:gd name="connsiteY56" fmla="*/ 5220918 h 15946069"/>
                <a:gd name="connsiteX57" fmla="*/ 875281 w 16413202"/>
                <a:gd name="connsiteY57" fmla="*/ 5166646 h 15946069"/>
                <a:gd name="connsiteX58" fmla="*/ 0 w 16413202"/>
                <a:gd name="connsiteY58" fmla="*/ 5890112 h 15946069"/>
                <a:gd name="connsiteX59" fmla="*/ 72345 w 16413202"/>
                <a:gd name="connsiteY59" fmla="*/ 6921032 h 15946069"/>
                <a:gd name="connsiteX60" fmla="*/ 477776 w 16413202"/>
                <a:gd name="connsiteY60" fmla="*/ 7436569 h 15946069"/>
                <a:gd name="connsiteX0" fmla="*/ 477776 w 16413202"/>
                <a:gd name="connsiteY0" fmla="*/ 7436569 h 15946069"/>
                <a:gd name="connsiteX1" fmla="*/ 271294 w 16413202"/>
                <a:gd name="connsiteY1" fmla="*/ 8060457 h 15946069"/>
                <a:gd name="connsiteX2" fmla="*/ 379812 w 16413202"/>
                <a:gd name="connsiteY2" fmla="*/ 8675382 h 15946069"/>
                <a:gd name="connsiteX3" fmla="*/ 759624 w 16413202"/>
                <a:gd name="connsiteY3" fmla="*/ 9217969 h 15946069"/>
                <a:gd name="connsiteX4" fmla="*/ 687278 w 16413202"/>
                <a:gd name="connsiteY4" fmla="*/ 9670126 h 15946069"/>
                <a:gd name="connsiteX5" fmla="*/ 144687 w 16413202"/>
                <a:gd name="connsiteY5" fmla="*/ 9941420 h 15946069"/>
                <a:gd name="connsiteX6" fmla="*/ 343643 w 16413202"/>
                <a:gd name="connsiteY6" fmla="*/ 10592536 h 15946069"/>
                <a:gd name="connsiteX7" fmla="*/ 940487 w 16413202"/>
                <a:gd name="connsiteY7" fmla="*/ 10954252 h 15946069"/>
                <a:gd name="connsiteX8" fmla="*/ 596844 w 16413202"/>
                <a:gd name="connsiteY8" fmla="*/ 11786221 h 15946069"/>
                <a:gd name="connsiteX9" fmla="*/ 633017 w 16413202"/>
                <a:gd name="connsiteY9" fmla="*/ 12780969 h 15946069"/>
                <a:gd name="connsiteX10" fmla="*/ 198944 w 16413202"/>
                <a:gd name="connsiteY10" fmla="*/ 13341645 h 15946069"/>
                <a:gd name="connsiteX11" fmla="*/ 723451 w 16413202"/>
                <a:gd name="connsiteY11" fmla="*/ 13757629 h 15946069"/>
                <a:gd name="connsiteX12" fmla="*/ 1640036 w 16413202"/>
                <a:gd name="connsiteY12" fmla="*/ 13197151 h 15946069"/>
                <a:gd name="connsiteX13" fmla="*/ 1880971 w 16413202"/>
                <a:gd name="connsiteY13" fmla="*/ 13395906 h 15946069"/>
                <a:gd name="connsiteX14" fmla="*/ 2930086 w 16413202"/>
                <a:gd name="connsiteY14" fmla="*/ 12952832 h 15946069"/>
                <a:gd name="connsiteX15" fmla="*/ 3828256 w 16413202"/>
                <a:gd name="connsiteY15" fmla="*/ 13245188 h 15946069"/>
                <a:gd name="connsiteX16" fmla="*/ 4768739 w 16413202"/>
                <a:gd name="connsiteY16" fmla="*/ 13040205 h 15946069"/>
                <a:gd name="connsiteX17" fmla="*/ 5190751 w 16413202"/>
                <a:gd name="connsiteY17" fmla="*/ 13649115 h 15946069"/>
                <a:gd name="connsiteX18" fmla="*/ 5932290 w 16413202"/>
                <a:gd name="connsiteY18" fmla="*/ 13444132 h 15946069"/>
                <a:gd name="connsiteX19" fmla="*/ 6498992 w 16413202"/>
                <a:gd name="connsiteY19" fmla="*/ 12991975 h 15946069"/>
                <a:gd name="connsiteX20" fmla="*/ 7373161 w 16413202"/>
                <a:gd name="connsiteY20" fmla="*/ 13582800 h 15946069"/>
                <a:gd name="connsiteX21" fmla="*/ 8512588 w 16413202"/>
                <a:gd name="connsiteY21" fmla="*/ 13570738 h 15946069"/>
                <a:gd name="connsiteX22" fmla="*/ 9742454 w 16413202"/>
                <a:gd name="connsiteY22" fmla="*/ 14004811 h 15946069"/>
                <a:gd name="connsiteX23" fmla="*/ 10616683 w 16413202"/>
                <a:gd name="connsiteY23" fmla="*/ 15358294 h 15946069"/>
                <a:gd name="connsiteX24" fmla="*/ 11117010 w 16413202"/>
                <a:gd name="connsiteY24" fmla="*/ 15946069 h 15946069"/>
                <a:gd name="connsiteX25" fmla="*/ 11780218 w 16413202"/>
                <a:gd name="connsiteY25" fmla="*/ 13579811 h 15946069"/>
                <a:gd name="connsiteX26" fmla="*/ 12196146 w 16413202"/>
                <a:gd name="connsiteY26" fmla="*/ 11388328 h 15946069"/>
                <a:gd name="connsiteX27" fmla="*/ 14004775 w 16413202"/>
                <a:gd name="connsiteY27" fmla="*/ 11611395 h 15946069"/>
                <a:gd name="connsiteX28" fmla="*/ 15409477 w 16413202"/>
                <a:gd name="connsiteY28" fmla="*/ 11882693 h 15946069"/>
                <a:gd name="connsiteX29" fmla="*/ 16413199 w 16413202"/>
                <a:gd name="connsiteY29" fmla="*/ 10920339 h 15946069"/>
                <a:gd name="connsiteX30" fmla="*/ 9276853 w 16413202"/>
                <a:gd name="connsiteY30" fmla="*/ 9446319 h 15946069"/>
                <a:gd name="connsiteX31" fmla="*/ 12149687 w 16413202"/>
                <a:gd name="connsiteY31" fmla="*/ 8101619 h 15946069"/>
                <a:gd name="connsiteX32" fmla="*/ 11118705 w 16413202"/>
                <a:gd name="connsiteY32" fmla="*/ 7156845 h 15946069"/>
                <a:gd name="connsiteX33" fmla="*/ 10425568 w 16413202"/>
                <a:gd name="connsiteY33" fmla="*/ 7223642 h 15946069"/>
                <a:gd name="connsiteX34" fmla="*/ 10709437 w 16413202"/>
                <a:gd name="connsiteY34" fmla="*/ 6730245 h 15946069"/>
                <a:gd name="connsiteX35" fmla="*/ 10017677 w 16413202"/>
                <a:gd name="connsiteY35" fmla="*/ 5883475 h 15946069"/>
                <a:gd name="connsiteX36" fmla="*/ 9318595 w 16413202"/>
                <a:gd name="connsiteY36" fmla="*/ 5859197 h 15946069"/>
                <a:gd name="connsiteX37" fmla="*/ 9215073 w 16413202"/>
                <a:gd name="connsiteY37" fmla="*/ 5387392 h 15946069"/>
                <a:gd name="connsiteX38" fmla="*/ 8600211 w 16413202"/>
                <a:gd name="connsiteY38" fmla="*/ 5564744 h 15946069"/>
                <a:gd name="connsiteX39" fmla="*/ 8412926 w 16413202"/>
                <a:gd name="connsiteY39" fmla="*/ 4835463 h 15946069"/>
                <a:gd name="connsiteX40" fmla="*/ 7744624 w 16413202"/>
                <a:gd name="connsiteY40" fmla="*/ 4382387 h 15946069"/>
                <a:gd name="connsiteX41" fmla="*/ 8112983 w 16413202"/>
                <a:gd name="connsiteY41" fmla="*/ 3770361 h 15946069"/>
                <a:gd name="connsiteX42" fmla="*/ 7637793 w 16413202"/>
                <a:gd name="connsiteY42" fmla="*/ 2526072 h 15946069"/>
                <a:gd name="connsiteX43" fmla="*/ 7264687 w 16413202"/>
                <a:gd name="connsiteY43" fmla="*/ 2131091 h 15946069"/>
                <a:gd name="connsiteX44" fmla="*/ 6594245 w 16413202"/>
                <a:gd name="connsiteY44" fmla="*/ 2055834 h 15946069"/>
                <a:gd name="connsiteX45" fmla="*/ 6431470 w 16413202"/>
                <a:gd name="connsiteY45" fmla="*/ 1314295 h 15946069"/>
                <a:gd name="connsiteX46" fmla="*/ 5642908 w 16413202"/>
                <a:gd name="connsiteY46" fmla="*/ 1343233 h 15946069"/>
                <a:gd name="connsiteX47" fmla="*/ 5150959 w 16413202"/>
                <a:gd name="connsiteY47" fmla="*/ 1610907 h 15946069"/>
                <a:gd name="connsiteX48" fmla="*/ 5480133 w 16413202"/>
                <a:gd name="connsiteY48" fmla="*/ 2167963 h 15946069"/>
                <a:gd name="connsiteX49" fmla="*/ 4742216 w 16413202"/>
                <a:gd name="connsiteY49" fmla="*/ 2862495 h 15946069"/>
                <a:gd name="connsiteX50" fmla="*/ 2658667 w 16413202"/>
                <a:gd name="connsiteY50" fmla="*/ 0 h 15946069"/>
                <a:gd name="connsiteX51" fmla="*/ 2658682 w 16413202"/>
                <a:gd name="connsiteY51" fmla="*/ 1018890 h 15946069"/>
                <a:gd name="connsiteX52" fmla="*/ 1850829 w 16413202"/>
                <a:gd name="connsiteY52" fmla="*/ 1730283 h 15946069"/>
                <a:gd name="connsiteX53" fmla="*/ 1404694 w 16413202"/>
                <a:gd name="connsiteY53" fmla="*/ 2272862 h 15946069"/>
                <a:gd name="connsiteX54" fmla="*/ 2351216 w 16413202"/>
                <a:gd name="connsiteY54" fmla="*/ 3388182 h 15946069"/>
                <a:gd name="connsiteX55" fmla="*/ 2658682 w 16413202"/>
                <a:gd name="connsiteY55" fmla="*/ 4286458 h 15946069"/>
                <a:gd name="connsiteX56" fmla="*/ 1935228 w 16413202"/>
                <a:gd name="connsiteY56" fmla="*/ 5220918 h 15946069"/>
                <a:gd name="connsiteX57" fmla="*/ 875281 w 16413202"/>
                <a:gd name="connsiteY57" fmla="*/ 5166646 h 15946069"/>
                <a:gd name="connsiteX58" fmla="*/ 0 w 16413202"/>
                <a:gd name="connsiteY58" fmla="*/ 5890112 h 15946069"/>
                <a:gd name="connsiteX59" fmla="*/ 72345 w 16413202"/>
                <a:gd name="connsiteY59" fmla="*/ 6921032 h 15946069"/>
                <a:gd name="connsiteX60" fmla="*/ 477776 w 16413202"/>
                <a:gd name="connsiteY60" fmla="*/ 7436569 h 15946069"/>
                <a:gd name="connsiteX0" fmla="*/ 477776 w 16413202"/>
                <a:gd name="connsiteY0" fmla="*/ 7436569 h 15946069"/>
                <a:gd name="connsiteX1" fmla="*/ 271294 w 16413202"/>
                <a:gd name="connsiteY1" fmla="*/ 8060457 h 15946069"/>
                <a:gd name="connsiteX2" fmla="*/ 379812 w 16413202"/>
                <a:gd name="connsiteY2" fmla="*/ 8675382 h 15946069"/>
                <a:gd name="connsiteX3" fmla="*/ 759624 w 16413202"/>
                <a:gd name="connsiteY3" fmla="*/ 9217969 h 15946069"/>
                <a:gd name="connsiteX4" fmla="*/ 687278 w 16413202"/>
                <a:gd name="connsiteY4" fmla="*/ 9670126 h 15946069"/>
                <a:gd name="connsiteX5" fmla="*/ 144687 w 16413202"/>
                <a:gd name="connsiteY5" fmla="*/ 9941420 h 15946069"/>
                <a:gd name="connsiteX6" fmla="*/ 343643 w 16413202"/>
                <a:gd name="connsiteY6" fmla="*/ 10592536 h 15946069"/>
                <a:gd name="connsiteX7" fmla="*/ 940487 w 16413202"/>
                <a:gd name="connsiteY7" fmla="*/ 10954252 h 15946069"/>
                <a:gd name="connsiteX8" fmla="*/ 596844 w 16413202"/>
                <a:gd name="connsiteY8" fmla="*/ 11786221 h 15946069"/>
                <a:gd name="connsiteX9" fmla="*/ 633017 w 16413202"/>
                <a:gd name="connsiteY9" fmla="*/ 12780969 h 15946069"/>
                <a:gd name="connsiteX10" fmla="*/ 198944 w 16413202"/>
                <a:gd name="connsiteY10" fmla="*/ 13341645 h 15946069"/>
                <a:gd name="connsiteX11" fmla="*/ 723451 w 16413202"/>
                <a:gd name="connsiteY11" fmla="*/ 13757629 h 15946069"/>
                <a:gd name="connsiteX12" fmla="*/ 1640036 w 16413202"/>
                <a:gd name="connsiteY12" fmla="*/ 13197151 h 15946069"/>
                <a:gd name="connsiteX13" fmla="*/ 1880971 w 16413202"/>
                <a:gd name="connsiteY13" fmla="*/ 13395906 h 15946069"/>
                <a:gd name="connsiteX14" fmla="*/ 2930086 w 16413202"/>
                <a:gd name="connsiteY14" fmla="*/ 12952832 h 15946069"/>
                <a:gd name="connsiteX15" fmla="*/ 3828256 w 16413202"/>
                <a:gd name="connsiteY15" fmla="*/ 13245188 h 15946069"/>
                <a:gd name="connsiteX16" fmla="*/ 4768739 w 16413202"/>
                <a:gd name="connsiteY16" fmla="*/ 13040205 h 15946069"/>
                <a:gd name="connsiteX17" fmla="*/ 5190751 w 16413202"/>
                <a:gd name="connsiteY17" fmla="*/ 13649115 h 15946069"/>
                <a:gd name="connsiteX18" fmla="*/ 5932290 w 16413202"/>
                <a:gd name="connsiteY18" fmla="*/ 13444132 h 15946069"/>
                <a:gd name="connsiteX19" fmla="*/ 6498992 w 16413202"/>
                <a:gd name="connsiteY19" fmla="*/ 12991975 h 15946069"/>
                <a:gd name="connsiteX20" fmla="*/ 7373161 w 16413202"/>
                <a:gd name="connsiteY20" fmla="*/ 13582800 h 15946069"/>
                <a:gd name="connsiteX21" fmla="*/ 8512588 w 16413202"/>
                <a:gd name="connsiteY21" fmla="*/ 13570738 h 15946069"/>
                <a:gd name="connsiteX22" fmla="*/ 9742454 w 16413202"/>
                <a:gd name="connsiteY22" fmla="*/ 14004811 h 15946069"/>
                <a:gd name="connsiteX23" fmla="*/ 10616683 w 16413202"/>
                <a:gd name="connsiteY23" fmla="*/ 15358294 h 15946069"/>
                <a:gd name="connsiteX24" fmla="*/ 11117010 w 16413202"/>
                <a:gd name="connsiteY24" fmla="*/ 15946069 h 15946069"/>
                <a:gd name="connsiteX25" fmla="*/ 11780218 w 16413202"/>
                <a:gd name="connsiteY25" fmla="*/ 13579811 h 15946069"/>
                <a:gd name="connsiteX26" fmla="*/ 12196146 w 16413202"/>
                <a:gd name="connsiteY26" fmla="*/ 11388328 h 15946069"/>
                <a:gd name="connsiteX27" fmla="*/ 14004775 w 16413202"/>
                <a:gd name="connsiteY27" fmla="*/ 11611395 h 15946069"/>
                <a:gd name="connsiteX28" fmla="*/ 15409477 w 16413202"/>
                <a:gd name="connsiteY28" fmla="*/ 11882693 h 15946069"/>
                <a:gd name="connsiteX29" fmla="*/ 16413199 w 16413202"/>
                <a:gd name="connsiteY29" fmla="*/ 10920339 h 15946069"/>
                <a:gd name="connsiteX30" fmla="*/ 11668657 w 16413202"/>
                <a:gd name="connsiteY30" fmla="*/ 8754316 h 15946069"/>
                <a:gd name="connsiteX31" fmla="*/ 12149687 w 16413202"/>
                <a:gd name="connsiteY31" fmla="*/ 8101619 h 15946069"/>
                <a:gd name="connsiteX32" fmla="*/ 11118705 w 16413202"/>
                <a:gd name="connsiteY32" fmla="*/ 7156845 h 15946069"/>
                <a:gd name="connsiteX33" fmla="*/ 10425568 w 16413202"/>
                <a:gd name="connsiteY33" fmla="*/ 7223642 h 15946069"/>
                <a:gd name="connsiteX34" fmla="*/ 10709437 w 16413202"/>
                <a:gd name="connsiteY34" fmla="*/ 6730245 h 15946069"/>
                <a:gd name="connsiteX35" fmla="*/ 10017677 w 16413202"/>
                <a:gd name="connsiteY35" fmla="*/ 5883475 h 15946069"/>
                <a:gd name="connsiteX36" fmla="*/ 9318595 w 16413202"/>
                <a:gd name="connsiteY36" fmla="*/ 5859197 h 15946069"/>
                <a:gd name="connsiteX37" fmla="*/ 9215073 w 16413202"/>
                <a:gd name="connsiteY37" fmla="*/ 5387392 h 15946069"/>
                <a:gd name="connsiteX38" fmla="*/ 8600211 w 16413202"/>
                <a:gd name="connsiteY38" fmla="*/ 5564744 h 15946069"/>
                <a:gd name="connsiteX39" fmla="*/ 8412926 w 16413202"/>
                <a:gd name="connsiteY39" fmla="*/ 4835463 h 15946069"/>
                <a:gd name="connsiteX40" fmla="*/ 7744624 w 16413202"/>
                <a:gd name="connsiteY40" fmla="*/ 4382387 h 15946069"/>
                <a:gd name="connsiteX41" fmla="*/ 8112983 w 16413202"/>
                <a:gd name="connsiteY41" fmla="*/ 3770361 h 15946069"/>
                <a:gd name="connsiteX42" fmla="*/ 7637793 w 16413202"/>
                <a:gd name="connsiteY42" fmla="*/ 2526072 h 15946069"/>
                <a:gd name="connsiteX43" fmla="*/ 7264687 w 16413202"/>
                <a:gd name="connsiteY43" fmla="*/ 2131091 h 15946069"/>
                <a:gd name="connsiteX44" fmla="*/ 6594245 w 16413202"/>
                <a:gd name="connsiteY44" fmla="*/ 2055834 h 15946069"/>
                <a:gd name="connsiteX45" fmla="*/ 6431470 w 16413202"/>
                <a:gd name="connsiteY45" fmla="*/ 1314295 h 15946069"/>
                <a:gd name="connsiteX46" fmla="*/ 5642908 w 16413202"/>
                <a:gd name="connsiteY46" fmla="*/ 1343233 h 15946069"/>
                <a:gd name="connsiteX47" fmla="*/ 5150959 w 16413202"/>
                <a:gd name="connsiteY47" fmla="*/ 1610907 h 15946069"/>
                <a:gd name="connsiteX48" fmla="*/ 5480133 w 16413202"/>
                <a:gd name="connsiteY48" fmla="*/ 2167963 h 15946069"/>
                <a:gd name="connsiteX49" fmla="*/ 4742216 w 16413202"/>
                <a:gd name="connsiteY49" fmla="*/ 2862495 h 15946069"/>
                <a:gd name="connsiteX50" fmla="*/ 2658667 w 16413202"/>
                <a:gd name="connsiteY50" fmla="*/ 0 h 15946069"/>
                <a:gd name="connsiteX51" fmla="*/ 2658682 w 16413202"/>
                <a:gd name="connsiteY51" fmla="*/ 1018890 h 15946069"/>
                <a:gd name="connsiteX52" fmla="*/ 1850829 w 16413202"/>
                <a:gd name="connsiteY52" fmla="*/ 1730283 h 15946069"/>
                <a:gd name="connsiteX53" fmla="*/ 1404694 w 16413202"/>
                <a:gd name="connsiteY53" fmla="*/ 2272862 h 15946069"/>
                <a:gd name="connsiteX54" fmla="*/ 2351216 w 16413202"/>
                <a:gd name="connsiteY54" fmla="*/ 3388182 h 15946069"/>
                <a:gd name="connsiteX55" fmla="*/ 2658682 w 16413202"/>
                <a:gd name="connsiteY55" fmla="*/ 4286458 h 15946069"/>
                <a:gd name="connsiteX56" fmla="*/ 1935228 w 16413202"/>
                <a:gd name="connsiteY56" fmla="*/ 5220918 h 15946069"/>
                <a:gd name="connsiteX57" fmla="*/ 875281 w 16413202"/>
                <a:gd name="connsiteY57" fmla="*/ 5166646 h 15946069"/>
                <a:gd name="connsiteX58" fmla="*/ 0 w 16413202"/>
                <a:gd name="connsiteY58" fmla="*/ 5890112 h 15946069"/>
                <a:gd name="connsiteX59" fmla="*/ 72345 w 16413202"/>
                <a:gd name="connsiteY59" fmla="*/ 6921032 h 15946069"/>
                <a:gd name="connsiteX60" fmla="*/ 477776 w 16413202"/>
                <a:gd name="connsiteY60" fmla="*/ 7436569 h 15946069"/>
                <a:gd name="connsiteX0" fmla="*/ 477776 w 15409480"/>
                <a:gd name="connsiteY0" fmla="*/ 7436569 h 15946069"/>
                <a:gd name="connsiteX1" fmla="*/ 271294 w 15409480"/>
                <a:gd name="connsiteY1" fmla="*/ 8060457 h 15946069"/>
                <a:gd name="connsiteX2" fmla="*/ 379812 w 15409480"/>
                <a:gd name="connsiteY2" fmla="*/ 8675382 h 15946069"/>
                <a:gd name="connsiteX3" fmla="*/ 759624 w 15409480"/>
                <a:gd name="connsiteY3" fmla="*/ 9217969 h 15946069"/>
                <a:gd name="connsiteX4" fmla="*/ 687278 w 15409480"/>
                <a:gd name="connsiteY4" fmla="*/ 9670126 h 15946069"/>
                <a:gd name="connsiteX5" fmla="*/ 144687 w 15409480"/>
                <a:gd name="connsiteY5" fmla="*/ 9941420 h 15946069"/>
                <a:gd name="connsiteX6" fmla="*/ 343643 w 15409480"/>
                <a:gd name="connsiteY6" fmla="*/ 10592536 h 15946069"/>
                <a:gd name="connsiteX7" fmla="*/ 940487 w 15409480"/>
                <a:gd name="connsiteY7" fmla="*/ 10954252 h 15946069"/>
                <a:gd name="connsiteX8" fmla="*/ 596844 w 15409480"/>
                <a:gd name="connsiteY8" fmla="*/ 11786221 h 15946069"/>
                <a:gd name="connsiteX9" fmla="*/ 633017 w 15409480"/>
                <a:gd name="connsiteY9" fmla="*/ 12780969 h 15946069"/>
                <a:gd name="connsiteX10" fmla="*/ 198944 w 15409480"/>
                <a:gd name="connsiteY10" fmla="*/ 13341645 h 15946069"/>
                <a:gd name="connsiteX11" fmla="*/ 723451 w 15409480"/>
                <a:gd name="connsiteY11" fmla="*/ 13757629 h 15946069"/>
                <a:gd name="connsiteX12" fmla="*/ 1640036 w 15409480"/>
                <a:gd name="connsiteY12" fmla="*/ 13197151 h 15946069"/>
                <a:gd name="connsiteX13" fmla="*/ 1880971 w 15409480"/>
                <a:gd name="connsiteY13" fmla="*/ 13395906 h 15946069"/>
                <a:gd name="connsiteX14" fmla="*/ 2930086 w 15409480"/>
                <a:gd name="connsiteY14" fmla="*/ 12952832 h 15946069"/>
                <a:gd name="connsiteX15" fmla="*/ 3828256 w 15409480"/>
                <a:gd name="connsiteY15" fmla="*/ 13245188 h 15946069"/>
                <a:gd name="connsiteX16" fmla="*/ 4768739 w 15409480"/>
                <a:gd name="connsiteY16" fmla="*/ 13040205 h 15946069"/>
                <a:gd name="connsiteX17" fmla="*/ 5190751 w 15409480"/>
                <a:gd name="connsiteY17" fmla="*/ 13649115 h 15946069"/>
                <a:gd name="connsiteX18" fmla="*/ 5932290 w 15409480"/>
                <a:gd name="connsiteY18" fmla="*/ 13444132 h 15946069"/>
                <a:gd name="connsiteX19" fmla="*/ 6498992 w 15409480"/>
                <a:gd name="connsiteY19" fmla="*/ 12991975 h 15946069"/>
                <a:gd name="connsiteX20" fmla="*/ 7373161 w 15409480"/>
                <a:gd name="connsiteY20" fmla="*/ 13582800 h 15946069"/>
                <a:gd name="connsiteX21" fmla="*/ 8512588 w 15409480"/>
                <a:gd name="connsiteY21" fmla="*/ 13570738 h 15946069"/>
                <a:gd name="connsiteX22" fmla="*/ 9742454 w 15409480"/>
                <a:gd name="connsiteY22" fmla="*/ 14004811 h 15946069"/>
                <a:gd name="connsiteX23" fmla="*/ 10616683 w 15409480"/>
                <a:gd name="connsiteY23" fmla="*/ 15358294 h 15946069"/>
                <a:gd name="connsiteX24" fmla="*/ 11117010 w 15409480"/>
                <a:gd name="connsiteY24" fmla="*/ 15946069 h 15946069"/>
                <a:gd name="connsiteX25" fmla="*/ 11780218 w 15409480"/>
                <a:gd name="connsiteY25" fmla="*/ 13579811 h 15946069"/>
                <a:gd name="connsiteX26" fmla="*/ 12196146 w 15409480"/>
                <a:gd name="connsiteY26" fmla="*/ 11388328 h 15946069"/>
                <a:gd name="connsiteX27" fmla="*/ 14004775 w 15409480"/>
                <a:gd name="connsiteY27" fmla="*/ 11611395 h 15946069"/>
                <a:gd name="connsiteX28" fmla="*/ 15409477 w 15409480"/>
                <a:gd name="connsiteY28" fmla="*/ 11882693 h 15946069"/>
                <a:gd name="connsiteX29" fmla="*/ 10457619 w 15409480"/>
                <a:gd name="connsiteY29" fmla="*/ 10753303 h 15946069"/>
                <a:gd name="connsiteX30" fmla="*/ 11668657 w 15409480"/>
                <a:gd name="connsiteY30" fmla="*/ 8754316 h 15946069"/>
                <a:gd name="connsiteX31" fmla="*/ 12149687 w 15409480"/>
                <a:gd name="connsiteY31" fmla="*/ 8101619 h 15946069"/>
                <a:gd name="connsiteX32" fmla="*/ 11118705 w 15409480"/>
                <a:gd name="connsiteY32" fmla="*/ 7156845 h 15946069"/>
                <a:gd name="connsiteX33" fmla="*/ 10425568 w 15409480"/>
                <a:gd name="connsiteY33" fmla="*/ 7223642 h 15946069"/>
                <a:gd name="connsiteX34" fmla="*/ 10709437 w 15409480"/>
                <a:gd name="connsiteY34" fmla="*/ 6730245 h 15946069"/>
                <a:gd name="connsiteX35" fmla="*/ 10017677 w 15409480"/>
                <a:gd name="connsiteY35" fmla="*/ 5883475 h 15946069"/>
                <a:gd name="connsiteX36" fmla="*/ 9318595 w 15409480"/>
                <a:gd name="connsiteY36" fmla="*/ 5859197 h 15946069"/>
                <a:gd name="connsiteX37" fmla="*/ 9215073 w 15409480"/>
                <a:gd name="connsiteY37" fmla="*/ 5387392 h 15946069"/>
                <a:gd name="connsiteX38" fmla="*/ 8600211 w 15409480"/>
                <a:gd name="connsiteY38" fmla="*/ 5564744 h 15946069"/>
                <a:gd name="connsiteX39" fmla="*/ 8412926 w 15409480"/>
                <a:gd name="connsiteY39" fmla="*/ 4835463 h 15946069"/>
                <a:gd name="connsiteX40" fmla="*/ 7744624 w 15409480"/>
                <a:gd name="connsiteY40" fmla="*/ 4382387 h 15946069"/>
                <a:gd name="connsiteX41" fmla="*/ 8112983 w 15409480"/>
                <a:gd name="connsiteY41" fmla="*/ 3770361 h 15946069"/>
                <a:gd name="connsiteX42" fmla="*/ 7637793 w 15409480"/>
                <a:gd name="connsiteY42" fmla="*/ 2526072 h 15946069"/>
                <a:gd name="connsiteX43" fmla="*/ 7264687 w 15409480"/>
                <a:gd name="connsiteY43" fmla="*/ 2131091 h 15946069"/>
                <a:gd name="connsiteX44" fmla="*/ 6594245 w 15409480"/>
                <a:gd name="connsiteY44" fmla="*/ 2055834 h 15946069"/>
                <a:gd name="connsiteX45" fmla="*/ 6431470 w 15409480"/>
                <a:gd name="connsiteY45" fmla="*/ 1314295 h 15946069"/>
                <a:gd name="connsiteX46" fmla="*/ 5642908 w 15409480"/>
                <a:gd name="connsiteY46" fmla="*/ 1343233 h 15946069"/>
                <a:gd name="connsiteX47" fmla="*/ 5150959 w 15409480"/>
                <a:gd name="connsiteY47" fmla="*/ 1610907 h 15946069"/>
                <a:gd name="connsiteX48" fmla="*/ 5480133 w 15409480"/>
                <a:gd name="connsiteY48" fmla="*/ 2167963 h 15946069"/>
                <a:gd name="connsiteX49" fmla="*/ 4742216 w 15409480"/>
                <a:gd name="connsiteY49" fmla="*/ 2862495 h 15946069"/>
                <a:gd name="connsiteX50" fmla="*/ 2658667 w 15409480"/>
                <a:gd name="connsiteY50" fmla="*/ 0 h 15946069"/>
                <a:gd name="connsiteX51" fmla="*/ 2658682 w 15409480"/>
                <a:gd name="connsiteY51" fmla="*/ 1018890 h 15946069"/>
                <a:gd name="connsiteX52" fmla="*/ 1850829 w 15409480"/>
                <a:gd name="connsiteY52" fmla="*/ 1730283 h 15946069"/>
                <a:gd name="connsiteX53" fmla="*/ 1404694 w 15409480"/>
                <a:gd name="connsiteY53" fmla="*/ 2272862 h 15946069"/>
                <a:gd name="connsiteX54" fmla="*/ 2351216 w 15409480"/>
                <a:gd name="connsiteY54" fmla="*/ 3388182 h 15946069"/>
                <a:gd name="connsiteX55" fmla="*/ 2658682 w 15409480"/>
                <a:gd name="connsiteY55" fmla="*/ 4286458 h 15946069"/>
                <a:gd name="connsiteX56" fmla="*/ 1935228 w 15409480"/>
                <a:gd name="connsiteY56" fmla="*/ 5220918 h 15946069"/>
                <a:gd name="connsiteX57" fmla="*/ 875281 w 15409480"/>
                <a:gd name="connsiteY57" fmla="*/ 5166646 h 15946069"/>
                <a:gd name="connsiteX58" fmla="*/ 0 w 15409480"/>
                <a:gd name="connsiteY58" fmla="*/ 5890112 h 15946069"/>
                <a:gd name="connsiteX59" fmla="*/ 72345 w 15409480"/>
                <a:gd name="connsiteY59" fmla="*/ 6921032 h 15946069"/>
                <a:gd name="connsiteX60" fmla="*/ 477776 w 15409480"/>
                <a:gd name="connsiteY60" fmla="*/ 7436569 h 15946069"/>
                <a:gd name="connsiteX0" fmla="*/ 477776 w 15409480"/>
                <a:gd name="connsiteY0" fmla="*/ 7436569 h 15946069"/>
                <a:gd name="connsiteX1" fmla="*/ 271294 w 15409480"/>
                <a:gd name="connsiteY1" fmla="*/ 8060457 h 15946069"/>
                <a:gd name="connsiteX2" fmla="*/ 379812 w 15409480"/>
                <a:gd name="connsiteY2" fmla="*/ 8675382 h 15946069"/>
                <a:gd name="connsiteX3" fmla="*/ 759624 w 15409480"/>
                <a:gd name="connsiteY3" fmla="*/ 9217969 h 15946069"/>
                <a:gd name="connsiteX4" fmla="*/ 687278 w 15409480"/>
                <a:gd name="connsiteY4" fmla="*/ 9670126 h 15946069"/>
                <a:gd name="connsiteX5" fmla="*/ 144687 w 15409480"/>
                <a:gd name="connsiteY5" fmla="*/ 9941420 h 15946069"/>
                <a:gd name="connsiteX6" fmla="*/ 343643 w 15409480"/>
                <a:gd name="connsiteY6" fmla="*/ 10592536 h 15946069"/>
                <a:gd name="connsiteX7" fmla="*/ 940487 w 15409480"/>
                <a:gd name="connsiteY7" fmla="*/ 10954252 h 15946069"/>
                <a:gd name="connsiteX8" fmla="*/ 596844 w 15409480"/>
                <a:gd name="connsiteY8" fmla="*/ 11786221 h 15946069"/>
                <a:gd name="connsiteX9" fmla="*/ 633017 w 15409480"/>
                <a:gd name="connsiteY9" fmla="*/ 12780969 h 15946069"/>
                <a:gd name="connsiteX10" fmla="*/ 198944 w 15409480"/>
                <a:gd name="connsiteY10" fmla="*/ 13341645 h 15946069"/>
                <a:gd name="connsiteX11" fmla="*/ 723451 w 15409480"/>
                <a:gd name="connsiteY11" fmla="*/ 13757629 h 15946069"/>
                <a:gd name="connsiteX12" fmla="*/ 1640036 w 15409480"/>
                <a:gd name="connsiteY12" fmla="*/ 13197151 h 15946069"/>
                <a:gd name="connsiteX13" fmla="*/ 1880971 w 15409480"/>
                <a:gd name="connsiteY13" fmla="*/ 13395906 h 15946069"/>
                <a:gd name="connsiteX14" fmla="*/ 2930086 w 15409480"/>
                <a:gd name="connsiteY14" fmla="*/ 12952832 h 15946069"/>
                <a:gd name="connsiteX15" fmla="*/ 3828256 w 15409480"/>
                <a:gd name="connsiteY15" fmla="*/ 13245188 h 15946069"/>
                <a:gd name="connsiteX16" fmla="*/ 4768739 w 15409480"/>
                <a:gd name="connsiteY16" fmla="*/ 13040205 h 15946069"/>
                <a:gd name="connsiteX17" fmla="*/ 5190751 w 15409480"/>
                <a:gd name="connsiteY17" fmla="*/ 13649115 h 15946069"/>
                <a:gd name="connsiteX18" fmla="*/ 5932290 w 15409480"/>
                <a:gd name="connsiteY18" fmla="*/ 13444132 h 15946069"/>
                <a:gd name="connsiteX19" fmla="*/ 6498992 w 15409480"/>
                <a:gd name="connsiteY19" fmla="*/ 12991975 h 15946069"/>
                <a:gd name="connsiteX20" fmla="*/ 7373161 w 15409480"/>
                <a:gd name="connsiteY20" fmla="*/ 13582800 h 15946069"/>
                <a:gd name="connsiteX21" fmla="*/ 8512588 w 15409480"/>
                <a:gd name="connsiteY21" fmla="*/ 13570738 h 15946069"/>
                <a:gd name="connsiteX22" fmla="*/ 9742454 w 15409480"/>
                <a:gd name="connsiteY22" fmla="*/ 14004811 h 15946069"/>
                <a:gd name="connsiteX23" fmla="*/ 10616683 w 15409480"/>
                <a:gd name="connsiteY23" fmla="*/ 15358294 h 15946069"/>
                <a:gd name="connsiteX24" fmla="*/ 11117010 w 15409480"/>
                <a:gd name="connsiteY24" fmla="*/ 15946069 h 15946069"/>
                <a:gd name="connsiteX25" fmla="*/ 11780218 w 15409480"/>
                <a:gd name="connsiteY25" fmla="*/ 13579811 h 15946069"/>
                <a:gd name="connsiteX26" fmla="*/ 12196146 w 15409480"/>
                <a:gd name="connsiteY26" fmla="*/ 11388328 h 15946069"/>
                <a:gd name="connsiteX27" fmla="*/ 14004775 w 15409480"/>
                <a:gd name="connsiteY27" fmla="*/ 11611395 h 15946069"/>
                <a:gd name="connsiteX28" fmla="*/ 15409477 w 15409480"/>
                <a:gd name="connsiteY28" fmla="*/ 11882693 h 15946069"/>
                <a:gd name="connsiteX29" fmla="*/ 10146682 w 15409480"/>
                <a:gd name="connsiteY29" fmla="*/ 10061295 h 15946069"/>
                <a:gd name="connsiteX30" fmla="*/ 11668657 w 15409480"/>
                <a:gd name="connsiteY30" fmla="*/ 8754316 h 15946069"/>
                <a:gd name="connsiteX31" fmla="*/ 12149687 w 15409480"/>
                <a:gd name="connsiteY31" fmla="*/ 8101619 h 15946069"/>
                <a:gd name="connsiteX32" fmla="*/ 11118705 w 15409480"/>
                <a:gd name="connsiteY32" fmla="*/ 7156845 h 15946069"/>
                <a:gd name="connsiteX33" fmla="*/ 10425568 w 15409480"/>
                <a:gd name="connsiteY33" fmla="*/ 7223642 h 15946069"/>
                <a:gd name="connsiteX34" fmla="*/ 10709437 w 15409480"/>
                <a:gd name="connsiteY34" fmla="*/ 6730245 h 15946069"/>
                <a:gd name="connsiteX35" fmla="*/ 10017677 w 15409480"/>
                <a:gd name="connsiteY35" fmla="*/ 5883475 h 15946069"/>
                <a:gd name="connsiteX36" fmla="*/ 9318595 w 15409480"/>
                <a:gd name="connsiteY36" fmla="*/ 5859197 h 15946069"/>
                <a:gd name="connsiteX37" fmla="*/ 9215073 w 15409480"/>
                <a:gd name="connsiteY37" fmla="*/ 5387392 h 15946069"/>
                <a:gd name="connsiteX38" fmla="*/ 8600211 w 15409480"/>
                <a:gd name="connsiteY38" fmla="*/ 5564744 h 15946069"/>
                <a:gd name="connsiteX39" fmla="*/ 8412926 w 15409480"/>
                <a:gd name="connsiteY39" fmla="*/ 4835463 h 15946069"/>
                <a:gd name="connsiteX40" fmla="*/ 7744624 w 15409480"/>
                <a:gd name="connsiteY40" fmla="*/ 4382387 h 15946069"/>
                <a:gd name="connsiteX41" fmla="*/ 8112983 w 15409480"/>
                <a:gd name="connsiteY41" fmla="*/ 3770361 h 15946069"/>
                <a:gd name="connsiteX42" fmla="*/ 7637793 w 15409480"/>
                <a:gd name="connsiteY42" fmla="*/ 2526072 h 15946069"/>
                <a:gd name="connsiteX43" fmla="*/ 7264687 w 15409480"/>
                <a:gd name="connsiteY43" fmla="*/ 2131091 h 15946069"/>
                <a:gd name="connsiteX44" fmla="*/ 6594245 w 15409480"/>
                <a:gd name="connsiteY44" fmla="*/ 2055834 h 15946069"/>
                <a:gd name="connsiteX45" fmla="*/ 6431470 w 15409480"/>
                <a:gd name="connsiteY45" fmla="*/ 1314295 h 15946069"/>
                <a:gd name="connsiteX46" fmla="*/ 5642908 w 15409480"/>
                <a:gd name="connsiteY46" fmla="*/ 1343233 h 15946069"/>
                <a:gd name="connsiteX47" fmla="*/ 5150959 w 15409480"/>
                <a:gd name="connsiteY47" fmla="*/ 1610907 h 15946069"/>
                <a:gd name="connsiteX48" fmla="*/ 5480133 w 15409480"/>
                <a:gd name="connsiteY48" fmla="*/ 2167963 h 15946069"/>
                <a:gd name="connsiteX49" fmla="*/ 4742216 w 15409480"/>
                <a:gd name="connsiteY49" fmla="*/ 2862495 h 15946069"/>
                <a:gd name="connsiteX50" fmla="*/ 2658667 w 15409480"/>
                <a:gd name="connsiteY50" fmla="*/ 0 h 15946069"/>
                <a:gd name="connsiteX51" fmla="*/ 2658682 w 15409480"/>
                <a:gd name="connsiteY51" fmla="*/ 1018890 h 15946069"/>
                <a:gd name="connsiteX52" fmla="*/ 1850829 w 15409480"/>
                <a:gd name="connsiteY52" fmla="*/ 1730283 h 15946069"/>
                <a:gd name="connsiteX53" fmla="*/ 1404694 w 15409480"/>
                <a:gd name="connsiteY53" fmla="*/ 2272862 h 15946069"/>
                <a:gd name="connsiteX54" fmla="*/ 2351216 w 15409480"/>
                <a:gd name="connsiteY54" fmla="*/ 3388182 h 15946069"/>
                <a:gd name="connsiteX55" fmla="*/ 2658682 w 15409480"/>
                <a:gd name="connsiteY55" fmla="*/ 4286458 h 15946069"/>
                <a:gd name="connsiteX56" fmla="*/ 1935228 w 15409480"/>
                <a:gd name="connsiteY56" fmla="*/ 5220918 h 15946069"/>
                <a:gd name="connsiteX57" fmla="*/ 875281 w 15409480"/>
                <a:gd name="connsiteY57" fmla="*/ 5166646 h 15946069"/>
                <a:gd name="connsiteX58" fmla="*/ 0 w 15409480"/>
                <a:gd name="connsiteY58" fmla="*/ 5890112 h 15946069"/>
                <a:gd name="connsiteX59" fmla="*/ 72345 w 15409480"/>
                <a:gd name="connsiteY59" fmla="*/ 6921032 h 15946069"/>
                <a:gd name="connsiteX60" fmla="*/ 477776 w 15409480"/>
                <a:gd name="connsiteY60" fmla="*/ 7436569 h 15946069"/>
                <a:gd name="connsiteX0" fmla="*/ 477776 w 15409480"/>
                <a:gd name="connsiteY0" fmla="*/ 7436569 h 15946069"/>
                <a:gd name="connsiteX1" fmla="*/ 271294 w 15409480"/>
                <a:gd name="connsiteY1" fmla="*/ 8060457 h 15946069"/>
                <a:gd name="connsiteX2" fmla="*/ 379812 w 15409480"/>
                <a:gd name="connsiteY2" fmla="*/ 8675382 h 15946069"/>
                <a:gd name="connsiteX3" fmla="*/ 759624 w 15409480"/>
                <a:gd name="connsiteY3" fmla="*/ 9217969 h 15946069"/>
                <a:gd name="connsiteX4" fmla="*/ 687278 w 15409480"/>
                <a:gd name="connsiteY4" fmla="*/ 9670126 h 15946069"/>
                <a:gd name="connsiteX5" fmla="*/ 144687 w 15409480"/>
                <a:gd name="connsiteY5" fmla="*/ 9941420 h 15946069"/>
                <a:gd name="connsiteX6" fmla="*/ 343643 w 15409480"/>
                <a:gd name="connsiteY6" fmla="*/ 10592536 h 15946069"/>
                <a:gd name="connsiteX7" fmla="*/ 940487 w 15409480"/>
                <a:gd name="connsiteY7" fmla="*/ 10954252 h 15946069"/>
                <a:gd name="connsiteX8" fmla="*/ 596844 w 15409480"/>
                <a:gd name="connsiteY8" fmla="*/ 11786221 h 15946069"/>
                <a:gd name="connsiteX9" fmla="*/ 633017 w 15409480"/>
                <a:gd name="connsiteY9" fmla="*/ 12780969 h 15946069"/>
                <a:gd name="connsiteX10" fmla="*/ 198944 w 15409480"/>
                <a:gd name="connsiteY10" fmla="*/ 13341645 h 15946069"/>
                <a:gd name="connsiteX11" fmla="*/ 723451 w 15409480"/>
                <a:gd name="connsiteY11" fmla="*/ 13757629 h 15946069"/>
                <a:gd name="connsiteX12" fmla="*/ 1640036 w 15409480"/>
                <a:gd name="connsiteY12" fmla="*/ 13197151 h 15946069"/>
                <a:gd name="connsiteX13" fmla="*/ 1880971 w 15409480"/>
                <a:gd name="connsiteY13" fmla="*/ 13395906 h 15946069"/>
                <a:gd name="connsiteX14" fmla="*/ 2930086 w 15409480"/>
                <a:gd name="connsiteY14" fmla="*/ 12952832 h 15946069"/>
                <a:gd name="connsiteX15" fmla="*/ 3828256 w 15409480"/>
                <a:gd name="connsiteY15" fmla="*/ 13245188 h 15946069"/>
                <a:gd name="connsiteX16" fmla="*/ 4768739 w 15409480"/>
                <a:gd name="connsiteY16" fmla="*/ 13040205 h 15946069"/>
                <a:gd name="connsiteX17" fmla="*/ 5190751 w 15409480"/>
                <a:gd name="connsiteY17" fmla="*/ 13649115 h 15946069"/>
                <a:gd name="connsiteX18" fmla="*/ 5932290 w 15409480"/>
                <a:gd name="connsiteY18" fmla="*/ 13444132 h 15946069"/>
                <a:gd name="connsiteX19" fmla="*/ 6498992 w 15409480"/>
                <a:gd name="connsiteY19" fmla="*/ 12991975 h 15946069"/>
                <a:gd name="connsiteX20" fmla="*/ 7373161 w 15409480"/>
                <a:gd name="connsiteY20" fmla="*/ 13582800 h 15946069"/>
                <a:gd name="connsiteX21" fmla="*/ 8512588 w 15409480"/>
                <a:gd name="connsiteY21" fmla="*/ 13570738 h 15946069"/>
                <a:gd name="connsiteX22" fmla="*/ 9742454 w 15409480"/>
                <a:gd name="connsiteY22" fmla="*/ 14004811 h 15946069"/>
                <a:gd name="connsiteX23" fmla="*/ 10616683 w 15409480"/>
                <a:gd name="connsiteY23" fmla="*/ 15358294 h 15946069"/>
                <a:gd name="connsiteX24" fmla="*/ 11117010 w 15409480"/>
                <a:gd name="connsiteY24" fmla="*/ 15946069 h 15946069"/>
                <a:gd name="connsiteX25" fmla="*/ 11780218 w 15409480"/>
                <a:gd name="connsiteY25" fmla="*/ 13579811 h 15946069"/>
                <a:gd name="connsiteX26" fmla="*/ 12196146 w 15409480"/>
                <a:gd name="connsiteY26" fmla="*/ 11388328 h 15946069"/>
                <a:gd name="connsiteX27" fmla="*/ 14004775 w 15409480"/>
                <a:gd name="connsiteY27" fmla="*/ 11611395 h 15946069"/>
                <a:gd name="connsiteX28" fmla="*/ 15409477 w 15409480"/>
                <a:gd name="connsiteY28" fmla="*/ 11882693 h 15946069"/>
                <a:gd name="connsiteX29" fmla="*/ 11533930 w 15409480"/>
                <a:gd name="connsiteY29" fmla="*/ 9393151 h 15946069"/>
                <a:gd name="connsiteX30" fmla="*/ 11668657 w 15409480"/>
                <a:gd name="connsiteY30" fmla="*/ 8754316 h 15946069"/>
                <a:gd name="connsiteX31" fmla="*/ 12149687 w 15409480"/>
                <a:gd name="connsiteY31" fmla="*/ 8101619 h 15946069"/>
                <a:gd name="connsiteX32" fmla="*/ 11118705 w 15409480"/>
                <a:gd name="connsiteY32" fmla="*/ 7156845 h 15946069"/>
                <a:gd name="connsiteX33" fmla="*/ 10425568 w 15409480"/>
                <a:gd name="connsiteY33" fmla="*/ 7223642 h 15946069"/>
                <a:gd name="connsiteX34" fmla="*/ 10709437 w 15409480"/>
                <a:gd name="connsiteY34" fmla="*/ 6730245 h 15946069"/>
                <a:gd name="connsiteX35" fmla="*/ 10017677 w 15409480"/>
                <a:gd name="connsiteY35" fmla="*/ 5883475 h 15946069"/>
                <a:gd name="connsiteX36" fmla="*/ 9318595 w 15409480"/>
                <a:gd name="connsiteY36" fmla="*/ 5859197 h 15946069"/>
                <a:gd name="connsiteX37" fmla="*/ 9215073 w 15409480"/>
                <a:gd name="connsiteY37" fmla="*/ 5387392 h 15946069"/>
                <a:gd name="connsiteX38" fmla="*/ 8600211 w 15409480"/>
                <a:gd name="connsiteY38" fmla="*/ 5564744 h 15946069"/>
                <a:gd name="connsiteX39" fmla="*/ 8412926 w 15409480"/>
                <a:gd name="connsiteY39" fmla="*/ 4835463 h 15946069"/>
                <a:gd name="connsiteX40" fmla="*/ 7744624 w 15409480"/>
                <a:gd name="connsiteY40" fmla="*/ 4382387 h 15946069"/>
                <a:gd name="connsiteX41" fmla="*/ 8112983 w 15409480"/>
                <a:gd name="connsiteY41" fmla="*/ 3770361 h 15946069"/>
                <a:gd name="connsiteX42" fmla="*/ 7637793 w 15409480"/>
                <a:gd name="connsiteY42" fmla="*/ 2526072 h 15946069"/>
                <a:gd name="connsiteX43" fmla="*/ 7264687 w 15409480"/>
                <a:gd name="connsiteY43" fmla="*/ 2131091 h 15946069"/>
                <a:gd name="connsiteX44" fmla="*/ 6594245 w 15409480"/>
                <a:gd name="connsiteY44" fmla="*/ 2055834 h 15946069"/>
                <a:gd name="connsiteX45" fmla="*/ 6431470 w 15409480"/>
                <a:gd name="connsiteY45" fmla="*/ 1314295 h 15946069"/>
                <a:gd name="connsiteX46" fmla="*/ 5642908 w 15409480"/>
                <a:gd name="connsiteY46" fmla="*/ 1343233 h 15946069"/>
                <a:gd name="connsiteX47" fmla="*/ 5150959 w 15409480"/>
                <a:gd name="connsiteY47" fmla="*/ 1610907 h 15946069"/>
                <a:gd name="connsiteX48" fmla="*/ 5480133 w 15409480"/>
                <a:gd name="connsiteY48" fmla="*/ 2167963 h 15946069"/>
                <a:gd name="connsiteX49" fmla="*/ 4742216 w 15409480"/>
                <a:gd name="connsiteY49" fmla="*/ 2862495 h 15946069"/>
                <a:gd name="connsiteX50" fmla="*/ 2658667 w 15409480"/>
                <a:gd name="connsiteY50" fmla="*/ 0 h 15946069"/>
                <a:gd name="connsiteX51" fmla="*/ 2658682 w 15409480"/>
                <a:gd name="connsiteY51" fmla="*/ 1018890 h 15946069"/>
                <a:gd name="connsiteX52" fmla="*/ 1850829 w 15409480"/>
                <a:gd name="connsiteY52" fmla="*/ 1730283 h 15946069"/>
                <a:gd name="connsiteX53" fmla="*/ 1404694 w 15409480"/>
                <a:gd name="connsiteY53" fmla="*/ 2272862 h 15946069"/>
                <a:gd name="connsiteX54" fmla="*/ 2351216 w 15409480"/>
                <a:gd name="connsiteY54" fmla="*/ 3388182 h 15946069"/>
                <a:gd name="connsiteX55" fmla="*/ 2658682 w 15409480"/>
                <a:gd name="connsiteY55" fmla="*/ 4286458 h 15946069"/>
                <a:gd name="connsiteX56" fmla="*/ 1935228 w 15409480"/>
                <a:gd name="connsiteY56" fmla="*/ 5220918 h 15946069"/>
                <a:gd name="connsiteX57" fmla="*/ 875281 w 15409480"/>
                <a:gd name="connsiteY57" fmla="*/ 5166646 h 15946069"/>
                <a:gd name="connsiteX58" fmla="*/ 0 w 15409480"/>
                <a:gd name="connsiteY58" fmla="*/ 5890112 h 15946069"/>
                <a:gd name="connsiteX59" fmla="*/ 72345 w 15409480"/>
                <a:gd name="connsiteY59" fmla="*/ 6921032 h 15946069"/>
                <a:gd name="connsiteX60" fmla="*/ 477776 w 15409480"/>
                <a:gd name="connsiteY60" fmla="*/ 7436569 h 15946069"/>
                <a:gd name="connsiteX0" fmla="*/ 477776 w 14004774"/>
                <a:gd name="connsiteY0" fmla="*/ 7436569 h 15946069"/>
                <a:gd name="connsiteX1" fmla="*/ 271294 w 14004774"/>
                <a:gd name="connsiteY1" fmla="*/ 8060457 h 15946069"/>
                <a:gd name="connsiteX2" fmla="*/ 379812 w 14004774"/>
                <a:gd name="connsiteY2" fmla="*/ 8675382 h 15946069"/>
                <a:gd name="connsiteX3" fmla="*/ 759624 w 14004774"/>
                <a:gd name="connsiteY3" fmla="*/ 9217969 h 15946069"/>
                <a:gd name="connsiteX4" fmla="*/ 687278 w 14004774"/>
                <a:gd name="connsiteY4" fmla="*/ 9670126 h 15946069"/>
                <a:gd name="connsiteX5" fmla="*/ 144687 w 14004774"/>
                <a:gd name="connsiteY5" fmla="*/ 9941420 h 15946069"/>
                <a:gd name="connsiteX6" fmla="*/ 343643 w 14004774"/>
                <a:gd name="connsiteY6" fmla="*/ 10592536 h 15946069"/>
                <a:gd name="connsiteX7" fmla="*/ 940487 w 14004774"/>
                <a:gd name="connsiteY7" fmla="*/ 10954252 h 15946069"/>
                <a:gd name="connsiteX8" fmla="*/ 596844 w 14004774"/>
                <a:gd name="connsiteY8" fmla="*/ 11786221 h 15946069"/>
                <a:gd name="connsiteX9" fmla="*/ 633017 w 14004774"/>
                <a:gd name="connsiteY9" fmla="*/ 12780969 h 15946069"/>
                <a:gd name="connsiteX10" fmla="*/ 198944 w 14004774"/>
                <a:gd name="connsiteY10" fmla="*/ 13341645 h 15946069"/>
                <a:gd name="connsiteX11" fmla="*/ 723451 w 14004774"/>
                <a:gd name="connsiteY11" fmla="*/ 13757629 h 15946069"/>
                <a:gd name="connsiteX12" fmla="*/ 1640036 w 14004774"/>
                <a:gd name="connsiteY12" fmla="*/ 13197151 h 15946069"/>
                <a:gd name="connsiteX13" fmla="*/ 1880971 w 14004774"/>
                <a:gd name="connsiteY13" fmla="*/ 13395906 h 15946069"/>
                <a:gd name="connsiteX14" fmla="*/ 2930086 w 14004774"/>
                <a:gd name="connsiteY14" fmla="*/ 12952832 h 15946069"/>
                <a:gd name="connsiteX15" fmla="*/ 3828256 w 14004774"/>
                <a:gd name="connsiteY15" fmla="*/ 13245188 h 15946069"/>
                <a:gd name="connsiteX16" fmla="*/ 4768739 w 14004774"/>
                <a:gd name="connsiteY16" fmla="*/ 13040205 h 15946069"/>
                <a:gd name="connsiteX17" fmla="*/ 5190751 w 14004774"/>
                <a:gd name="connsiteY17" fmla="*/ 13649115 h 15946069"/>
                <a:gd name="connsiteX18" fmla="*/ 5932290 w 14004774"/>
                <a:gd name="connsiteY18" fmla="*/ 13444132 h 15946069"/>
                <a:gd name="connsiteX19" fmla="*/ 6498992 w 14004774"/>
                <a:gd name="connsiteY19" fmla="*/ 12991975 h 15946069"/>
                <a:gd name="connsiteX20" fmla="*/ 7373161 w 14004774"/>
                <a:gd name="connsiteY20" fmla="*/ 13582800 h 15946069"/>
                <a:gd name="connsiteX21" fmla="*/ 8512588 w 14004774"/>
                <a:gd name="connsiteY21" fmla="*/ 13570738 h 15946069"/>
                <a:gd name="connsiteX22" fmla="*/ 9742454 w 14004774"/>
                <a:gd name="connsiteY22" fmla="*/ 14004811 h 15946069"/>
                <a:gd name="connsiteX23" fmla="*/ 10616683 w 14004774"/>
                <a:gd name="connsiteY23" fmla="*/ 15358294 h 15946069"/>
                <a:gd name="connsiteX24" fmla="*/ 11117010 w 14004774"/>
                <a:gd name="connsiteY24" fmla="*/ 15946069 h 15946069"/>
                <a:gd name="connsiteX25" fmla="*/ 11780218 w 14004774"/>
                <a:gd name="connsiteY25" fmla="*/ 13579811 h 15946069"/>
                <a:gd name="connsiteX26" fmla="*/ 12196146 w 14004774"/>
                <a:gd name="connsiteY26" fmla="*/ 11388328 h 15946069"/>
                <a:gd name="connsiteX27" fmla="*/ 14004775 w 14004774"/>
                <a:gd name="connsiteY27" fmla="*/ 11611395 h 15946069"/>
                <a:gd name="connsiteX28" fmla="*/ 10195350 w 14004774"/>
                <a:gd name="connsiteY28" fmla="*/ 10617991 h 15946069"/>
                <a:gd name="connsiteX29" fmla="*/ 11533930 w 14004774"/>
                <a:gd name="connsiteY29" fmla="*/ 9393151 h 15946069"/>
                <a:gd name="connsiteX30" fmla="*/ 11668657 w 14004774"/>
                <a:gd name="connsiteY30" fmla="*/ 8754316 h 15946069"/>
                <a:gd name="connsiteX31" fmla="*/ 12149687 w 14004774"/>
                <a:gd name="connsiteY31" fmla="*/ 8101619 h 15946069"/>
                <a:gd name="connsiteX32" fmla="*/ 11118705 w 14004774"/>
                <a:gd name="connsiteY32" fmla="*/ 7156845 h 15946069"/>
                <a:gd name="connsiteX33" fmla="*/ 10425568 w 14004774"/>
                <a:gd name="connsiteY33" fmla="*/ 7223642 h 15946069"/>
                <a:gd name="connsiteX34" fmla="*/ 10709437 w 14004774"/>
                <a:gd name="connsiteY34" fmla="*/ 6730245 h 15946069"/>
                <a:gd name="connsiteX35" fmla="*/ 10017677 w 14004774"/>
                <a:gd name="connsiteY35" fmla="*/ 5883475 h 15946069"/>
                <a:gd name="connsiteX36" fmla="*/ 9318595 w 14004774"/>
                <a:gd name="connsiteY36" fmla="*/ 5859197 h 15946069"/>
                <a:gd name="connsiteX37" fmla="*/ 9215073 w 14004774"/>
                <a:gd name="connsiteY37" fmla="*/ 5387392 h 15946069"/>
                <a:gd name="connsiteX38" fmla="*/ 8600211 w 14004774"/>
                <a:gd name="connsiteY38" fmla="*/ 5564744 h 15946069"/>
                <a:gd name="connsiteX39" fmla="*/ 8412926 w 14004774"/>
                <a:gd name="connsiteY39" fmla="*/ 4835463 h 15946069"/>
                <a:gd name="connsiteX40" fmla="*/ 7744624 w 14004774"/>
                <a:gd name="connsiteY40" fmla="*/ 4382387 h 15946069"/>
                <a:gd name="connsiteX41" fmla="*/ 8112983 w 14004774"/>
                <a:gd name="connsiteY41" fmla="*/ 3770361 h 15946069"/>
                <a:gd name="connsiteX42" fmla="*/ 7637793 w 14004774"/>
                <a:gd name="connsiteY42" fmla="*/ 2526072 h 15946069"/>
                <a:gd name="connsiteX43" fmla="*/ 7264687 w 14004774"/>
                <a:gd name="connsiteY43" fmla="*/ 2131091 h 15946069"/>
                <a:gd name="connsiteX44" fmla="*/ 6594245 w 14004774"/>
                <a:gd name="connsiteY44" fmla="*/ 2055834 h 15946069"/>
                <a:gd name="connsiteX45" fmla="*/ 6431470 w 14004774"/>
                <a:gd name="connsiteY45" fmla="*/ 1314295 h 15946069"/>
                <a:gd name="connsiteX46" fmla="*/ 5642908 w 14004774"/>
                <a:gd name="connsiteY46" fmla="*/ 1343233 h 15946069"/>
                <a:gd name="connsiteX47" fmla="*/ 5150959 w 14004774"/>
                <a:gd name="connsiteY47" fmla="*/ 1610907 h 15946069"/>
                <a:gd name="connsiteX48" fmla="*/ 5480133 w 14004774"/>
                <a:gd name="connsiteY48" fmla="*/ 2167963 h 15946069"/>
                <a:gd name="connsiteX49" fmla="*/ 4742216 w 14004774"/>
                <a:gd name="connsiteY49" fmla="*/ 2862495 h 15946069"/>
                <a:gd name="connsiteX50" fmla="*/ 2658667 w 14004774"/>
                <a:gd name="connsiteY50" fmla="*/ 0 h 15946069"/>
                <a:gd name="connsiteX51" fmla="*/ 2658682 w 14004774"/>
                <a:gd name="connsiteY51" fmla="*/ 1018890 h 15946069"/>
                <a:gd name="connsiteX52" fmla="*/ 1850829 w 14004774"/>
                <a:gd name="connsiteY52" fmla="*/ 1730283 h 15946069"/>
                <a:gd name="connsiteX53" fmla="*/ 1404694 w 14004774"/>
                <a:gd name="connsiteY53" fmla="*/ 2272862 h 15946069"/>
                <a:gd name="connsiteX54" fmla="*/ 2351216 w 14004774"/>
                <a:gd name="connsiteY54" fmla="*/ 3388182 h 15946069"/>
                <a:gd name="connsiteX55" fmla="*/ 2658682 w 14004774"/>
                <a:gd name="connsiteY55" fmla="*/ 4286458 h 15946069"/>
                <a:gd name="connsiteX56" fmla="*/ 1935228 w 14004774"/>
                <a:gd name="connsiteY56" fmla="*/ 5220918 h 15946069"/>
                <a:gd name="connsiteX57" fmla="*/ 875281 w 14004774"/>
                <a:gd name="connsiteY57" fmla="*/ 5166646 h 15946069"/>
                <a:gd name="connsiteX58" fmla="*/ 0 w 14004774"/>
                <a:gd name="connsiteY58" fmla="*/ 5890112 h 15946069"/>
                <a:gd name="connsiteX59" fmla="*/ 72345 w 14004774"/>
                <a:gd name="connsiteY59" fmla="*/ 6921032 h 15946069"/>
                <a:gd name="connsiteX60" fmla="*/ 477776 w 14004774"/>
                <a:gd name="connsiteY60" fmla="*/ 7436569 h 15946069"/>
                <a:gd name="connsiteX0" fmla="*/ 477776 w 14004774"/>
                <a:gd name="connsiteY0" fmla="*/ 7436569 h 15946069"/>
                <a:gd name="connsiteX1" fmla="*/ 271294 w 14004774"/>
                <a:gd name="connsiteY1" fmla="*/ 8060457 h 15946069"/>
                <a:gd name="connsiteX2" fmla="*/ 379812 w 14004774"/>
                <a:gd name="connsiteY2" fmla="*/ 8675382 h 15946069"/>
                <a:gd name="connsiteX3" fmla="*/ 759624 w 14004774"/>
                <a:gd name="connsiteY3" fmla="*/ 9217969 h 15946069"/>
                <a:gd name="connsiteX4" fmla="*/ 687278 w 14004774"/>
                <a:gd name="connsiteY4" fmla="*/ 9670126 h 15946069"/>
                <a:gd name="connsiteX5" fmla="*/ 144687 w 14004774"/>
                <a:gd name="connsiteY5" fmla="*/ 9941420 h 15946069"/>
                <a:gd name="connsiteX6" fmla="*/ 343643 w 14004774"/>
                <a:gd name="connsiteY6" fmla="*/ 10592536 h 15946069"/>
                <a:gd name="connsiteX7" fmla="*/ 940487 w 14004774"/>
                <a:gd name="connsiteY7" fmla="*/ 10954252 h 15946069"/>
                <a:gd name="connsiteX8" fmla="*/ 596844 w 14004774"/>
                <a:gd name="connsiteY8" fmla="*/ 11786221 h 15946069"/>
                <a:gd name="connsiteX9" fmla="*/ 633017 w 14004774"/>
                <a:gd name="connsiteY9" fmla="*/ 12780969 h 15946069"/>
                <a:gd name="connsiteX10" fmla="*/ 198944 w 14004774"/>
                <a:gd name="connsiteY10" fmla="*/ 13341645 h 15946069"/>
                <a:gd name="connsiteX11" fmla="*/ 723451 w 14004774"/>
                <a:gd name="connsiteY11" fmla="*/ 13757629 h 15946069"/>
                <a:gd name="connsiteX12" fmla="*/ 1640036 w 14004774"/>
                <a:gd name="connsiteY12" fmla="*/ 13197151 h 15946069"/>
                <a:gd name="connsiteX13" fmla="*/ 1880971 w 14004774"/>
                <a:gd name="connsiteY13" fmla="*/ 13395906 h 15946069"/>
                <a:gd name="connsiteX14" fmla="*/ 2930086 w 14004774"/>
                <a:gd name="connsiteY14" fmla="*/ 12952832 h 15946069"/>
                <a:gd name="connsiteX15" fmla="*/ 3828256 w 14004774"/>
                <a:gd name="connsiteY15" fmla="*/ 13245188 h 15946069"/>
                <a:gd name="connsiteX16" fmla="*/ 4768739 w 14004774"/>
                <a:gd name="connsiteY16" fmla="*/ 13040205 h 15946069"/>
                <a:gd name="connsiteX17" fmla="*/ 5190751 w 14004774"/>
                <a:gd name="connsiteY17" fmla="*/ 13649115 h 15946069"/>
                <a:gd name="connsiteX18" fmla="*/ 5932290 w 14004774"/>
                <a:gd name="connsiteY18" fmla="*/ 13444132 h 15946069"/>
                <a:gd name="connsiteX19" fmla="*/ 6498992 w 14004774"/>
                <a:gd name="connsiteY19" fmla="*/ 12991975 h 15946069"/>
                <a:gd name="connsiteX20" fmla="*/ 7373161 w 14004774"/>
                <a:gd name="connsiteY20" fmla="*/ 13582800 h 15946069"/>
                <a:gd name="connsiteX21" fmla="*/ 8512588 w 14004774"/>
                <a:gd name="connsiteY21" fmla="*/ 13570738 h 15946069"/>
                <a:gd name="connsiteX22" fmla="*/ 9742454 w 14004774"/>
                <a:gd name="connsiteY22" fmla="*/ 14004811 h 15946069"/>
                <a:gd name="connsiteX23" fmla="*/ 10616683 w 14004774"/>
                <a:gd name="connsiteY23" fmla="*/ 15358294 h 15946069"/>
                <a:gd name="connsiteX24" fmla="*/ 11117010 w 14004774"/>
                <a:gd name="connsiteY24" fmla="*/ 15946069 h 15946069"/>
                <a:gd name="connsiteX25" fmla="*/ 11780218 w 14004774"/>
                <a:gd name="connsiteY25" fmla="*/ 13579811 h 15946069"/>
                <a:gd name="connsiteX26" fmla="*/ 12196146 w 14004774"/>
                <a:gd name="connsiteY26" fmla="*/ 11388328 h 15946069"/>
                <a:gd name="connsiteX27" fmla="*/ 14004775 w 14004774"/>
                <a:gd name="connsiteY27" fmla="*/ 11611395 h 15946069"/>
                <a:gd name="connsiteX28" fmla="*/ 11893530 w 14004774"/>
                <a:gd name="connsiteY28" fmla="*/ 10283919 h 15946069"/>
                <a:gd name="connsiteX29" fmla="*/ 11533930 w 14004774"/>
                <a:gd name="connsiteY29" fmla="*/ 9393151 h 15946069"/>
                <a:gd name="connsiteX30" fmla="*/ 11668657 w 14004774"/>
                <a:gd name="connsiteY30" fmla="*/ 8754316 h 15946069"/>
                <a:gd name="connsiteX31" fmla="*/ 12149687 w 14004774"/>
                <a:gd name="connsiteY31" fmla="*/ 8101619 h 15946069"/>
                <a:gd name="connsiteX32" fmla="*/ 11118705 w 14004774"/>
                <a:gd name="connsiteY32" fmla="*/ 7156845 h 15946069"/>
                <a:gd name="connsiteX33" fmla="*/ 10425568 w 14004774"/>
                <a:gd name="connsiteY33" fmla="*/ 7223642 h 15946069"/>
                <a:gd name="connsiteX34" fmla="*/ 10709437 w 14004774"/>
                <a:gd name="connsiteY34" fmla="*/ 6730245 h 15946069"/>
                <a:gd name="connsiteX35" fmla="*/ 10017677 w 14004774"/>
                <a:gd name="connsiteY35" fmla="*/ 5883475 h 15946069"/>
                <a:gd name="connsiteX36" fmla="*/ 9318595 w 14004774"/>
                <a:gd name="connsiteY36" fmla="*/ 5859197 h 15946069"/>
                <a:gd name="connsiteX37" fmla="*/ 9215073 w 14004774"/>
                <a:gd name="connsiteY37" fmla="*/ 5387392 h 15946069"/>
                <a:gd name="connsiteX38" fmla="*/ 8600211 w 14004774"/>
                <a:gd name="connsiteY38" fmla="*/ 5564744 h 15946069"/>
                <a:gd name="connsiteX39" fmla="*/ 8412926 w 14004774"/>
                <a:gd name="connsiteY39" fmla="*/ 4835463 h 15946069"/>
                <a:gd name="connsiteX40" fmla="*/ 7744624 w 14004774"/>
                <a:gd name="connsiteY40" fmla="*/ 4382387 h 15946069"/>
                <a:gd name="connsiteX41" fmla="*/ 8112983 w 14004774"/>
                <a:gd name="connsiteY41" fmla="*/ 3770361 h 15946069"/>
                <a:gd name="connsiteX42" fmla="*/ 7637793 w 14004774"/>
                <a:gd name="connsiteY42" fmla="*/ 2526072 h 15946069"/>
                <a:gd name="connsiteX43" fmla="*/ 7264687 w 14004774"/>
                <a:gd name="connsiteY43" fmla="*/ 2131091 h 15946069"/>
                <a:gd name="connsiteX44" fmla="*/ 6594245 w 14004774"/>
                <a:gd name="connsiteY44" fmla="*/ 2055834 h 15946069"/>
                <a:gd name="connsiteX45" fmla="*/ 6431470 w 14004774"/>
                <a:gd name="connsiteY45" fmla="*/ 1314295 h 15946069"/>
                <a:gd name="connsiteX46" fmla="*/ 5642908 w 14004774"/>
                <a:gd name="connsiteY46" fmla="*/ 1343233 h 15946069"/>
                <a:gd name="connsiteX47" fmla="*/ 5150959 w 14004774"/>
                <a:gd name="connsiteY47" fmla="*/ 1610907 h 15946069"/>
                <a:gd name="connsiteX48" fmla="*/ 5480133 w 14004774"/>
                <a:gd name="connsiteY48" fmla="*/ 2167963 h 15946069"/>
                <a:gd name="connsiteX49" fmla="*/ 4742216 w 14004774"/>
                <a:gd name="connsiteY49" fmla="*/ 2862495 h 15946069"/>
                <a:gd name="connsiteX50" fmla="*/ 2658667 w 14004774"/>
                <a:gd name="connsiteY50" fmla="*/ 0 h 15946069"/>
                <a:gd name="connsiteX51" fmla="*/ 2658682 w 14004774"/>
                <a:gd name="connsiteY51" fmla="*/ 1018890 h 15946069"/>
                <a:gd name="connsiteX52" fmla="*/ 1850829 w 14004774"/>
                <a:gd name="connsiteY52" fmla="*/ 1730283 h 15946069"/>
                <a:gd name="connsiteX53" fmla="*/ 1404694 w 14004774"/>
                <a:gd name="connsiteY53" fmla="*/ 2272862 h 15946069"/>
                <a:gd name="connsiteX54" fmla="*/ 2351216 w 14004774"/>
                <a:gd name="connsiteY54" fmla="*/ 3388182 h 15946069"/>
                <a:gd name="connsiteX55" fmla="*/ 2658682 w 14004774"/>
                <a:gd name="connsiteY55" fmla="*/ 4286458 h 15946069"/>
                <a:gd name="connsiteX56" fmla="*/ 1935228 w 14004774"/>
                <a:gd name="connsiteY56" fmla="*/ 5220918 h 15946069"/>
                <a:gd name="connsiteX57" fmla="*/ 875281 w 14004774"/>
                <a:gd name="connsiteY57" fmla="*/ 5166646 h 15946069"/>
                <a:gd name="connsiteX58" fmla="*/ 0 w 14004774"/>
                <a:gd name="connsiteY58" fmla="*/ 5890112 h 15946069"/>
                <a:gd name="connsiteX59" fmla="*/ 72345 w 14004774"/>
                <a:gd name="connsiteY59" fmla="*/ 6921032 h 15946069"/>
                <a:gd name="connsiteX60" fmla="*/ 477776 w 14004774"/>
                <a:gd name="connsiteY60" fmla="*/ 7436569 h 15946069"/>
                <a:gd name="connsiteX0" fmla="*/ 477776 w 12196146"/>
                <a:gd name="connsiteY0" fmla="*/ 7436569 h 15946069"/>
                <a:gd name="connsiteX1" fmla="*/ 271294 w 12196146"/>
                <a:gd name="connsiteY1" fmla="*/ 8060457 h 15946069"/>
                <a:gd name="connsiteX2" fmla="*/ 379812 w 12196146"/>
                <a:gd name="connsiteY2" fmla="*/ 8675382 h 15946069"/>
                <a:gd name="connsiteX3" fmla="*/ 759624 w 12196146"/>
                <a:gd name="connsiteY3" fmla="*/ 9217969 h 15946069"/>
                <a:gd name="connsiteX4" fmla="*/ 687278 w 12196146"/>
                <a:gd name="connsiteY4" fmla="*/ 9670126 h 15946069"/>
                <a:gd name="connsiteX5" fmla="*/ 144687 w 12196146"/>
                <a:gd name="connsiteY5" fmla="*/ 9941420 h 15946069"/>
                <a:gd name="connsiteX6" fmla="*/ 343643 w 12196146"/>
                <a:gd name="connsiteY6" fmla="*/ 10592536 h 15946069"/>
                <a:gd name="connsiteX7" fmla="*/ 940487 w 12196146"/>
                <a:gd name="connsiteY7" fmla="*/ 10954252 h 15946069"/>
                <a:gd name="connsiteX8" fmla="*/ 596844 w 12196146"/>
                <a:gd name="connsiteY8" fmla="*/ 11786221 h 15946069"/>
                <a:gd name="connsiteX9" fmla="*/ 633017 w 12196146"/>
                <a:gd name="connsiteY9" fmla="*/ 12780969 h 15946069"/>
                <a:gd name="connsiteX10" fmla="*/ 198944 w 12196146"/>
                <a:gd name="connsiteY10" fmla="*/ 13341645 h 15946069"/>
                <a:gd name="connsiteX11" fmla="*/ 723451 w 12196146"/>
                <a:gd name="connsiteY11" fmla="*/ 13757629 h 15946069"/>
                <a:gd name="connsiteX12" fmla="*/ 1640036 w 12196146"/>
                <a:gd name="connsiteY12" fmla="*/ 13197151 h 15946069"/>
                <a:gd name="connsiteX13" fmla="*/ 1880971 w 12196146"/>
                <a:gd name="connsiteY13" fmla="*/ 13395906 h 15946069"/>
                <a:gd name="connsiteX14" fmla="*/ 2930086 w 12196146"/>
                <a:gd name="connsiteY14" fmla="*/ 12952832 h 15946069"/>
                <a:gd name="connsiteX15" fmla="*/ 3828256 w 12196146"/>
                <a:gd name="connsiteY15" fmla="*/ 13245188 h 15946069"/>
                <a:gd name="connsiteX16" fmla="*/ 4768739 w 12196146"/>
                <a:gd name="connsiteY16" fmla="*/ 13040205 h 15946069"/>
                <a:gd name="connsiteX17" fmla="*/ 5190751 w 12196146"/>
                <a:gd name="connsiteY17" fmla="*/ 13649115 h 15946069"/>
                <a:gd name="connsiteX18" fmla="*/ 5932290 w 12196146"/>
                <a:gd name="connsiteY18" fmla="*/ 13444132 h 15946069"/>
                <a:gd name="connsiteX19" fmla="*/ 6498992 w 12196146"/>
                <a:gd name="connsiteY19" fmla="*/ 12991975 h 15946069"/>
                <a:gd name="connsiteX20" fmla="*/ 7373161 w 12196146"/>
                <a:gd name="connsiteY20" fmla="*/ 13582800 h 15946069"/>
                <a:gd name="connsiteX21" fmla="*/ 8512588 w 12196146"/>
                <a:gd name="connsiteY21" fmla="*/ 13570738 h 15946069"/>
                <a:gd name="connsiteX22" fmla="*/ 9742454 w 12196146"/>
                <a:gd name="connsiteY22" fmla="*/ 14004811 h 15946069"/>
                <a:gd name="connsiteX23" fmla="*/ 10616683 w 12196146"/>
                <a:gd name="connsiteY23" fmla="*/ 15358294 h 15946069"/>
                <a:gd name="connsiteX24" fmla="*/ 11117010 w 12196146"/>
                <a:gd name="connsiteY24" fmla="*/ 15946069 h 15946069"/>
                <a:gd name="connsiteX25" fmla="*/ 11780218 w 12196146"/>
                <a:gd name="connsiteY25" fmla="*/ 13579811 h 15946069"/>
                <a:gd name="connsiteX26" fmla="*/ 12196146 w 12196146"/>
                <a:gd name="connsiteY26" fmla="*/ 11388328 h 15946069"/>
                <a:gd name="connsiteX27" fmla="*/ 9651694 w 12196146"/>
                <a:gd name="connsiteY27" fmla="*/ 10609178 h 15946069"/>
                <a:gd name="connsiteX28" fmla="*/ 11893530 w 12196146"/>
                <a:gd name="connsiteY28" fmla="*/ 10283919 h 15946069"/>
                <a:gd name="connsiteX29" fmla="*/ 11533930 w 12196146"/>
                <a:gd name="connsiteY29" fmla="*/ 9393151 h 15946069"/>
                <a:gd name="connsiteX30" fmla="*/ 11668657 w 12196146"/>
                <a:gd name="connsiteY30" fmla="*/ 8754316 h 15946069"/>
                <a:gd name="connsiteX31" fmla="*/ 12149687 w 12196146"/>
                <a:gd name="connsiteY31" fmla="*/ 8101619 h 15946069"/>
                <a:gd name="connsiteX32" fmla="*/ 11118705 w 12196146"/>
                <a:gd name="connsiteY32" fmla="*/ 7156845 h 15946069"/>
                <a:gd name="connsiteX33" fmla="*/ 10425568 w 12196146"/>
                <a:gd name="connsiteY33" fmla="*/ 7223642 h 15946069"/>
                <a:gd name="connsiteX34" fmla="*/ 10709437 w 12196146"/>
                <a:gd name="connsiteY34" fmla="*/ 6730245 h 15946069"/>
                <a:gd name="connsiteX35" fmla="*/ 10017677 w 12196146"/>
                <a:gd name="connsiteY35" fmla="*/ 5883475 h 15946069"/>
                <a:gd name="connsiteX36" fmla="*/ 9318595 w 12196146"/>
                <a:gd name="connsiteY36" fmla="*/ 5859197 h 15946069"/>
                <a:gd name="connsiteX37" fmla="*/ 9215073 w 12196146"/>
                <a:gd name="connsiteY37" fmla="*/ 5387392 h 15946069"/>
                <a:gd name="connsiteX38" fmla="*/ 8600211 w 12196146"/>
                <a:gd name="connsiteY38" fmla="*/ 5564744 h 15946069"/>
                <a:gd name="connsiteX39" fmla="*/ 8412926 w 12196146"/>
                <a:gd name="connsiteY39" fmla="*/ 4835463 h 15946069"/>
                <a:gd name="connsiteX40" fmla="*/ 7744624 w 12196146"/>
                <a:gd name="connsiteY40" fmla="*/ 4382387 h 15946069"/>
                <a:gd name="connsiteX41" fmla="*/ 8112983 w 12196146"/>
                <a:gd name="connsiteY41" fmla="*/ 3770361 h 15946069"/>
                <a:gd name="connsiteX42" fmla="*/ 7637793 w 12196146"/>
                <a:gd name="connsiteY42" fmla="*/ 2526072 h 15946069"/>
                <a:gd name="connsiteX43" fmla="*/ 7264687 w 12196146"/>
                <a:gd name="connsiteY43" fmla="*/ 2131091 h 15946069"/>
                <a:gd name="connsiteX44" fmla="*/ 6594245 w 12196146"/>
                <a:gd name="connsiteY44" fmla="*/ 2055834 h 15946069"/>
                <a:gd name="connsiteX45" fmla="*/ 6431470 w 12196146"/>
                <a:gd name="connsiteY45" fmla="*/ 1314295 h 15946069"/>
                <a:gd name="connsiteX46" fmla="*/ 5642908 w 12196146"/>
                <a:gd name="connsiteY46" fmla="*/ 1343233 h 15946069"/>
                <a:gd name="connsiteX47" fmla="*/ 5150959 w 12196146"/>
                <a:gd name="connsiteY47" fmla="*/ 1610907 h 15946069"/>
                <a:gd name="connsiteX48" fmla="*/ 5480133 w 12196146"/>
                <a:gd name="connsiteY48" fmla="*/ 2167963 h 15946069"/>
                <a:gd name="connsiteX49" fmla="*/ 4742216 w 12196146"/>
                <a:gd name="connsiteY49" fmla="*/ 2862495 h 15946069"/>
                <a:gd name="connsiteX50" fmla="*/ 2658667 w 12196146"/>
                <a:gd name="connsiteY50" fmla="*/ 0 h 15946069"/>
                <a:gd name="connsiteX51" fmla="*/ 2658682 w 12196146"/>
                <a:gd name="connsiteY51" fmla="*/ 1018890 h 15946069"/>
                <a:gd name="connsiteX52" fmla="*/ 1850829 w 12196146"/>
                <a:gd name="connsiteY52" fmla="*/ 1730283 h 15946069"/>
                <a:gd name="connsiteX53" fmla="*/ 1404694 w 12196146"/>
                <a:gd name="connsiteY53" fmla="*/ 2272862 h 15946069"/>
                <a:gd name="connsiteX54" fmla="*/ 2351216 w 12196146"/>
                <a:gd name="connsiteY54" fmla="*/ 3388182 h 15946069"/>
                <a:gd name="connsiteX55" fmla="*/ 2658682 w 12196146"/>
                <a:gd name="connsiteY55" fmla="*/ 4286458 h 15946069"/>
                <a:gd name="connsiteX56" fmla="*/ 1935228 w 12196146"/>
                <a:gd name="connsiteY56" fmla="*/ 5220918 h 15946069"/>
                <a:gd name="connsiteX57" fmla="*/ 875281 w 12196146"/>
                <a:gd name="connsiteY57" fmla="*/ 5166646 h 15946069"/>
                <a:gd name="connsiteX58" fmla="*/ 0 w 12196146"/>
                <a:gd name="connsiteY58" fmla="*/ 5890112 h 15946069"/>
                <a:gd name="connsiteX59" fmla="*/ 72345 w 12196146"/>
                <a:gd name="connsiteY59" fmla="*/ 6921032 h 15946069"/>
                <a:gd name="connsiteX60" fmla="*/ 477776 w 12196146"/>
                <a:gd name="connsiteY60" fmla="*/ 7436569 h 15946069"/>
                <a:gd name="connsiteX0" fmla="*/ 477776 w 12196146"/>
                <a:gd name="connsiteY0" fmla="*/ 7436569 h 15946069"/>
                <a:gd name="connsiteX1" fmla="*/ 271294 w 12196146"/>
                <a:gd name="connsiteY1" fmla="*/ 8060457 h 15946069"/>
                <a:gd name="connsiteX2" fmla="*/ 379812 w 12196146"/>
                <a:gd name="connsiteY2" fmla="*/ 8675382 h 15946069"/>
                <a:gd name="connsiteX3" fmla="*/ 759624 w 12196146"/>
                <a:gd name="connsiteY3" fmla="*/ 9217969 h 15946069"/>
                <a:gd name="connsiteX4" fmla="*/ 687278 w 12196146"/>
                <a:gd name="connsiteY4" fmla="*/ 9670126 h 15946069"/>
                <a:gd name="connsiteX5" fmla="*/ 144687 w 12196146"/>
                <a:gd name="connsiteY5" fmla="*/ 9941420 h 15946069"/>
                <a:gd name="connsiteX6" fmla="*/ 343643 w 12196146"/>
                <a:gd name="connsiteY6" fmla="*/ 10592536 h 15946069"/>
                <a:gd name="connsiteX7" fmla="*/ 940487 w 12196146"/>
                <a:gd name="connsiteY7" fmla="*/ 10954252 h 15946069"/>
                <a:gd name="connsiteX8" fmla="*/ 596844 w 12196146"/>
                <a:gd name="connsiteY8" fmla="*/ 11786221 h 15946069"/>
                <a:gd name="connsiteX9" fmla="*/ 633017 w 12196146"/>
                <a:gd name="connsiteY9" fmla="*/ 12780969 h 15946069"/>
                <a:gd name="connsiteX10" fmla="*/ 198944 w 12196146"/>
                <a:gd name="connsiteY10" fmla="*/ 13341645 h 15946069"/>
                <a:gd name="connsiteX11" fmla="*/ 723451 w 12196146"/>
                <a:gd name="connsiteY11" fmla="*/ 13757629 h 15946069"/>
                <a:gd name="connsiteX12" fmla="*/ 1640036 w 12196146"/>
                <a:gd name="connsiteY12" fmla="*/ 13197151 h 15946069"/>
                <a:gd name="connsiteX13" fmla="*/ 1880971 w 12196146"/>
                <a:gd name="connsiteY13" fmla="*/ 13395906 h 15946069"/>
                <a:gd name="connsiteX14" fmla="*/ 2930086 w 12196146"/>
                <a:gd name="connsiteY14" fmla="*/ 12952832 h 15946069"/>
                <a:gd name="connsiteX15" fmla="*/ 3828256 w 12196146"/>
                <a:gd name="connsiteY15" fmla="*/ 13245188 h 15946069"/>
                <a:gd name="connsiteX16" fmla="*/ 4768739 w 12196146"/>
                <a:gd name="connsiteY16" fmla="*/ 13040205 h 15946069"/>
                <a:gd name="connsiteX17" fmla="*/ 5190751 w 12196146"/>
                <a:gd name="connsiteY17" fmla="*/ 13649115 h 15946069"/>
                <a:gd name="connsiteX18" fmla="*/ 5932290 w 12196146"/>
                <a:gd name="connsiteY18" fmla="*/ 13444132 h 15946069"/>
                <a:gd name="connsiteX19" fmla="*/ 6498992 w 12196146"/>
                <a:gd name="connsiteY19" fmla="*/ 12991975 h 15946069"/>
                <a:gd name="connsiteX20" fmla="*/ 7373161 w 12196146"/>
                <a:gd name="connsiteY20" fmla="*/ 13582800 h 15946069"/>
                <a:gd name="connsiteX21" fmla="*/ 8512588 w 12196146"/>
                <a:gd name="connsiteY21" fmla="*/ 13570738 h 15946069"/>
                <a:gd name="connsiteX22" fmla="*/ 9742454 w 12196146"/>
                <a:gd name="connsiteY22" fmla="*/ 14004811 h 15946069"/>
                <a:gd name="connsiteX23" fmla="*/ 10616683 w 12196146"/>
                <a:gd name="connsiteY23" fmla="*/ 15358294 h 15946069"/>
                <a:gd name="connsiteX24" fmla="*/ 11117010 w 12196146"/>
                <a:gd name="connsiteY24" fmla="*/ 15946069 h 15946069"/>
                <a:gd name="connsiteX25" fmla="*/ 11780218 w 12196146"/>
                <a:gd name="connsiteY25" fmla="*/ 13579811 h 15946069"/>
                <a:gd name="connsiteX26" fmla="*/ 12196146 w 12196146"/>
                <a:gd name="connsiteY26" fmla="*/ 11388328 h 15946069"/>
                <a:gd name="connsiteX27" fmla="*/ 11899987 w 12196146"/>
                <a:gd name="connsiteY27" fmla="*/ 10752355 h 15946069"/>
                <a:gd name="connsiteX28" fmla="*/ 11893530 w 12196146"/>
                <a:gd name="connsiteY28" fmla="*/ 10283919 h 15946069"/>
                <a:gd name="connsiteX29" fmla="*/ 11533930 w 12196146"/>
                <a:gd name="connsiteY29" fmla="*/ 9393151 h 15946069"/>
                <a:gd name="connsiteX30" fmla="*/ 11668657 w 12196146"/>
                <a:gd name="connsiteY30" fmla="*/ 8754316 h 15946069"/>
                <a:gd name="connsiteX31" fmla="*/ 12149687 w 12196146"/>
                <a:gd name="connsiteY31" fmla="*/ 8101619 h 15946069"/>
                <a:gd name="connsiteX32" fmla="*/ 11118705 w 12196146"/>
                <a:gd name="connsiteY32" fmla="*/ 7156845 h 15946069"/>
                <a:gd name="connsiteX33" fmla="*/ 10425568 w 12196146"/>
                <a:gd name="connsiteY33" fmla="*/ 7223642 h 15946069"/>
                <a:gd name="connsiteX34" fmla="*/ 10709437 w 12196146"/>
                <a:gd name="connsiteY34" fmla="*/ 6730245 h 15946069"/>
                <a:gd name="connsiteX35" fmla="*/ 10017677 w 12196146"/>
                <a:gd name="connsiteY35" fmla="*/ 5883475 h 15946069"/>
                <a:gd name="connsiteX36" fmla="*/ 9318595 w 12196146"/>
                <a:gd name="connsiteY36" fmla="*/ 5859197 h 15946069"/>
                <a:gd name="connsiteX37" fmla="*/ 9215073 w 12196146"/>
                <a:gd name="connsiteY37" fmla="*/ 5387392 h 15946069"/>
                <a:gd name="connsiteX38" fmla="*/ 8600211 w 12196146"/>
                <a:gd name="connsiteY38" fmla="*/ 5564744 h 15946069"/>
                <a:gd name="connsiteX39" fmla="*/ 8412926 w 12196146"/>
                <a:gd name="connsiteY39" fmla="*/ 4835463 h 15946069"/>
                <a:gd name="connsiteX40" fmla="*/ 7744624 w 12196146"/>
                <a:gd name="connsiteY40" fmla="*/ 4382387 h 15946069"/>
                <a:gd name="connsiteX41" fmla="*/ 8112983 w 12196146"/>
                <a:gd name="connsiteY41" fmla="*/ 3770361 h 15946069"/>
                <a:gd name="connsiteX42" fmla="*/ 7637793 w 12196146"/>
                <a:gd name="connsiteY42" fmla="*/ 2526072 h 15946069"/>
                <a:gd name="connsiteX43" fmla="*/ 7264687 w 12196146"/>
                <a:gd name="connsiteY43" fmla="*/ 2131091 h 15946069"/>
                <a:gd name="connsiteX44" fmla="*/ 6594245 w 12196146"/>
                <a:gd name="connsiteY44" fmla="*/ 2055834 h 15946069"/>
                <a:gd name="connsiteX45" fmla="*/ 6431470 w 12196146"/>
                <a:gd name="connsiteY45" fmla="*/ 1314295 h 15946069"/>
                <a:gd name="connsiteX46" fmla="*/ 5642908 w 12196146"/>
                <a:gd name="connsiteY46" fmla="*/ 1343233 h 15946069"/>
                <a:gd name="connsiteX47" fmla="*/ 5150959 w 12196146"/>
                <a:gd name="connsiteY47" fmla="*/ 1610907 h 15946069"/>
                <a:gd name="connsiteX48" fmla="*/ 5480133 w 12196146"/>
                <a:gd name="connsiteY48" fmla="*/ 2167963 h 15946069"/>
                <a:gd name="connsiteX49" fmla="*/ 4742216 w 12196146"/>
                <a:gd name="connsiteY49" fmla="*/ 2862495 h 15946069"/>
                <a:gd name="connsiteX50" fmla="*/ 2658667 w 12196146"/>
                <a:gd name="connsiteY50" fmla="*/ 0 h 15946069"/>
                <a:gd name="connsiteX51" fmla="*/ 2658682 w 12196146"/>
                <a:gd name="connsiteY51" fmla="*/ 1018890 h 15946069"/>
                <a:gd name="connsiteX52" fmla="*/ 1850829 w 12196146"/>
                <a:gd name="connsiteY52" fmla="*/ 1730283 h 15946069"/>
                <a:gd name="connsiteX53" fmla="*/ 1404694 w 12196146"/>
                <a:gd name="connsiteY53" fmla="*/ 2272862 h 15946069"/>
                <a:gd name="connsiteX54" fmla="*/ 2351216 w 12196146"/>
                <a:gd name="connsiteY54" fmla="*/ 3388182 h 15946069"/>
                <a:gd name="connsiteX55" fmla="*/ 2658682 w 12196146"/>
                <a:gd name="connsiteY55" fmla="*/ 4286458 h 15946069"/>
                <a:gd name="connsiteX56" fmla="*/ 1935228 w 12196146"/>
                <a:gd name="connsiteY56" fmla="*/ 5220918 h 15946069"/>
                <a:gd name="connsiteX57" fmla="*/ 875281 w 12196146"/>
                <a:gd name="connsiteY57" fmla="*/ 5166646 h 15946069"/>
                <a:gd name="connsiteX58" fmla="*/ 0 w 12196146"/>
                <a:gd name="connsiteY58" fmla="*/ 5890112 h 15946069"/>
                <a:gd name="connsiteX59" fmla="*/ 72345 w 12196146"/>
                <a:gd name="connsiteY59" fmla="*/ 6921032 h 15946069"/>
                <a:gd name="connsiteX60" fmla="*/ 477776 w 12196146"/>
                <a:gd name="connsiteY60" fmla="*/ 7436569 h 15946069"/>
                <a:gd name="connsiteX0" fmla="*/ 477776 w 12149688"/>
                <a:gd name="connsiteY0" fmla="*/ 7436569 h 15946069"/>
                <a:gd name="connsiteX1" fmla="*/ 271294 w 12149688"/>
                <a:gd name="connsiteY1" fmla="*/ 8060457 h 15946069"/>
                <a:gd name="connsiteX2" fmla="*/ 379812 w 12149688"/>
                <a:gd name="connsiteY2" fmla="*/ 8675382 h 15946069"/>
                <a:gd name="connsiteX3" fmla="*/ 759624 w 12149688"/>
                <a:gd name="connsiteY3" fmla="*/ 9217969 h 15946069"/>
                <a:gd name="connsiteX4" fmla="*/ 687278 w 12149688"/>
                <a:gd name="connsiteY4" fmla="*/ 9670126 h 15946069"/>
                <a:gd name="connsiteX5" fmla="*/ 144687 w 12149688"/>
                <a:gd name="connsiteY5" fmla="*/ 9941420 h 15946069"/>
                <a:gd name="connsiteX6" fmla="*/ 343643 w 12149688"/>
                <a:gd name="connsiteY6" fmla="*/ 10592536 h 15946069"/>
                <a:gd name="connsiteX7" fmla="*/ 940487 w 12149688"/>
                <a:gd name="connsiteY7" fmla="*/ 10954252 h 15946069"/>
                <a:gd name="connsiteX8" fmla="*/ 596844 w 12149688"/>
                <a:gd name="connsiteY8" fmla="*/ 11786221 h 15946069"/>
                <a:gd name="connsiteX9" fmla="*/ 633017 w 12149688"/>
                <a:gd name="connsiteY9" fmla="*/ 12780969 h 15946069"/>
                <a:gd name="connsiteX10" fmla="*/ 198944 w 12149688"/>
                <a:gd name="connsiteY10" fmla="*/ 13341645 h 15946069"/>
                <a:gd name="connsiteX11" fmla="*/ 723451 w 12149688"/>
                <a:gd name="connsiteY11" fmla="*/ 13757629 h 15946069"/>
                <a:gd name="connsiteX12" fmla="*/ 1640036 w 12149688"/>
                <a:gd name="connsiteY12" fmla="*/ 13197151 h 15946069"/>
                <a:gd name="connsiteX13" fmla="*/ 1880971 w 12149688"/>
                <a:gd name="connsiteY13" fmla="*/ 13395906 h 15946069"/>
                <a:gd name="connsiteX14" fmla="*/ 2930086 w 12149688"/>
                <a:gd name="connsiteY14" fmla="*/ 12952832 h 15946069"/>
                <a:gd name="connsiteX15" fmla="*/ 3828256 w 12149688"/>
                <a:gd name="connsiteY15" fmla="*/ 13245188 h 15946069"/>
                <a:gd name="connsiteX16" fmla="*/ 4768739 w 12149688"/>
                <a:gd name="connsiteY16" fmla="*/ 13040205 h 15946069"/>
                <a:gd name="connsiteX17" fmla="*/ 5190751 w 12149688"/>
                <a:gd name="connsiteY17" fmla="*/ 13649115 h 15946069"/>
                <a:gd name="connsiteX18" fmla="*/ 5932290 w 12149688"/>
                <a:gd name="connsiteY18" fmla="*/ 13444132 h 15946069"/>
                <a:gd name="connsiteX19" fmla="*/ 6498992 w 12149688"/>
                <a:gd name="connsiteY19" fmla="*/ 12991975 h 15946069"/>
                <a:gd name="connsiteX20" fmla="*/ 7373161 w 12149688"/>
                <a:gd name="connsiteY20" fmla="*/ 13582800 h 15946069"/>
                <a:gd name="connsiteX21" fmla="*/ 8512588 w 12149688"/>
                <a:gd name="connsiteY21" fmla="*/ 13570738 h 15946069"/>
                <a:gd name="connsiteX22" fmla="*/ 9742454 w 12149688"/>
                <a:gd name="connsiteY22" fmla="*/ 14004811 h 15946069"/>
                <a:gd name="connsiteX23" fmla="*/ 10616683 w 12149688"/>
                <a:gd name="connsiteY23" fmla="*/ 15358294 h 15946069"/>
                <a:gd name="connsiteX24" fmla="*/ 11117010 w 12149688"/>
                <a:gd name="connsiteY24" fmla="*/ 15946069 h 15946069"/>
                <a:gd name="connsiteX25" fmla="*/ 11780218 w 12149688"/>
                <a:gd name="connsiteY25" fmla="*/ 13579811 h 15946069"/>
                <a:gd name="connsiteX26" fmla="*/ 8823707 w 12149688"/>
                <a:gd name="connsiteY26" fmla="*/ 11436049 h 15946069"/>
                <a:gd name="connsiteX27" fmla="*/ 11899987 w 12149688"/>
                <a:gd name="connsiteY27" fmla="*/ 10752355 h 15946069"/>
                <a:gd name="connsiteX28" fmla="*/ 11893530 w 12149688"/>
                <a:gd name="connsiteY28" fmla="*/ 10283919 h 15946069"/>
                <a:gd name="connsiteX29" fmla="*/ 11533930 w 12149688"/>
                <a:gd name="connsiteY29" fmla="*/ 9393151 h 15946069"/>
                <a:gd name="connsiteX30" fmla="*/ 11668657 w 12149688"/>
                <a:gd name="connsiteY30" fmla="*/ 8754316 h 15946069"/>
                <a:gd name="connsiteX31" fmla="*/ 12149687 w 12149688"/>
                <a:gd name="connsiteY31" fmla="*/ 8101619 h 15946069"/>
                <a:gd name="connsiteX32" fmla="*/ 11118705 w 12149688"/>
                <a:gd name="connsiteY32" fmla="*/ 7156845 h 15946069"/>
                <a:gd name="connsiteX33" fmla="*/ 10425568 w 12149688"/>
                <a:gd name="connsiteY33" fmla="*/ 7223642 h 15946069"/>
                <a:gd name="connsiteX34" fmla="*/ 10709437 w 12149688"/>
                <a:gd name="connsiteY34" fmla="*/ 6730245 h 15946069"/>
                <a:gd name="connsiteX35" fmla="*/ 10017677 w 12149688"/>
                <a:gd name="connsiteY35" fmla="*/ 5883475 h 15946069"/>
                <a:gd name="connsiteX36" fmla="*/ 9318595 w 12149688"/>
                <a:gd name="connsiteY36" fmla="*/ 5859197 h 15946069"/>
                <a:gd name="connsiteX37" fmla="*/ 9215073 w 12149688"/>
                <a:gd name="connsiteY37" fmla="*/ 5387392 h 15946069"/>
                <a:gd name="connsiteX38" fmla="*/ 8600211 w 12149688"/>
                <a:gd name="connsiteY38" fmla="*/ 5564744 h 15946069"/>
                <a:gd name="connsiteX39" fmla="*/ 8412926 w 12149688"/>
                <a:gd name="connsiteY39" fmla="*/ 4835463 h 15946069"/>
                <a:gd name="connsiteX40" fmla="*/ 7744624 w 12149688"/>
                <a:gd name="connsiteY40" fmla="*/ 4382387 h 15946069"/>
                <a:gd name="connsiteX41" fmla="*/ 8112983 w 12149688"/>
                <a:gd name="connsiteY41" fmla="*/ 3770361 h 15946069"/>
                <a:gd name="connsiteX42" fmla="*/ 7637793 w 12149688"/>
                <a:gd name="connsiteY42" fmla="*/ 2526072 h 15946069"/>
                <a:gd name="connsiteX43" fmla="*/ 7264687 w 12149688"/>
                <a:gd name="connsiteY43" fmla="*/ 2131091 h 15946069"/>
                <a:gd name="connsiteX44" fmla="*/ 6594245 w 12149688"/>
                <a:gd name="connsiteY44" fmla="*/ 2055834 h 15946069"/>
                <a:gd name="connsiteX45" fmla="*/ 6431470 w 12149688"/>
                <a:gd name="connsiteY45" fmla="*/ 1314295 h 15946069"/>
                <a:gd name="connsiteX46" fmla="*/ 5642908 w 12149688"/>
                <a:gd name="connsiteY46" fmla="*/ 1343233 h 15946069"/>
                <a:gd name="connsiteX47" fmla="*/ 5150959 w 12149688"/>
                <a:gd name="connsiteY47" fmla="*/ 1610907 h 15946069"/>
                <a:gd name="connsiteX48" fmla="*/ 5480133 w 12149688"/>
                <a:gd name="connsiteY48" fmla="*/ 2167963 h 15946069"/>
                <a:gd name="connsiteX49" fmla="*/ 4742216 w 12149688"/>
                <a:gd name="connsiteY49" fmla="*/ 2862495 h 15946069"/>
                <a:gd name="connsiteX50" fmla="*/ 2658667 w 12149688"/>
                <a:gd name="connsiteY50" fmla="*/ 0 h 15946069"/>
                <a:gd name="connsiteX51" fmla="*/ 2658682 w 12149688"/>
                <a:gd name="connsiteY51" fmla="*/ 1018890 h 15946069"/>
                <a:gd name="connsiteX52" fmla="*/ 1850829 w 12149688"/>
                <a:gd name="connsiteY52" fmla="*/ 1730283 h 15946069"/>
                <a:gd name="connsiteX53" fmla="*/ 1404694 w 12149688"/>
                <a:gd name="connsiteY53" fmla="*/ 2272862 h 15946069"/>
                <a:gd name="connsiteX54" fmla="*/ 2351216 w 12149688"/>
                <a:gd name="connsiteY54" fmla="*/ 3388182 h 15946069"/>
                <a:gd name="connsiteX55" fmla="*/ 2658682 w 12149688"/>
                <a:gd name="connsiteY55" fmla="*/ 4286458 h 15946069"/>
                <a:gd name="connsiteX56" fmla="*/ 1935228 w 12149688"/>
                <a:gd name="connsiteY56" fmla="*/ 5220918 h 15946069"/>
                <a:gd name="connsiteX57" fmla="*/ 875281 w 12149688"/>
                <a:gd name="connsiteY57" fmla="*/ 5166646 h 15946069"/>
                <a:gd name="connsiteX58" fmla="*/ 0 w 12149688"/>
                <a:gd name="connsiteY58" fmla="*/ 5890112 h 15946069"/>
                <a:gd name="connsiteX59" fmla="*/ 72345 w 12149688"/>
                <a:gd name="connsiteY59" fmla="*/ 6921032 h 15946069"/>
                <a:gd name="connsiteX60" fmla="*/ 477776 w 12149688"/>
                <a:gd name="connsiteY60" fmla="*/ 7436569 h 15946069"/>
                <a:gd name="connsiteX0" fmla="*/ 477776 w 12149688"/>
                <a:gd name="connsiteY0" fmla="*/ 7436569 h 15946069"/>
                <a:gd name="connsiteX1" fmla="*/ 271294 w 12149688"/>
                <a:gd name="connsiteY1" fmla="*/ 8060457 h 15946069"/>
                <a:gd name="connsiteX2" fmla="*/ 379812 w 12149688"/>
                <a:gd name="connsiteY2" fmla="*/ 8675382 h 15946069"/>
                <a:gd name="connsiteX3" fmla="*/ 759624 w 12149688"/>
                <a:gd name="connsiteY3" fmla="*/ 9217969 h 15946069"/>
                <a:gd name="connsiteX4" fmla="*/ 687278 w 12149688"/>
                <a:gd name="connsiteY4" fmla="*/ 9670126 h 15946069"/>
                <a:gd name="connsiteX5" fmla="*/ 144687 w 12149688"/>
                <a:gd name="connsiteY5" fmla="*/ 9941420 h 15946069"/>
                <a:gd name="connsiteX6" fmla="*/ 343643 w 12149688"/>
                <a:gd name="connsiteY6" fmla="*/ 10592536 h 15946069"/>
                <a:gd name="connsiteX7" fmla="*/ 940487 w 12149688"/>
                <a:gd name="connsiteY7" fmla="*/ 10954252 h 15946069"/>
                <a:gd name="connsiteX8" fmla="*/ 596844 w 12149688"/>
                <a:gd name="connsiteY8" fmla="*/ 11786221 h 15946069"/>
                <a:gd name="connsiteX9" fmla="*/ 633017 w 12149688"/>
                <a:gd name="connsiteY9" fmla="*/ 12780969 h 15946069"/>
                <a:gd name="connsiteX10" fmla="*/ 198944 w 12149688"/>
                <a:gd name="connsiteY10" fmla="*/ 13341645 h 15946069"/>
                <a:gd name="connsiteX11" fmla="*/ 723451 w 12149688"/>
                <a:gd name="connsiteY11" fmla="*/ 13757629 h 15946069"/>
                <a:gd name="connsiteX12" fmla="*/ 1640036 w 12149688"/>
                <a:gd name="connsiteY12" fmla="*/ 13197151 h 15946069"/>
                <a:gd name="connsiteX13" fmla="*/ 1880971 w 12149688"/>
                <a:gd name="connsiteY13" fmla="*/ 13395906 h 15946069"/>
                <a:gd name="connsiteX14" fmla="*/ 2930086 w 12149688"/>
                <a:gd name="connsiteY14" fmla="*/ 12952832 h 15946069"/>
                <a:gd name="connsiteX15" fmla="*/ 3828256 w 12149688"/>
                <a:gd name="connsiteY15" fmla="*/ 13245188 h 15946069"/>
                <a:gd name="connsiteX16" fmla="*/ 4768739 w 12149688"/>
                <a:gd name="connsiteY16" fmla="*/ 13040205 h 15946069"/>
                <a:gd name="connsiteX17" fmla="*/ 5190751 w 12149688"/>
                <a:gd name="connsiteY17" fmla="*/ 13649115 h 15946069"/>
                <a:gd name="connsiteX18" fmla="*/ 5932290 w 12149688"/>
                <a:gd name="connsiteY18" fmla="*/ 13444132 h 15946069"/>
                <a:gd name="connsiteX19" fmla="*/ 6498992 w 12149688"/>
                <a:gd name="connsiteY19" fmla="*/ 12991975 h 15946069"/>
                <a:gd name="connsiteX20" fmla="*/ 7373161 w 12149688"/>
                <a:gd name="connsiteY20" fmla="*/ 13582800 h 15946069"/>
                <a:gd name="connsiteX21" fmla="*/ 8512588 w 12149688"/>
                <a:gd name="connsiteY21" fmla="*/ 13570738 h 15946069"/>
                <a:gd name="connsiteX22" fmla="*/ 9742454 w 12149688"/>
                <a:gd name="connsiteY22" fmla="*/ 14004811 h 15946069"/>
                <a:gd name="connsiteX23" fmla="*/ 10616683 w 12149688"/>
                <a:gd name="connsiteY23" fmla="*/ 15358294 h 15946069"/>
                <a:gd name="connsiteX24" fmla="*/ 11117010 w 12149688"/>
                <a:gd name="connsiteY24" fmla="*/ 15946069 h 15946069"/>
                <a:gd name="connsiteX25" fmla="*/ 11780218 w 12149688"/>
                <a:gd name="connsiteY25" fmla="*/ 13579811 h 15946069"/>
                <a:gd name="connsiteX26" fmla="*/ 11980885 w 12149688"/>
                <a:gd name="connsiteY26" fmla="*/ 11483773 h 15946069"/>
                <a:gd name="connsiteX27" fmla="*/ 11899987 w 12149688"/>
                <a:gd name="connsiteY27" fmla="*/ 10752355 h 15946069"/>
                <a:gd name="connsiteX28" fmla="*/ 11893530 w 12149688"/>
                <a:gd name="connsiteY28" fmla="*/ 10283919 h 15946069"/>
                <a:gd name="connsiteX29" fmla="*/ 11533930 w 12149688"/>
                <a:gd name="connsiteY29" fmla="*/ 9393151 h 15946069"/>
                <a:gd name="connsiteX30" fmla="*/ 11668657 w 12149688"/>
                <a:gd name="connsiteY30" fmla="*/ 8754316 h 15946069"/>
                <a:gd name="connsiteX31" fmla="*/ 12149687 w 12149688"/>
                <a:gd name="connsiteY31" fmla="*/ 8101619 h 15946069"/>
                <a:gd name="connsiteX32" fmla="*/ 11118705 w 12149688"/>
                <a:gd name="connsiteY32" fmla="*/ 7156845 h 15946069"/>
                <a:gd name="connsiteX33" fmla="*/ 10425568 w 12149688"/>
                <a:gd name="connsiteY33" fmla="*/ 7223642 h 15946069"/>
                <a:gd name="connsiteX34" fmla="*/ 10709437 w 12149688"/>
                <a:gd name="connsiteY34" fmla="*/ 6730245 h 15946069"/>
                <a:gd name="connsiteX35" fmla="*/ 10017677 w 12149688"/>
                <a:gd name="connsiteY35" fmla="*/ 5883475 h 15946069"/>
                <a:gd name="connsiteX36" fmla="*/ 9318595 w 12149688"/>
                <a:gd name="connsiteY36" fmla="*/ 5859197 h 15946069"/>
                <a:gd name="connsiteX37" fmla="*/ 9215073 w 12149688"/>
                <a:gd name="connsiteY37" fmla="*/ 5387392 h 15946069"/>
                <a:gd name="connsiteX38" fmla="*/ 8600211 w 12149688"/>
                <a:gd name="connsiteY38" fmla="*/ 5564744 h 15946069"/>
                <a:gd name="connsiteX39" fmla="*/ 8412926 w 12149688"/>
                <a:gd name="connsiteY39" fmla="*/ 4835463 h 15946069"/>
                <a:gd name="connsiteX40" fmla="*/ 7744624 w 12149688"/>
                <a:gd name="connsiteY40" fmla="*/ 4382387 h 15946069"/>
                <a:gd name="connsiteX41" fmla="*/ 8112983 w 12149688"/>
                <a:gd name="connsiteY41" fmla="*/ 3770361 h 15946069"/>
                <a:gd name="connsiteX42" fmla="*/ 7637793 w 12149688"/>
                <a:gd name="connsiteY42" fmla="*/ 2526072 h 15946069"/>
                <a:gd name="connsiteX43" fmla="*/ 7264687 w 12149688"/>
                <a:gd name="connsiteY43" fmla="*/ 2131091 h 15946069"/>
                <a:gd name="connsiteX44" fmla="*/ 6594245 w 12149688"/>
                <a:gd name="connsiteY44" fmla="*/ 2055834 h 15946069"/>
                <a:gd name="connsiteX45" fmla="*/ 6431470 w 12149688"/>
                <a:gd name="connsiteY45" fmla="*/ 1314295 h 15946069"/>
                <a:gd name="connsiteX46" fmla="*/ 5642908 w 12149688"/>
                <a:gd name="connsiteY46" fmla="*/ 1343233 h 15946069"/>
                <a:gd name="connsiteX47" fmla="*/ 5150959 w 12149688"/>
                <a:gd name="connsiteY47" fmla="*/ 1610907 h 15946069"/>
                <a:gd name="connsiteX48" fmla="*/ 5480133 w 12149688"/>
                <a:gd name="connsiteY48" fmla="*/ 2167963 h 15946069"/>
                <a:gd name="connsiteX49" fmla="*/ 4742216 w 12149688"/>
                <a:gd name="connsiteY49" fmla="*/ 2862495 h 15946069"/>
                <a:gd name="connsiteX50" fmla="*/ 2658667 w 12149688"/>
                <a:gd name="connsiteY50" fmla="*/ 0 h 15946069"/>
                <a:gd name="connsiteX51" fmla="*/ 2658682 w 12149688"/>
                <a:gd name="connsiteY51" fmla="*/ 1018890 h 15946069"/>
                <a:gd name="connsiteX52" fmla="*/ 1850829 w 12149688"/>
                <a:gd name="connsiteY52" fmla="*/ 1730283 h 15946069"/>
                <a:gd name="connsiteX53" fmla="*/ 1404694 w 12149688"/>
                <a:gd name="connsiteY53" fmla="*/ 2272862 h 15946069"/>
                <a:gd name="connsiteX54" fmla="*/ 2351216 w 12149688"/>
                <a:gd name="connsiteY54" fmla="*/ 3388182 h 15946069"/>
                <a:gd name="connsiteX55" fmla="*/ 2658682 w 12149688"/>
                <a:gd name="connsiteY55" fmla="*/ 4286458 h 15946069"/>
                <a:gd name="connsiteX56" fmla="*/ 1935228 w 12149688"/>
                <a:gd name="connsiteY56" fmla="*/ 5220918 h 15946069"/>
                <a:gd name="connsiteX57" fmla="*/ 875281 w 12149688"/>
                <a:gd name="connsiteY57" fmla="*/ 5166646 h 15946069"/>
                <a:gd name="connsiteX58" fmla="*/ 0 w 12149688"/>
                <a:gd name="connsiteY58" fmla="*/ 5890112 h 15946069"/>
                <a:gd name="connsiteX59" fmla="*/ 72345 w 12149688"/>
                <a:gd name="connsiteY59" fmla="*/ 6921032 h 15946069"/>
                <a:gd name="connsiteX60" fmla="*/ 477776 w 12149688"/>
                <a:gd name="connsiteY60" fmla="*/ 7436569 h 15946069"/>
                <a:gd name="connsiteX0" fmla="*/ 477776 w 12149688"/>
                <a:gd name="connsiteY0" fmla="*/ 7436569 h 15946069"/>
                <a:gd name="connsiteX1" fmla="*/ 271294 w 12149688"/>
                <a:gd name="connsiteY1" fmla="*/ 8060457 h 15946069"/>
                <a:gd name="connsiteX2" fmla="*/ 379812 w 12149688"/>
                <a:gd name="connsiteY2" fmla="*/ 8675382 h 15946069"/>
                <a:gd name="connsiteX3" fmla="*/ 759624 w 12149688"/>
                <a:gd name="connsiteY3" fmla="*/ 9217969 h 15946069"/>
                <a:gd name="connsiteX4" fmla="*/ 687278 w 12149688"/>
                <a:gd name="connsiteY4" fmla="*/ 9670126 h 15946069"/>
                <a:gd name="connsiteX5" fmla="*/ 144687 w 12149688"/>
                <a:gd name="connsiteY5" fmla="*/ 9941420 h 15946069"/>
                <a:gd name="connsiteX6" fmla="*/ 343643 w 12149688"/>
                <a:gd name="connsiteY6" fmla="*/ 10592536 h 15946069"/>
                <a:gd name="connsiteX7" fmla="*/ 940487 w 12149688"/>
                <a:gd name="connsiteY7" fmla="*/ 10954252 h 15946069"/>
                <a:gd name="connsiteX8" fmla="*/ 596844 w 12149688"/>
                <a:gd name="connsiteY8" fmla="*/ 11786221 h 15946069"/>
                <a:gd name="connsiteX9" fmla="*/ 633017 w 12149688"/>
                <a:gd name="connsiteY9" fmla="*/ 12780969 h 15946069"/>
                <a:gd name="connsiteX10" fmla="*/ 198944 w 12149688"/>
                <a:gd name="connsiteY10" fmla="*/ 13341645 h 15946069"/>
                <a:gd name="connsiteX11" fmla="*/ 723451 w 12149688"/>
                <a:gd name="connsiteY11" fmla="*/ 13757629 h 15946069"/>
                <a:gd name="connsiteX12" fmla="*/ 1640036 w 12149688"/>
                <a:gd name="connsiteY12" fmla="*/ 13197151 h 15946069"/>
                <a:gd name="connsiteX13" fmla="*/ 1880971 w 12149688"/>
                <a:gd name="connsiteY13" fmla="*/ 13395906 h 15946069"/>
                <a:gd name="connsiteX14" fmla="*/ 2930086 w 12149688"/>
                <a:gd name="connsiteY14" fmla="*/ 12952832 h 15946069"/>
                <a:gd name="connsiteX15" fmla="*/ 3828256 w 12149688"/>
                <a:gd name="connsiteY15" fmla="*/ 13245188 h 15946069"/>
                <a:gd name="connsiteX16" fmla="*/ 4768739 w 12149688"/>
                <a:gd name="connsiteY16" fmla="*/ 13040205 h 15946069"/>
                <a:gd name="connsiteX17" fmla="*/ 5190751 w 12149688"/>
                <a:gd name="connsiteY17" fmla="*/ 13649115 h 15946069"/>
                <a:gd name="connsiteX18" fmla="*/ 5932290 w 12149688"/>
                <a:gd name="connsiteY18" fmla="*/ 13444132 h 15946069"/>
                <a:gd name="connsiteX19" fmla="*/ 6498992 w 12149688"/>
                <a:gd name="connsiteY19" fmla="*/ 12991975 h 15946069"/>
                <a:gd name="connsiteX20" fmla="*/ 7373161 w 12149688"/>
                <a:gd name="connsiteY20" fmla="*/ 13582800 h 15946069"/>
                <a:gd name="connsiteX21" fmla="*/ 8512588 w 12149688"/>
                <a:gd name="connsiteY21" fmla="*/ 13570738 h 15946069"/>
                <a:gd name="connsiteX22" fmla="*/ 9742454 w 12149688"/>
                <a:gd name="connsiteY22" fmla="*/ 14004811 h 15946069"/>
                <a:gd name="connsiteX23" fmla="*/ 10616683 w 12149688"/>
                <a:gd name="connsiteY23" fmla="*/ 15358294 h 15946069"/>
                <a:gd name="connsiteX24" fmla="*/ 11117010 w 12149688"/>
                <a:gd name="connsiteY24" fmla="*/ 15946069 h 15946069"/>
                <a:gd name="connsiteX25" fmla="*/ 11589945 w 12149688"/>
                <a:gd name="connsiteY25" fmla="*/ 15762811 h 15946069"/>
                <a:gd name="connsiteX26" fmla="*/ 11980885 w 12149688"/>
                <a:gd name="connsiteY26" fmla="*/ 11483773 h 15946069"/>
                <a:gd name="connsiteX27" fmla="*/ 11899987 w 12149688"/>
                <a:gd name="connsiteY27" fmla="*/ 10752355 h 15946069"/>
                <a:gd name="connsiteX28" fmla="*/ 11893530 w 12149688"/>
                <a:gd name="connsiteY28" fmla="*/ 10283919 h 15946069"/>
                <a:gd name="connsiteX29" fmla="*/ 11533930 w 12149688"/>
                <a:gd name="connsiteY29" fmla="*/ 9393151 h 15946069"/>
                <a:gd name="connsiteX30" fmla="*/ 11668657 w 12149688"/>
                <a:gd name="connsiteY30" fmla="*/ 8754316 h 15946069"/>
                <a:gd name="connsiteX31" fmla="*/ 12149687 w 12149688"/>
                <a:gd name="connsiteY31" fmla="*/ 8101619 h 15946069"/>
                <a:gd name="connsiteX32" fmla="*/ 11118705 w 12149688"/>
                <a:gd name="connsiteY32" fmla="*/ 7156845 h 15946069"/>
                <a:gd name="connsiteX33" fmla="*/ 10425568 w 12149688"/>
                <a:gd name="connsiteY33" fmla="*/ 7223642 h 15946069"/>
                <a:gd name="connsiteX34" fmla="*/ 10709437 w 12149688"/>
                <a:gd name="connsiteY34" fmla="*/ 6730245 h 15946069"/>
                <a:gd name="connsiteX35" fmla="*/ 10017677 w 12149688"/>
                <a:gd name="connsiteY35" fmla="*/ 5883475 h 15946069"/>
                <a:gd name="connsiteX36" fmla="*/ 9318595 w 12149688"/>
                <a:gd name="connsiteY36" fmla="*/ 5859197 h 15946069"/>
                <a:gd name="connsiteX37" fmla="*/ 9215073 w 12149688"/>
                <a:gd name="connsiteY37" fmla="*/ 5387392 h 15946069"/>
                <a:gd name="connsiteX38" fmla="*/ 8600211 w 12149688"/>
                <a:gd name="connsiteY38" fmla="*/ 5564744 h 15946069"/>
                <a:gd name="connsiteX39" fmla="*/ 8412926 w 12149688"/>
                <a:gd name="connsiteY39" fmla="*/ 4835463 h 15946069"/>
                <a:gd name="connsiteX40" fmla="*/ 7744624 w 12149688"/>
                <a:gd name="connsiteY40" fmla="*/ 4382387 h 15946069"/>
                <a:gd name="connsiteX41" fmla="*/ 8112983 w 12149688"/>
                <a:gd name="connsiteY41" fmla="*/ 3770361 h 15946069"/>
                <a:gd name="connsiteX42" fmla="*/ 7637793 w 12149688"/>
                <a:gd name="connsiteY42" fmla="*/ 2526072 h 15946069"/>
                <a:gd name="connsiteX43" fmla="*/ 7264687 w 12149688"/>
                <a:gd name="connsiteY43" fmla="*/ 2131091 h 15946069"/>
                <a:gd name="connsiteX44" fmla="*/ 6594245 w 12149688"/>
                <a:gd name="connsiteY44" fmla="*/ 2055834 h 15946069"/>
                <a:gd name="connsiteX45" fmla="*/ 6431470 w 12149688"/>
                <a:gd name="connsiteY45" fmla="*/ 1314295 h 15946069"/>
                <a:gd name="connsiteX46" fmla="*/ 5642908 w 12149688"/>
                <a:gd name="connsiteY46" fmla="*/ 1343233 h 15946069"/>
                <a:gd name="connsiteX47" fmla="*/ 5150959 w 12149688"/>
                <a:gd name="connsiteY47" fmla="*/ 1610907 h 15946069"/>
                <a:gd name="connsiteX48" fmla="*/ 5480133 w 12149688"/>
                <a:gd name="connsiteY48" fmla="*/ 2167963 h 15946069"/>
                <a:gd name="connsiteX49" fmla="*/ 4742216 w 12149688"/>
                <a:gd name="connsiteY49" fmla="*/ 2862495 h 15946069"/>
                <a:gd name="connsiteX50" fmla="*/ 2658667 w 12149688"/>
                <a:gd name="connsiteY50" fmla="*/ 0 h 15946069"/>
                <a:gd name="connsiteX51" fmla="*/ 2658682 w 12149688"/>
                <a:gd name="connsiteY51" fmla="*/ 1018890 h 15946069"/>
                <a:gd name="connsiteX52" fmla="*/ 1850829 w 12149688"/>
                <a:gd name="connsiteY52" fmla="*/ 1730283 h 15946069"/>
                <a:gd name="connsiteX53" fmla="*/ 1404694 w 12149688"/>
                <a:gd name="connsiteY53" fmla="*/ 2272862 h 15946069"/>
                <a:gd name="connsiteX54" fmla="*/ 2351216 w 12149688"/>
                <a:gd name="connsiteY54" fmla="*/ 3388182 h 15946069"/>
                <a:gd name="connsiteX55" fmla="*/ 2658682 w 12149688"/>
                <a:gd name="connsiteY55" fmla="*/ 4286458 h 15946069"/>
                <a:gd name="connsiteX56" fmla="*/ 1935228 w 12149688"/>
                <a:gd name="connsiteY56" fmla="*/ 5220918 h 15946069"/>
                <a:gd name="connsiteX57" fmla="*/ 875281 w 12149688"/>
                <a:gd name="connsiteY57" fmla="*/ 5166646 h 15946069"/>
                <a:gd name="connsiteX58" fmla="*/ 0 w 12149688"/>
                <a:gd name="connsiteY58" fmla="*/ 5890112 h 15946069"/>
                <a:gd name="connsiteX59" fmla="*/ 72345 w 12149688"/>
                <a:gd name="connsiteY59" fmla="*/ 6921032 h 15946069"/>
                <a:gd name="connsiteX60" fmla="*/ 477776 w 12149688"/>
                <a:gd name="connsiteY60" fmla="*/ 7436569 h 15946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2149688" h="15946069">
                  <a:moveTo>
                    <a:pt x="477776" y="7436569"/>
                  </a:moveTo>
                  <a:lnTo>
                    <a:pt x="271294" y="8060457"/>
                  </a:lnTo>
                  <a:lnTo>
                    <a:pt x="379812" y="8675382"/>
                  </a:lnTo>
                  <a:lnTo>
                    <a:pt x="759624" y="9217969"/>
                  </a:lnTo>
                  <a:lnTo>
                    <a:pt x="687278" y="9670126"/>
                  </a:lnTo>
                  <a:lnTo>
                    <a:pt x="144687" y="9941420"/>
                  </a:lnTo>
                  <a:lnTo>
                    <a:pt x="343643" y="10592536"/>
                  </a:lnTo>
                  <a:lnTo>
                    <a:pt x="940487" y="10954252"/>
                  </a:lnTo>
                  <a:lnTo>
                    <a:pt x="596844" y="11786221"/>
                  </a:lnTo>
                  <a:lnTo>
                    <a:pt x="633017" y="12780969"/>
                  </a:lnTo>
                  <a:lnTo>
                    <a:pt x="198944" y="13341645"/>
                  </a:lnTo>
                  <a:lnTo>
                    <a:pt x="723451" y="13757629"/>
                  </a:lnTo>
                  <a:lnTo>
                    <a:pt x="1640036" y="13197151"/>
                  </a:lnTo>
                  <a:lnTo>
                    <a:pt x="1880971" y="13395906"/>
                  </a:lnTo>
                  <a:lnTo>
                    <a:pt x="2930086" y="12952832"/>
                  </a:lnTo>
                  <a:lnTo>
                    <a:pt x="3828256" y="13245188"/>
                  </a:lnTo>
                  <a:lnTo>
                    <a:pt x="4768739" y="13040205"/>
                  </a:lnTo>
                  <a:lnTo>
                    <a:pt x="5190751" y="13649115"/>
                  </a:lnTo>
                  <a:lnTo>
                    <a:pt x="5932290" y="13444132"/>
                  </a:lnTo>
                  <a:lnTo>
                    <a:pt x="6498992" y="12991975"/>
                  </a:lnTo>
                  <a:lnTo>
                    <a:pt x="7373161" y="13582800"/>
                  </a:lnTo>
                  <a:lnTo>
                    <a:pt x="8512588" y="13570738"/>
                  </a:lnTo>
                  <a:lnTo>
                    <a:pt x="9742454" y="14004811"/>
                  </a:lnTo>
                  <a:lnTo>
                    <a:pt x="10616683" y="15358294"/>
                  </a:lnTo>
                  <a:lnTo>
                    <a:pt x="11117010" y="15946069"/>
                  </a:lnTo>
                  <a:lnTo>
                    <a:pt x="11589945" y="15762811"/>
                  </a:lnTo>
                  <a:lnTo>
                    <a:pt x="11980885" y="11483773"/>
                  </a:lnTo>
                  <a:lnTo>
                    <a:pt x="11899987" y="10752355"/>
                  </a:lnTo>
                  <a:cubicBezTo>
                    <a:pt x="11897835" y="10596210"/>
                    <a:pt x="11895682" y="10440064"/>
                    <a:pt x="11893530" y="10283919"/>
                  </a:cubicBezTo>
                  <a:lnTo>
                    <a:pt x="11533930" y="9393151"/>
                  </a:lnTo>
                  <a:lnTo>
                    <a:pt x="11668657" y="8754316"/>
                  </a:lnTo>
                  <a:lnTo>
                    <a:pt x="12149687" y="8101619"/>
                  </a:lnTo>
                  <a:lnTo>
                    <a:pt x="11118705" y="7156845"/>
                  </a:lnTo>
                  <a:lnTo>
                    <a:pt x="10425568" y="7223642"/>
                  </a:lnTo>
                  <a:lnTo>
                    <a:pt x="10709437" y="6730245"/>
                  </a:lnTo>
                  <a:lnTo>
                    <a:pt x="10017677" y="5883475"/>
                  </a:lnTo>
                  <a:lnTo>
                    <a:pt x="9318595" y="5859197"/>
                  </a:lnTo>
                  <a:lnTo>
                    <a:pt x="9215073" y="5387392"/>
                  </a:lnTo>
                  <a:lnTo>
                    <a:pt x="8600211" y="5564744"/>
                  </a:lnTo>
                  <a:lnTo>
                    <a:pt x="8412926" y="4835463"/>
                  </a:lnTo>
                  <a:lnTo>
                    <a:pt x="7744624" y="4382387"/>
                  </a:lnTo>
                  <a:lnTo>
                    <a:pt x="8112983" y="3770361"/>
                  </a:lnTo>
                  <a:lnTo>
                    <a:pt x="7637793" y="2526072"/>
                  </a:lnTo>
                  <a:lnTo>
                    <a:pt x="7264687" y="2131091"/>
                  </a:lnTo>
                  <a:lnTo>
                    <a:pt x="6594245" y="2055834"/>
                  </a:lnTo>
                  <a:lnTo>
                    <a:pt x="6431470" y="1314295"/>
                  </a:lnTo>
                  <a:lnTo>
                    <a:pt x="5642908" y="1343233"/>
                  </a:lnTo>
                  <a:lnTo>
                    <a:pt x="5150959" y="1610907"/>
                  </a:lnTo>
                  <a:lnTo>
                    <a:pt x="5480133" y="2167963"/>
                  </a:lnTo>
                  <a:lnTo>
                    <a:pt x="4742216" y="2862495"/>
                  </a:lnTo>
                  <a:lnTo>
                    <a:pt x="2658667" y="0"/>
                  </a:lnTo>
                  <a:lnTo>
                    <a:pt x="2658682" y="1018890"/>
                  </a:lnTo>
                  <a:lnTo>
                    <a:pt x="1850829" y="1730283"/>
                  </a:lnTo>
                  <a:lnTo>
                    <a:pt x="1404694" y="2272862"/>
                  </a:lnTo>
                  <a:lnTo>
                    <a:pt x="2351216" y="3388182"/>
                  </a:lnTo>
                  <a:lnTo>
                    <a:pt x="2658682" y="4286458"/>
                  </a:lnTo>
                  <a:lnTo>
                    <a:pt x="1935228" y="5220918"/>
                  </a:lnTo>
                  <a:lnTo>
                    <a:pt x="875281" y="5166646"/>
                  </a:lnTo>
                  <a:lnTo>
                    <a:pt x="0" y="5890112"/>
                  </a:lnTo>
                  <a:lnTo>
                    <a:pt x="72345" y="6921032"/>
                  </a:lnTo>
                  <a:lnTo>
                    <a:pt x="477776" y="7436569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1200" b="1" dirty="0">
                <a:latin typeface="Arial" charset="0"/>
              </a:endParaRPr>
            </a:p>
          </p:txBody>
        </p:sp>
        <p:sp>
          <p:nvSpPr>
            <p:cNvPr id="295" name="任意多边形 114">
              <a:extLst>
                <a:ext uri="{FF2B5EF4-FFF2-40B4-BE49-F238E27FC236}">
                  <a16:creationId xmlns:a16="http://schemas.microsoft.com/office/drawing/2014/main" xmlns="" id="{E6E110D2-6E90-DB4B-9BB4-4E782873FD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5970" y="3854122"/>
              <a:ext cx="2381346" cy="1737972"/>
            </a:xfrm>
            <a:custGeom>
              <a:avLst/>
              <a:gdLst>
                <a:gd name="connsiteX0" fmla="*/ 0 w 17157070"/>
                <a:gd name="connsiteY0" fmla="*/ 4521645 h 12886678"/>
                <a:gd name="connsiteX1" fmla="*/ 613837 w 17157070"/>
                <a:gd name="connsiteY1" fmla="*/ 6900003 h 12886678"/>
                <a:gd name="connsiteX2" fmla="*/ 1518338 w 17157070"/>
                <a:gd name="connsiteY2" fmla="*/ 7768153 h 12886678"/>
                <a:gd name="connsiteX3" fmla="*/ 1735898 w 17157070"/>
                <a:gd name="connsiteY3" fmla="*/ 8600077 h 12886678"/>
                <a:gd name="connsiteX4" fmla="*/ 3137400 w 17157070"/>
                <a:gd name="connsiteY4" fmla="*/ 9124637 h 12886678"/>
                <a:gd name="connsiteX5" fmla="*/ 3453963 w 17157070"/>
                <a:gd name="connsiteY5" fmla="*/ 10481128 h 12886678"/>
                <a:gd name="connsiteX6" fmla="*/ 4168520 w 17157070"/>
                <a:gd name="connsiteY6" fmla="*/ 11855697 h 12886678"/>
                <a:gd name="connsiteX7" fmla="*/ 4162343 w 17157070"/>
                <a:gd name="connsiteY7" fmla="*/ 12886678 h 12886678"/>
                <a:gd name="connsiteX8" fmla="*/ 4605215 w 17157070"/>
                <a:gd name="connsiteY8" fmla="*/ 12802514 h 12886678"/>
                <a:gd name="connsiteX9" fmla="*/ 4840336 w 17157070"/>
                <a:gd name="connsiteY9" fmla="*/ 12513132 h 12886678"/>
                <a:gd name="connsiteX10" fmla="*/ 6070201 w 17157070"/>
                <a:gd name="connsiteY10" fmla="*/ 12531224 h 12886678"/>
                <a:gd name="connsiteX11" fmla="*/ 6884082 w 17157070"/>
                <a:gd name="connsiteY11" fmla="*/ 11934372 h 12886678"/>
                <a:gd name="connsiteX12" fmla="*/ 7716051 w 17157070"/>
                <a:gd name="connsiteY12" fmla="*/ 12259931 h 12886678"/>
                <a:gd name="connsiteX13" fmla="*/ 8584189 w 17157070"/>
                <a:gd name="connsiteY13" fmla="*/ 12060979 h 12886678"/>
                <a:gd name="connsiteX14" fmla="*/ 9289552 w 17157070"/>
                <a:gd name="connsiteY14" fmla="*/ 12259931 h 12886678"/>
                <a:gd name="connsiteX15" fmla="*/ 10139605 w 17157070"/>
                <a:gd name="connsiteY15" fmla="*/ 11862031 h 12886678"/>
                <a:gd name="connsiteX16" fmla="*/ 10664108 w 17157070"/>
                <a:gd name="connsiteY16" fmla="*/ 12079067 h 12886678"/>
                <a:gd name="connsiteX17" fmla="*/ 11387555 w 17157070"/>
                <a:gd name="connsiteY17" fmla="*/ 11988637 h 12886678"/>
                <a:gd name="connsiteX18" fmla="*/ 11966315 w 17157070"/>
                <a:gd name="connsiteY18" fmla="*/ 12712092 h 12886678"/>
                <a:gd name="connsiteX19" fmla="*/ 12942975 w 17157070"/>
                <a:gd name="connsiteY19" fmla="*/ 12476963 h 12886678"/>
                <a:gd name="connsiteX20" fmla="*/ 13575992 w 17157070"/>
                <a:gd name="connsiteY20" fmla="*/ 12874863 h 12886678"/>
                <a:gd name="connsiteX21" fmla="*/ 13973888 w 17157070"/>
                <a:gd name="connsiteY21" fmla="*/ 12784430 h 12886678"/>
                <a:gd name="connsiteX22" fmla="*/ 14028146 w 17157070"/>
                <a:gd name="connsiteY22" fmla="*/ 12241839 h 12886678"/>
                <a:gd name="connsiteX23" fmla="*/ 13594073 w 17157070"/>
                <a:gd name="connsiteY23" fmla="*/ 12187582 h 12886678"/>
                <a:gd name="connsiteX24" fmla="*/ 13612161 w 17157070"/>
                <a:gd name="connsiteY24" fmla="*/ 11500303 h 12886678"/>
                <a:gd name="connsiteX25" fmla="*/ 14190925 w 17157070"/>
                <a:gd name="connsiteY25" fmla="*/ 11355616 h 12886678"/>
                <a:gd name="connsiteX26" fmla="*/ 13865366 w 17157070"/>
                <a:gd name="connsiteY26" fmla="*/ 10885371 h 12886678"/>
                <a:gd name="connsiteX27" fmla="*/ 14136664 w 17157070"/>
                <a:gd name="connsiteY27" fmla="*/ 10487475 h 12886678"/>
                <a:gd name="connsiteX28" fmla="*/ 14703435 w 17157070"/>
                <a:gd name="connsiteY28" fmla="*/ 10514571 h 12886678"/>
                <a:gd name="connsiteX29" fmla="*/ 14661163 w 17157070"/>
                <a:gd name="connsiteY29" fmla="*/ 10342787 h 12886678"/>
                <a:gd name="connsiteX30" fmla="*/ 14335608 w 17157070"/>
                <a:gd name="connsiteY30" fmla="*/ 10180012 h 12886678"/>
                <a:gd name="connsiteX31" fmla="*/ 14498387 w 17157070"/>
                <a:gd name="connsiteY31" fmla="*/ 9601248 h 12886678"/>
                <a:gd name="connsiteX32" fmla="*/ 13847278 w 17157070"/>
                <a:gd name="connsiteY32" fmla="*/ 8696934 h 12886678"/>
                <a:gd name="connsiteX33" fmla="*/ 13340864 w 17157070"/>
                <a:gd name="connsiteY33" fmla="*/ 7991571 h 12886678"/>
                <a:gd name="connsiteX34" fmla="*/ 13123831 w 17157070"/>
                <a:gd name="connsiteY34" fmla="*/ 6906393 h 12886678"/>
                <a:gd name="connsiteX35" fmla="*/ 13232349 w 17157070"/>
                <a:gd name="connsiteY35" fmla="*/ 6219119 h 12886678"/>
                <a:gd name="connsiteX36" fmla="*/ 12273778 w 17157070"/>
                <a:gd name="connsiteY36" fmla="*/ 6252280 h 12886678"/>
                <a:gd name="connsiteX37" fmla="*/ 12201432 w 17157070"/>
                <a:gd name="connsiteY37" fmla="*/ 5854380 h 12886678"/>
                <a:gd name="connsiteX38" fmla="*/ 12508887 w 17157070"/>
                <a:gd name="connsiteY38" fmla="*/ 5350985 h 12886678"/>
                <a:gd name="connsiteX39" fmla="*/ 13774933 w 17157070"/>
                <a:gd name="connsiteY39" fmla="*/ 4573269 h 12886678"/>
                <a:gd name="connsiteX40" fmla="*/ 15294184 w 17157070"/>
                <a:gd name="connsiteY40" fmla="*/ 4066854 h 12886678"/>
                <a:gd name="connsiteX41" fmla="*/ 15746333 w 17157070"/>
                <a:gd name="connsiteY41" fmla="*/ 4392409 h 12886678"/>
                <a:gd name="connsiteX42" fmla="*/ 16578306 w 17157070"/>
                <a:gd name="connsiteY42" fmla="*/ 4103027 h 12886678"/>
                <a:gd name="connsiteX43" fmla="*/ 17084732 w 17157070"/>
                <a:gd name="connsiteY43" fmla="*/ 4500935 h 12886678"/>
                <a:gd name="connsiteX44" fmla="*/ 17157070 w 17157070"/>
                <a:gd name="connsiteY44" fmla="*/ 3560444 h 12886678"/>
                <a:gd name="connsiteX45" fmla="*/ 16433615 w 17157070"/>
                <a:gd name="connsiteY45" fmla="*/ 3470014 h 12886678"/>
                <a:gd name="connsiteX46" fmla="*/ 16415865 w 17157070"/>
                <a:gd name="connsiteY46" fmla="*/ 2853862 h 12886678"/>
                <a:gd name="connsiteX47" fmla="*/ 15963191 w 17157070"/>
                <a:gd name="connsiteY47" fmla="*/ 2993318 h 12886678"/>
                <a:gd name="connsiteX48" fmla="*/ 14923009 w 17157070"/>
                <a:gd name="connsiteY48" fmla="*/ 1763435 h 12886678"/>
                <a:gd name="connsiteX49" fmla="*/ 14244644 w 17157070"/>
                <a:gd name="connsiteY49" fmla="*/ 325540 h 12886678"/>
                <a:gd name="connsiteX50" fmla="*/ 13367278 w 17157070"/>
                <a:gd name="connsiteY50" fmla="*/ 614945 h 12886678"/>
                <a:gd name="connsiteX51" fmla="*/ 12218563 w 17157070"/>
                <a:gd name="connsiteY51" fmla="*/ 623988 h 12886678"/>
                <a:gd name="connsiteX52" fmla="*/ 11323109 w 17157070"/>
                <a:gd name="connsiteY52" fmla="*/ 36169 h 12886678"/>
                <a:gd name="connsiteX53" fmla="*/ 10780410 w 17157070"/>
                <a:gd name="connsiteY53" fmla="*/ 488337 h 12886678"/>
                <a:gd name="connsiteX54" fmla="*/ 10038717 w 17157070"/>
                <a:gd name="connsiteY54" fmla="*/ 687288 h 12886678"/>
                <a:gd name="connsiteX55" fmla="*/ 9622651 w 17157070"/>
                <a:gd name="connsiteY55" fmla="*/ 81389 h 12886678"/>
                <a:gd name="connsiteX56" fmla="*/ 8672925 w 17157070"/>
                <a:gd name="connsiteY56" fmla="*/ 280344 h 12886678"/>
                <a:gd name="connsiteX57" fmla="*/ 7759379 w 17157070"/>
                <a:gd name="connsiteY57" fmla="*/ 0 h 12886678"/>
                <a:gd name="connsiteX58" fmla="*/ 6729494 w 17157070"/>
                <a:gd name="connsiteY58" fmla="*/ 443189 h 12886678"/>
                <a:gd name="connsiteX59" fmla="*/ 6493079 w 17157070"/>
                <a:gd name="connsiteY59" fmla="*/ 1012843 h 12886678"/>
                <a:gd name="connsiteX60" fmla="*/ 6710175 w 17157070"/>
                <a:gd name="connsiteY60" fmla="*/ 2161345 h 12886678"/>
                <a:gd name="connsiteX61" fmla="*/ 4141784 w 17157070"/>
                <a:gd name="connsiteY61" fmla="*/ 2086470 h 12886678"/>
                <a:gd name="connsiteX62" fmla="*/ 2314296 w 17157070"/>
                <a:gd name="connsiteY62" fmla="*/ 2369327 h 12886678"/>
                <a:gd name="connsiteX63" fmla="*/ 1334589 w 17157070"/>
                <a:gd name="connsiteY63" fmla="*/ 3174199 h 12886678"/>
                <a:gd name="connsiteX64" fmla="*/ 0 w 17157070"/>
                <a:gd name="connsiteY64" fmla="*/ 4521645 h 12886678"/>
                <a:gd name="connsiteX0" fmla="*/ 0 w 17157070"/>
                <a:gd name="connsiteY0" fmla="*/ 4521645 h 12886678"/>
                <a:gd name="connsiteX1" fmla="*/ 613837 w 17157070"/>
                <a:gd name="connsiteY1" fmla="*/ 6900003 h 12886678"/>
                <a:gd name="connsiteX2" fmla="*/ 1518338 w 17157070"/>
                <a:gd name="connsiteY2" fmla="*/ 7768153 h 12886678"/>
                <a:gd name="connsiteX3" fmla="*/ 1735898 w 17157070"/>
                <a:gd name="connsiteY3" fmla="*/ 8600077 h 12886678"/>
                <a:gd name="connsiteX4" fmla="*/ 3137400 w 17157070"/>
                <a:gd name="connsiteY4" fmla="*/ 9124637 h 12886678"/>
                <a:gd name="connsiteX5" fmla="*/ 3453963 w 17157070"/>
                <a:gd name="connsiteY5" fmla="*/ 10481128 h 12886678"/>
                <a:gd name="connsiteX6" fmla="*/ 4168520 w 17157070"/>
                <a:gd name="connsiteY6" fmla="*/ 11855697 h 12886678"/>
                <a:gd name="connsiteX7" fmla="*/ 4162343 w 17157070"/>
                <a:gd name="connsiteY7" fmla="*/ 12886678 h 12886678"/>
                <a:gd name="connsiteX8" fmla="*/ 4605215 w 17157070"/>
                <a:gd name="connsiteY8" fmla="*/ 12802514 h 12886678"/>
                <a:gd name="connsiteX9" fmla="*/ 4840336 w 17157070"/>
                <a:gd name="connsiteY9" fmla="*/ 12513132 h 12886678"/>
                <a:gd name="connsiteX10" fmla="*/ 6070201 w 17157070"/>
                <a:gd name="connsiteY10" fmla="*/ 12531224 h 12886678"/>
                <a:gd name="connsiteX11" fmla="*/ 6884082 w 17157070"/>
                <a:gd name="connsiteY11" fmla="*/ 11934372 h 12886678"/>
                <a:gd name="connsiteX12" fmla="*/ 7716051 w 17157070"/>
                <a:gd name="connsiteY12" fmla="*/ 12259931 h 12886678"/>
                <a:gd name="connsiteX13" fmla="*/ 8584189 w 17157070"/>
                <a:gd name="connsiteY13" fmla="*/ 12060979 h 12886678"/>
                <a:gd name="connsiteX14" fmla="*/ 9289552 w 17157070"/>
                <a:gd name="connsiteY14" fmla="*/ 12259931 h 12886678"/>
                <a:gd name="connsiteX15" fmla="*/ 10139605 w 17157070"/>
                <a:gd name="connsiteY15" fmla="*/ 11862031 h 12886678"/>
                <a:gd name="connsiteX16" fmla="*/ 10664108 w 17157070"/>
                <a:gd name="connsiteY16" fmla="*/ 12079067 h 12886678"/>
                <a:gd name="connsiteX17" fmla="*/ 11387555 w 17157070"/>
                <a:gd name="connsiteY17" fmla="*/ 11988637 h 12886678"/>
                <a:gd name="connsiteX18" fmla="*/ 11966315 w 17157070"/>
                <a:gd name="connsiteY18" fmla="*/ 12712092 h 12886678"/>
                <a:gd name="connsiteX19" fmla="*/ 12942975 w 17157070"/>
                <a:gd name="connsiteY19" fmla="*/ 12476963 h 12886678"/>
                <a:gd name="connsiteX20" fmla="*/ 13575992 w 17157070"/>
                <a:gd name="connsiteY20" fmla="*/ 12874863 h 12886678"/>
                <a:gd name="connsiteX21" fmla="*/ 13973888 w 17157070"/>
                <a:gd name="connsiteY21" fmla="*/ 12784430 h 12886678"/>
                <a:gd name="connsiteX22" fmla="*/ 14028146 w 17157070"/>
                <a:gd name="connsiteY22" fmla="*/ 12241839 h 12886678"/>
                <a:gd name="connsiteX23" fmla="*/ 13594073 w 17157070"/>
                <a:gd name="connsiteY23" fmla="*/ 12187582 h 12886678"/>
                <a:gd name="connsiteX24" fmla="*/ 13612161 w 17157070"/>
                <a:gd name="connsiteY24" fmla="*/ 11500303 h 12886678"/>
                <a:gd name="connsiteX25" fmla="*/ 14190925 w 17157070"/>
                <a:gd name="connsiteY25" fmla="*/ 11355616 h 12886678"/>
                <a:gd name="connsiteX26" fmla="*/ 13865366 w 17157070"/>
                <a:gd name="connsiteY26" fmla="*/ 10885371 h 12886678"/>
                <a:gd name="connsiteX27" fmla="*/ 14136664 w 17157070"/>
                <a:gd name="connsiteY27" fmla="*/ 10487475 h 12886678"/>
                <a:gd name="connsiteX28" fmla="*/ 14703435 w 17157070"/>
                <a:gd name="connsiteY28" fmla="*/ 10514571 h 12886678"/>
                <a:gd name="connsiteX29" fmla="*/ 14661163 w 17157070"/>
                <a:gd name="connsiteY29" fmla="*/ 10342787 h 12886678"/>
                <a:gd name="connsiteX30" fmla="*/ 14335608 w 17157070"/>
                <a:gd name="connsiteY30" fmla="*/ 10180012 h 12886678"/>
                <a:gd name="connsiteX31" fmla="*/ 14498387 w 17157070"/>
                <a:gd name="connsiteY31" fmla="*/ 9601248 h 12886678"/>
                <a:gd name="connsiteX32" fmla="*/ 13847278 w 17157070"/>
                <a:gd name="connsiteY32" fmla="*/ 8696934 h 12886678"/>
                <a:gd name="connsiteX33" fmla="*/ 13340864 w 17157070"/>
                <a:gd name="connsiteY33" fmla="*/ 7991571 h 12886678"/>
                <a:gd name="connsiteX34" fmla="*/ 13123831 w 17157070"/>
                <a:gd name="connsiteY34" fmla="*/ 6906393 h 12886678"/>
                <a:gd name="connsiteX35" fmla="*/ 13232349 w 17157070"/>
                <a:gd name="connsiteY35" fmla="*/ 6219119 h 12886678"/>
                <a:gd name="connsiteX36" fmla="*/ 12273778 w 17157070"/>
                <a:gd name="connsiteY36" fmla="*/ 6252280 h 12886678"/>
                <a:gd name="connsiteX37" fmla="*/ 12201432 w 17157070"/>
                <a:gd name="connsiteY37" fmla="*/ 5854380 h 12886678"/>
                <a:gd name="connsiteX38" fmla="*/ 12508887 w 17157070"/>
                <a:gd name="connsiteY38" fmla="*/ 5350985 h 12886678"/>
                <a:gd name="connsiteX39" fmla="*/ 13774933 w 17157070"/>
                <a:gd name="connsiteY39" fmla="*/ 4573269 h 12886678"/>
                <a:gd name="connsiteX40" fmla="*/ 15294184 w 17157070"/>
                <a:gd name="connsiteY40" fmla="*/ 4066854 h 12886678"/>
                <a:gd name="connsiteX41" fmla="*/ 15746333 w 17157070"/>
                <a:gd name="connsiteY41" fmla="*/ 4392409 h 12886678"/>
                <a:gd name="connsiteX42" fmla="*/ 16578306 w 17157070"/>
                <a:gd name="connsiteY42" fmla="*/ 4103027 h 12886678"/>
                <a:gd name="connsiteX43" fmla="*/ 17084732 w 17157070"/>
                <a:gd name="connsiteY43" fmla="*/ 4500935 h 12886678"/>
                <a:gd name="connsiteX44" fmla="*/ 17157070 w 17157070"/>
                <a:gd name="connsiteY44" fmla="*/ 3560444 h 12886678"/>
                <a:gd name="connsiteX45" fmla="*/ 16433615 w 17157070"/>
                <a:gd name="connsiteY45" fmla="*/ 3470014 h 12886678"/>
                <a:gd name="connsiteX46" fmla="*/ 16415865 w 17157070"/>
                <a:gd name="connsiteY46" fmla="*/ 2853862 h 12886678"/>
                <a:gd name="connsiteX47" fmla="*/ 15963191 w 17157070"/>
                <a:gd name="connsiteY47" fmla="*/ 2993318 h 12886678"/>
                <a:gd name="connsiteX48" fmla="*/ 14923009 w 17157070"/>
                <a:gd name="connsiteY48" fmla="*/ 1763435 h 12886678"/>
                <a:gd name="connsiteX49" fmla="*/ 14244644 w 17157070"/>
                <a:gd name="connsiteY49" fmla="*/ 325540 h 12886678"/>
                <a:gd name="connsiteX50" fmla="*/ 13367278 w 17157070"/>
                <a:gd name="connsiteY50" fmla="*/ 614945 h 12886678"/>
                <a:gd name="connsiteX51" fmla="*/ 12218563 w 17157070"/>
                <a:gd name="connsiteY51" fmla="*/ 623988 h 12886678"/>
                <a:gd name="connsiteX52" fmla="*/ 11323109 w 17157070"/>
                <a:gd name="connsiteY52" fmla="*/ 36169 h 12886678"/>
                <a:gd name="connsiteX53" fmla="*/ 10780410 w 17157070"/>
                <a:gd name="connsiteY53" fmla="*/ 488337 h 12886678"/>
                <a:gd name="connsiteX54" fmla="*/ 10038717 w 17157070"/>
                <a:gd name="connsiteY54" fmla="*/ 687288 h 12886678"/>
                <a:gd name="connsiteX55" fmla="*/ 9622651 w 17157070"/>
                <a:gd name="connsiteY55" fmla="*/ 81389 h 12886678"/>
                <a:gd name="connsiteX56" fmla="*/ 8672925 w 17157070"/>
                <a:gd name="connsiteY56" fmla="*/ 280344 h 12886678"/>
                <a:gd name="connsiteX57" fmla="*/ 7759379 w 17157070"/>
                <a:gd name="connsiteY57" fmla="*/ 0 h 12886678"/>
                <a:gd name="connsiteX58" fmla="*/ 6729494 w 17157070"/>
                <a:gd name="connsiteY58" fmla="*/ 443189 h 12886678"/>
                <a:gd name="connsiteX59" fmla="*/ 6493079 w 17157070"/>
                <a:gd name="connsiteY59" fmla="*/ 1012843 h 12886678"/>
                <a:gd name="connsiteX60" fmla="*/ 4437471 w 17157070"/>
                <a:gd name="connsiteY60" fmla="*/ 2805824 h 12886678"/>
                <a:gd name="connsiteX61" fmla="*/ 4141784 w 17157070"/>
                <a:gd name="connsiteY61" fmla="*/ 2086470 h 12886678"/>
                <a:gd name="connsiteX62" fmla="*/ 2314296 w 17157070"/>
                <a:gd name="connsiteY62" fmla="*/ 2369327 h 12886678"/>
                <a:gd name="connsiteX63" fmla="*/ 1334589 w 17157070"/>
                <a:gd name="connsiteY63" fmla="*/ 3174199 h 12886678"/>
                <a:gd name="connsiteX64" fmla="*/ 0 w 17157070"/>
                <a:gd name="connsiteY64" fmla="*/ 4521645 h 12886678"/>
                <a:gd name="connsiteX0" fmla="*/ 0 w 17157070"/>
                <a:gd name="connsiteY0" fmla="*/ 4521645 h 12886678"/>
                <a:gd name="connsiteX1" fmla="*/ 613837 w 17157070"/>
                <a:gd name="connsiteY1" fmla="*/ 6900003 h 12886678"/>
                <a:gd name="connsiteX2" fmla="*/ 1518338 w 17157070"/>
                <a:gd name="connsiteY2" fmla="*/ 7768153 h 12886678"/>
                <a:gd name="connsiteX3" fmla="*/ 1735898 w 17157070"/>
                <a:gd name="connsiteY3" fmla="*/ 8600077 h 12886678"/>
                <a:gd name="connsiteX4" fmla="*/ 3137400 w 17157070"/>
                <a:gd name="connsiteY4" fmla="*/ 9124637 h 12886678"/>
                <a:gd name="connsiteX5" fmla="*/ 3453963 w 17157070"/>
                <a:gd name="connsiteY5" fmla="*/ 10481128 h 12886678"/>
                <a:gd name="connsiteX6" fmla="*/ 4168520 w 17157070"/>
                <a:gd name="connsiteY6" fmla="*/ 11855697 h 12886678"/>
                <a:gd name="connsiteX7" fmla="*/ 4162343 w 17157070"/>
                <a:gd name="connsiteY7" fmla="*/ 12886678 h 12886678"/>
                <a:gd name="connsiteX8" fmla="*/ 4605215 w 17157070"/>
                <a:gd name="connsiteY8" fmla="*/ 12802514 h 12886678"/>
                <a:gd name="connsiteX9" fmla="*/ 4840336 w 17157070"/>
                <a:gd name="connsiteY9" fmla="*/ 12513132 h 12886678"/>
                <a:gd name="connsiteX10" fmla="*/ 6070201 w 17157070"/>
                <a:gd name="connsiteY10" fmla="*/ 12531224 h 12886678"/>
                <a:gd name="connsiteX11" fmla="*/ 6884082 w 17157070"/>
                <a:gd name="connsiteY11" fmla="*/ 11934372 h 12886678"/>
                <a:gd name="connsiteX12" fmla="*/ 7716051 w 17157070"/>
                <a:gd name="connsiteY12" fmla="*/ 12259931 h 12886678"/>
                <a:gd name="connsiteX13" fmla="*/ 8584189 w 17157070"/>
                <a:gd name="connsiteY13" fmla="*/ 12060979 h 12886678"/>
                <a:gd name="connsiteX14" fmla="*/ 9289552 w 17157070"/>
                <a:gd name="connsiteY14" fmla="*/ 12259931 h 12886678"/>
                <a:gd name="connsiteX15" fmla="*/ 10139605 w 17157070"/>
                <a:gd name="connsiteY15" fmla="*/ 11862031 h 12886678"/>
                <a:gd name="connsiteX16" fmla="*/ 10664108 w 17157070"/>
                <a:gd name="connsiteY16" fmla="*/ 12079067 h 12886678"/>
                <a:gd name="connsiteX17" fmla="*/ 11387555 w 17157070"/>
                <a:gd name="connsiteY17" fmla="*/ 11988637 h 12886678"/>
                <a:gd name="connsiteX18" fmla="*/ 11966315 w 17157070"/>
                <a:gd name="connsiteY18" fmla="*/ 12712092 h 12886678"/>
                <a:gd name="connsiteX19" fmla="*/ 12942975 w 17157070"/>
                <a:gd name="connsiteY19" fmla="*/ 12476963 h 12886678"/>
                <a:gd name="connsiteX20" fmla="*/ 13575992 w 17157070"/>
                <a:gd name="connsiteY20" fmla="*/ 12874863 h 12886678"/>
                <a:gd name="connsiteX21" fmla="*/ 13973888 w 17157070"/>
                <a:gd name="connsiteY21" fmla="*/ 12784430 h 12886678"/>
                <a:gd name="connsiteX22" fmla="*/ 14028146 w 17157070"/>
                <a:gd name="connsiteY22" fmla="*/ 12241839 h 12886678"/>
                <a:gd name="connsiteX23" fmla="*/ 13594073 w 17157070"/>
                <a:gd name="connsiteY23" fmla="*/ 12187582 h 12886678"/>
                <a:gd name="connsiteX24" fmla="*/ 13612161 w 17157070"/>
                <a:gd name="connsiteY24" fmla="*/ 11500303 h 12886678"/>
                <a:gd name="connsiteX25" fmla="*/ 14190925 w 17157070"/>
                <a:gd name="connsiteY25" fmla="*/ 11355616 h 12886678"/>
                <a:gd name="connsiteX26" fmla="*/ 13865366 w 17157070"/>
                <a:gd name="connsiteY26" fmla="*/ 10885371 h 12886678"/>
                <a:gd name="connsiteX27" fmla="*/ 14136664 w 17157070"/>
                <a:gd name="connsiteY27" fmla="*/ 10487475 h 12886678"/>
                <a:gd name="connsiteX28" fmla="*/ 14703435 w 17157070"/>
                <a:gd name="connsiteY28" fmla="*/ 10514571 h 12886678"/>
                <a:gd name="connsiteX29" fmla="*/ 14661163 w 17157070"/>
                <a:gd name="connsiteY29" fmla="*/ 10342787 h 12886678"/>
                <a:gd name="connsiteX30" fmla="*/ 14335608 w 17157070"/>
                <a:gd name="connsiteY30" fmla="*/ 10180012 h 12886678"/>
                <a:gd name="connsiteX31" fmla="*/ 14498387 w 17157070"/>
                <a:gd name="connsiteY31" fmla="*/ 9601248 h 12886678"/>
                <a:gd name="connsiteX32" fmla="*/ 13847278 w 17157070"/>
                <a:gd name="connsiteY32" fmla="*/ 8696934 h 12886678"/>
                <a:gd name="connsiteX33" fmla="*/ 13340864 w 17157070"/>
                <a:gd name="connsiteY33" fmla="*/ 7991571 h 12886678"/>
                <a:gd name="connsiteX34" fmla="*/ 13123831 w 17157070"/>
                <a:gd name="connsiteY34" fmla="*/ 6906393 h 12886678"/>
                <a:gd name="connsiteX35" fmla="*/ 13232349 w 17157070"/>
                <a:gd name="connsiteY35" fmla="*/ 6219119 h 12886678"/>
                <a:gd name="connsiteX36" fmla="*/ 12273778 w 17157070"/>
                <a:gd name="connsiteY36" fmla="*/ 6252280 h 12886678"/>
                <a:gd name="connsiteX37" fmla="*/ 12201432 w 17157070"/>
                <a:gd name="connsiteY37" fmla="*/ 5854380 h 12886678"/>
                <a:gd name="connsiteX38" fmla="*/ 12508887 w 17157070"/>
                <a:gd name="connsiteY38" fmla="*/ 5350985 h 12886678"/>
                <a:gd name="connsiteX39" fmla="*/ 13774933 w 17157070"/>
                <a:gd name="connsiteY39" fmla="*/ 4573269 h 12886678"/>
                <a:gd name="connsiteX40" fmla="*/ 15294184 w 17157070"/>
                <a:gd name="connsiteY40" fmla="*/ 4066854 h 12886678"/>
                <a:gd name="connsiteX41" fmla="*/ 15746333 w 17157070"/>
                <a:gd name="connsiteY41" fmla="*/ 4392409 h 12886678"/>
                <a:gd name="connsiteX42" fmla="*/ 16578306 w 17157070"/>
                <a:gd name="connsiteY42" fmla="*/ 4103027 h 12886678"/>
                <a:gd name="connsiteX43" fmla="*/ 17084732 w 17157070"/>
                <a:gd name="connsiteY43" fmla="*/ 4500935 h 12886678"/>
                <a:gd name="connsiteX44" fmla="*/ 17157070 w 17157070"/>
                <a:gd name="connsiteY44" fmla="*/ 3560444 h 12886678"/>
                <a:gd name="connsiteX45" fmla="*/ 16433615 w 17157070"/>
                <a:gd name="connsiteY45" fmla="*/ 3470014 h 12886678"/>
                <a:gd name="connsiteX46" fmla="*/ 16415865 w 17157070"/>
                <a:gd name="connsiteY46" fmla="*/ 2853862 h 12886678"/>
                <a:gd name="connsiteX47" fmla="*/ 15963191 w 17157070"/>
                <a:gd name="connsiteY47" fmla="*/ 2993318 h 12886678"/>
                <a:gd name="connsiteX48" fmla="*/ 14923009 w 17157070"/>
                <a:gd name="connsiteY48" fmla="*/ 1763435 h 12886678"/>
                <a:gd name="connsiteX49" fmla="*/ 14244644 w 17157070"/>
                <a:gd name="connsiteY49" fmla="*/ 325540 h 12886678"/>
                <a:gd name="connsiteX50" fmla="*/ 13367278 w 17157070"/>
                <a:gd name="connsiteY50" fmla="*/ 614945 h 12886678"/>
                <a:gd name="connsiteX51" fmla="*/ 12218563 w 17157070"/>
                <a:gd name="connsiteY51" fmla="*/ 623988 h 12886678"/>
                <a:gd name="connsiteX52" fmla="*/ 11323109 w 17157070"/>
                <a:gd name="connsiteY52" fmla="*/ 36169 h 12886678"/>
                <a:gd name="connsiteX53" fmla="*/ 10780410 w 17157070"/>
                <a:gd name="connsiteY53" fmla="*/ 488337 h 12886678"/>
                <a:gd name="connsiteX54" fmla="*/ 10038717 w 17157070"/>
                <a:gd name="connsiteY54" fmla="*/ 687288 h 12886678"/>
                <a:gd name="connsiteX55" fmla="*/ 9622651 w 17157070"/>
                <a:gd name="connsiteY55" fmla="*/ 81389 h 12886678"/>
                <a:gd name="connsiteX56" fmla="*/ 8672925 w 17157070"/>
                <a:gd name="connsiteY56" fmla="*/ 280344 h 12886678"/>
                <a:gd name="connsiteX57" fmla="*/ 7759379 w 17157070"/>
                <a:gd name="connsiteY57" fmla="*/ 0 h 12886678"/>
                <a:gd name="connsiteX58" fmla="*/ 6729494 w 17157070"/>
                <a:gd name="connsiteY58" fmla="*/ 443189 h 12886678"/>
                <a:gd name="connsiteX59" fmla="*/ 4437471 w 17157070"/>
                <a:gd name="connsiteY59" fmla="*/ 2805824 h 12886678"/>
                <a:gd name="connsiteX60" fmla="*/ 4141784 w 17157070"/>
                <a:gd name="connsiteY60" fmla="*/ 2086470 h 12886678"/>
                <a:gd name="connsiteX61" fmla="*/ 2314296 w 17157070"/>
                <a:gd name="connsiteY61" fmla="*/ 2369327 h 12886678"/>
                <a:gd name="connsiteX62" fmla="*/ 1334589 w 17157070"/>
                <a:gd name="connsiteY62" fmla="*/ 3174199 h 12886678"/>
                <a:gd name="connsiteX63" fmla="*/ 0 w 17157070"/>
                <a:gd name="connsiteY63" fmla="*/ 4521645 h 12886678"/>
                <a:gd name="connsiteX0" fmla="*/ 0 w 17157070"/>
                <a:gd name="connsiteY0" fmla="*/ 4521645 h 12886678"/>
                <a:gd name="connsiteX1" fmla="*/ 613837 w 17157070"/>
                <a:gd name="connsiteY1" fmla="*/ 6900003 h 12886678"/>
                <a:gd name="connsiteX2" fmla="*/ 1518338 w 17157070"/>
                <a:gd name="connsiteY2" fmla="*/ 7768153 h 12886678"/>
                <a:gd name="connsiteX3" fmla="*/ 1735898 w 17157070"/>
                <a:gd name="connsiteY3" fmla="*/ 8600077 h 12886678"/>
                <a:gd name="connsiteX4" fmla="*/ 3137400 w 17157070"/>
                <a:gd name="connsiteY4" fmla="*/ 9124637 h 12886678"/>
                <a:gd name="connsiteX5" fmla="*/ 3453963 w 17157070"/>
                <a:gd name="connsiteY5" fmla="*/ 10481128 h 12886678"/>
                <a:gd name="connsiteX6" fmla="*/ 4168520 w 17157070"/>
                <a:gd name="connsiteY6" fmla="*/ 11855697 h 12886678"/>
                <a:gd name="connsiteX7" fmla="*/ 4162343 w 17157070"/>
                <a:gd name="connsiteY7" fmla="*/ 12886678 h 12886678"/>
                <a:gd name="connsiteX8" fmla="*/ 4605215 w 17157070"/>
                <a:gd name="connsiteY8" fmla="*/ 12802514 h 12886678"/>
                <a:gd name="connsiteX9" fmla="*/ 4840336 w 17157070"/>
                <a:gd name="connsiteY9" fmla="*/ 12513132 h 12886678"/>
                <a:gd name="connsiteX10" fmla="*/ 6070201 w 17157070"/>
                <a:gd name="connsiteY10" fmla="*/ 12531224 h 12886678"/>
                <a:gd name="connsiteX11" fmla="*/ 6884082 w 17157070"/>
                <a:gd name="connsiteY11" fmla="*/ 11934372 h 12886678"/>
                <a:gd name="connsiteX12" fmla="*/ 7716051 w 17157070"/>
                <a:gd name="connsiteY12" fmla="*/ 12259931 h 12886678"/>
                <a:gd name="connsiteX13" fmla="*/ 8584189 w 17157070"/>
                <a:gd name="connsiteY13" fmla="*/ 12060979 h 12886678"/>
                <a:gd name="connsiteX14" fmla="*/ 9289552 w 17157070"/>
                <a:gd name="connsiteY14" fmla="*/ 12259931 h 12886678"/>
                <a:gd name="connsiteX15" fmla="*/ 10139605 w 17157070"/>
                <a:gd name="connsiteY15" fmla="*/ 11862031 h 12886678"/>
                <a:gd name="connsiteX16" fmla="*/ 10664108 w 17157070"/>
                <a:gd name="connsiteY16" fmla="*/ 12079067 h 12886678"/>
                <a:gd name="connsiteX17" fmla="*/ 11387555 w 17157070"/>
                <a:gd name="connsiteY17" fmla="*/ 11988637 h 12886678"/>
                <a:gd name="connsiteX18" fmla="*/ 11966315 w 17157070"/>
                <a:gd name="connsiteY18" fmla="*/ 12712092 h 12886678"/>
                <a:gd name="connsiteX19" fmla="*/ 12942975 w 17157070"/>
                <a:gd name="connsiteY19" fmla="*/ 12476963 h 12886678"/>
                <a:gd name="connsiteX20" fmla="*/ 13575992 w 17157070"/>
                <a:gd name="connsiteY20" fmla="*/ 12874863 h 12886678"/>
                <a:gd name="connsiteX21" fmla="*/ 13973888 w 17157070"/>
                <a:gd name="connsiteY21" fmla="*/ 12784430 h 12886678"/>
                <a:gd name="connsiteX22" fmla="*/ 14028146 w 17157070"/>
                <a:gd name="connsiteY22" fmla="*/ 12241839 h 12886678"/>
                <a:gd name="connsiteX23" fmla="*/ 13594073 w 17157070"/>
                <a:gd name="connsiteY23" fmla="*/ 12187582 h 12886678"/>
                <a:gd name="connsiteX24" fmla="*/ 13612161 w 17157070"/>
                <a:gd name="connsiteY24" fmla="*/ 11500303 h 12886678"/>
                <a:gd name="connsiteX25" fmla="*/ 14190925 w 17157070"/>
                <a:gd name="connsiteY25" fmla="*/ 11355616 h 12886678"/>
                <a:gd name="connsiteX26" fmla="*/ 13865366 w 17157070"/>
                <a:gd name="connsiteY26" fmla="*/ 10885371 h 12886678"/>
                <a:gd name="connsiteX27" fmla="*/ 14136664 w 17157070"/>
                <a:gd name="connsiteY27" fmla="*/ 10487475 h 12886678"/>
                <a:gd name="connsiteX28" fmla="*/ 14703435 w 17157070"/>
                <a:gd name="connsiteY28" fmla="*/ 10514571 h 12886678"/>
                <a:gd name="connsiteX29" fmla="*/ 14661163 w 17157070"/>
                <a:gd name="connsiteY29" fmla="*/ 10342787 h 12886678"/>
                <a:gd name="connsiteX30" fmla="*/ 14335608 w 17157070"/>
                <a:gd name="connsiteY30" fmla="*/ 10180012 h 12886678"/>
                <a:gd name="connsiteX31" fmla="*/ 14498387 w 17157070"/>
                <a:gd name="connsiteY31" fmla="*/ 9601248 h 12886678"/>
                <a:gd name="connsiteX32" fmla="*/ 13847278 w 17157070"/>
                <a:gd name="connsiteY32" fmla="*/ 8696934 h 12886678"/>
                <a:gd name="connsiteX33" fmla="*/ 13340864 w 17157070"/>
                <a:gd name="connsiteY33" fmla="*/ 7991571 h 12886678"/>
                <a:gd name="connsiteX34" fmla="*/ 13123831 w 17157070"/>
                <a:gd name="connsiteY34" fmla="*/ 6906393 h 12886678"/>
                <a:gd name="connsiteX35" fmla="*/ 13232349 w 17157070"/>
                <a:gd name="connsiteY35" fmla="*/ 6219119 h 12886678"/>
                <a:gd name="connsiteX36" fmla="*/ 12273778 w 17157070"/>
                <a:gd name="connsiteY36" fmla="*/ 6252280 h 12886678"/>
                <a:gd name="connsiteX37" fmla="*/ 12201432 w 17157070"/>
                <a:gd name="connsiteY37" fmla="*/ 5854380 h 12886678"/>
                <a:gd name="connsiteX38" fmla="*/ 12508887 w 17157070"/>
                <a:gd name="connsiteY38" fmla="*/ 5350985 h 12886678"/>
                <a:gd name="connsiteX39" fmla="*/ 13774933 w 17157070"/>
                <a:gd name="connsiteY39" fmla="*/ 4573269 h 12886678"/>
                <a:gd name="connsiteX40" fmla="*/ 15294184 w 17157070"/>
                <a:gd name="connsiteY40" fmla="*/ 4066854 h 12886678"/>
                <a:gd name="connsiteX41" fmla="*/ 15746333 w 17157070"/>
                <a:gd name="connsiteY41" fmla="*/ 4392409 h 12886678"/>
                <a:gd name="connsiteX42" fmla="*/ 16578306 w 17157070"/>
                <a:gd name="connsiteY42" fmla="*/ 4103027 h 12886678"/>
                <a:gd name="connsiteX43" fmla="*/ 17084732 w 17157070"/>
                <a:gd name="connsiteY43" fmla="*/ 4500935 h 12886678"/>
                <a:gd name="connsiteX44" fmla="*/ 17157070 w 17157070"/>
                <a:gd name="connsiteY44" fmla="*/ 3560444 h 12886678"/>
                <a:gd name="connsiteX45" fmla="*/ 16433615 w 17157070"/>
                <a:gd name="connsiteY45" fmla="*/ 3470014 h 12886678"/>
                <a:gd name="connsiteX46" fmla="*/ 16415865 w 17157070"/>
                <a:gd name="connsiteY46" fmla="*/ 2853862 h 12886678"/>
                <a:gd name="connsiteX47" fmla="*/ 15963191 w 17157070"/>
                <a:gd name="connsiteY47" fmla="*/ 2993318 h 12886678"/>
                <a:gd name="connsiteX48" fmla="*/ 14923009 w 17157070"/>
                <a:gd name="connsiteY48" fmla="*/ 1763435 h 12886678"/>
                <a:gd name="connsiteX49" fmla="*/ 14244644 w 17157070"/>
                <a:gd name="connsiteY49" fmla="*/ 325540 h 12886678"/>
                <a:gd name="connsiteX50" fmla="*/ 13367278 w 17157070"/>
                <a:gd name="connsiteY50" fmla="*/ 614945 h 12886678"/>
                <a:gd name="connsiteX51" fmla="*/ 12218563 w 17157070"/>
                <a:gd name="connsiteY51" fmla="*/ 623988 h 12886678"/>
                <a:gd name="connsiteX52" fmla="*/ 11323109 w 17157070"/>
                <a:gd name="connsiteY52" fmla="*/ 36169 h 12886678"/>
                <a:gd name="connsiteX53" fmla="*/ 10780410 w 17157070"/>
                <a:gd name="connsiteY53" fmla="*/ 488337 h 12886678"/>
                <a:gd name="connsiteX54" fmla="*/ 10038717 w 17157070"/>
                <a:gd name="connsiteY54" fmla="*/ 687288 h 12886678"/>
                <a:gd name="connsiteX55" fmla="*/ 9622651 w 17157070"/>
                <a:gd name="connsiteY55" fmla="*/ 81389 h 12886678"/>
                <a:gd name="connsiteX56" fmla="*/ 8672925 w 17157070"/>
                <a:gd name="connsiteY56" fmla="*/ 280344 h 12886678"/>
                <a:gd name="connsiteX57" fmla="*/ 7759379 w 17157070"/>
                <a:gd name="connsiteY57" fmla="*/ 0 h 12886678"/>
                <a:gd name="connsiteX58" fmla="*/ 4432864 w 17157070"/>
                <a:gd name="connsiteY58" fmla="*/ 3474612 h 12886678"/>
                <a:gd name="connsiteX59" fmla="*/ 4437471 w 17157070"/>
                <a:gd name="connsiteY59" fmla="*/ 2805824 h 12886678"/>
                <a:gd name="connsiteX60" fmla="*/ 4141784 w 17157070"/>
                <a:gd name="connsiteY60" fmla="*/ 2086470 h 12886678"/>
                <a:gd name="connsiteX61" fmla="*/ 2314296 w 17157070"/>
                <a:gd name="connsiteY61" fmla="*/ 2369327 h 12886678"/>
                <a:gd name="connsiteX62" fmla="*/ 1334589 w 17157070"/>
                <a:gd name="connsiteY62" fmla="*/ 3174199 h 12886678"/>
                <a:gd name="connsiteX63" fmla="*/ 0 w 17157070"/>
                <a:gd name="connsiteY63" fmla="*/ 4521645 h 12886678"/>
                <a:gd name="connsiteX0" fmla="*/ 0 w 17157070"/>
                <a:gd name="connsiteY0" fmla="*/ 4485476 h 12850509"/>
                <a:gd name="connsiteX1" fmla="*/ 613837 w 17157070"/>
                <a:gd name="connsiteY1" fmla="*/ 6863834 h 12850509"/>
                <a:gd name="connsiteX2" fmla="*/ 1518338 w 17157070"/>
                <a:gd name="connsiteY2" fmla="*/ 7731984 h 12850509"/>
                <a:gd name="connsiteX3" fmla="*/ 1735898 w 17157070"/>
                <a:gd name="connsiteY3" fmla="*/ 8563908 h 12850509"/>
                <a:gd name="connsiteX4" fmla="*/ 3137400 w 17157070"/>
                <a:gd name="connsiteY4" fmla="*/ 9088468 h 12850509"/>
                <a:gd name="connsiteX5" fmla="*/ 3453963 w 17157070"/>
                <a:gd name="connsiteY5" fmla="*/ 10444959 h 12850509"/>
                <a:gd name="connsiteX6" fmla="*/ 4168520 w 17157070"/>
                <a:gd name="connsiteY6" fmla="*/ 11819528 h 12850509"/>
                <a:gd name="connsiteX7" fmla="*/ 4162343 w 17157070"/>
                <a:gd name="connsiteY7" fmla="*/ 12850509 h 12850509"/>
                <a:gd name="connsiteX8" fmla="*/ 4605215 w 17157070"/>
                <a:gd name="connsiteY8" fmla="*/ 12766345 h 12850509"/>
                <a:gd name="connsiteX9" fmla="*/ 4840336 w 17157070"/>
                <a:gd name="connsiteY9" fmla="*/ 12476963 h 12850509"/>
                <a:gd name="connsiteX10" fmla="*/ 6070201 w 17157070"/>
                <a:gd name="connsiteY10" fmla="*/ 12495055 h 12850509"/>
                <a:gd name="connsiteX11" fmla="*/ 6884082 w 17157070"/>
                <a:gd name="connsiteY11" fmla="*/ 11898203 h 12850509"/>
                <a:gd name="connsiteX12" fmla="*/ 7716051 w 17157070"/>
                <a:gd name="connsiteY12" fmla="*/ 12223762 h 12850509"/>
                <a:gd name="connsiteX13" fmla="*/ 8584189 w 17157070"/>
                <a:gd name="connsiteY13" fmla="*/ 12024810 h 12850509"/>
                <a:gd name="connsiteX14" fmla="*/ 9289552 w 17157070"/>
                <a:gd name="connsiteY14" fmla="*/ 12223762 h 12850509"/>
                <a:gd name="connsiteX15" fmla="*/ 10139605 w 17157070"/>
                <a:gd name="connsiteY15" fmla="*/ 11825862 h 12850509"/>
                <a:gd name="connsiteX16" fmla="*/ 10664108 w 17157070"/>
                <a:gd name="connsiteY16" fmla="*/ 12042898 h 12850509"/>
                <a:gd name="connsiteX17" fmla="*/ 11387555 w 17157070"/>
                <a:gd name="connsiteY17" fmla="*/ 11952468 h 12850509"/>
                <a:gd name="connsiteX18" fmla="*/ 11966315 w 17157070"/>
                <a:gd name="connsiteY18" fmla="*/ 12675923 h 12850509"/>
                <a:gd name="connsiteX19" fmla="*/ 12942975 w 17157070"/>
                <a:gd name="connsiteY19" fmla="*/ 12440794 h 12850509"/>
                <a:gd name="connsiteX20" fmla="*/ 13575992 w 17157070"/>
                <a:gd name="connsiteY20" fmla="*/ 12838694 h 12850509"/>
                <a:gd name="connsiteX21" fmla="*/ 13973888 w 17157070"/>
                <a:gd name="connsiteY21" fmla="*/ 12748261 h 12850509"/>
                <a:gd name="connsiteX22" fmla="*/ 14028146 w 17157070"/>
                <a:gd name="connsiteY22" fmla="*/ 12205670 h 12850509"/>
                <a:gd name="connsiteX23" fmla="*/ 13594073 w 17157070"/>
                <a:gd name="connsiteY23" fmla="*/ 12151413 h 12850509"/>
                <a:gd name="connsiteX24" fmla="*/ 13612161 w 17157070"/>
                <a:gd name="connsiteY24" fmla="*/ 11464134 h 12850509"/>
                <a:gd name="connsiteX25" fmla="*/ 14190925 w 17157070"/>
                <a:gd name="connsiteY25" fmla="*/ 11319447 h 12850509"/>
                <a:gd name="connsiteX26" fmla="*/ 13865366 w 17157070"/>
                <a:gd name="connsiteY26" fmla="*/ 10849202 h 12850509"/>
                <a:gd name="connsiteX27" fmla="*/ 14136664 w 17157070"/>
                <a:gd name="connsiteY27" fmla="*/ 10451306 h 12850509"/>
                <a:gd name="connsiteX28" fmla="*/ 14703435 w 17157070"/>
                <a:gd name="connsiteY28" fmla="*/ 10478402 h 12850509"/>
                <a:gd name="connsiteX29" fmla="*/ 14661163 w 17157070"/>
                <a:gd name="connsiteY29" fmla="*/ 10306618 h 12850509"/>
                <a:gd name="connsiteX30" fmla="*/ 14335608 w 17157070"/>
                <a:gd name="connsiteY30" fmla="*/ 10143843 h 12850509"/>
                <a:gd name="connsiteX31" fmla="*/ 14498387 w 17157070"/>
                <a:gd name="connsiteY31" fmla="*/ 9565079 h 12850509"/>
                <a:gd name="connsiteX32" fmla="*/ 13847278 w 17157070"/>
                <a:gd name="connsiteY32" fmla="*/ 8660765 h 12850509"/>
                <a:gd name="connsiteX33" fmla="*/ 13340864 w 17157070"/>
                <a:gd name="connsiteY33" fmla="*/ 7955402 h 12850509"/>
                <a:gd name="connsiteX34" fmla="*/ 13123831 w 17157070"/>
                <a:gd name="connsiteY34" fmla="*/ 6870224 h 12850509"/>
                <a:gd name="connsiteX35" fmla="*/ 13232349 w 17157070"/>
                <a:gd name="connsiteY35" fmla="*/ 6182950 h 12850509"/>
                <a:gd name="connsiteX36" fmla="*/ 12273778 w 17157070"/>
                <a:gd name="connsiteY36" fmla="*/ 6216111 h 12850509"/>
                <a:gd name="connsiteX37" fmla="*/ 12201432 w 17157070"/>
                <a:gd name="connsiteY37" fmla="*/ 5818211 h 12850509"/>
                <a:gd name="connsiteX38" fmla="*/ 12508887 w 17157070"/>
                <a:gd name="connsiteY38" fmla="*/ 5314816 h 12850509"/>
                <a:gd name="connsiteX39" fmla="*/ 13774933 w 17157070"/>
                <a:gd name="connsiteY39" fmla="*/ 4537100 h 12850509"/>
                <a:gd name="connsiteX40" fmla="*/ 15294184 w 17157070"/>
                <a:gd name="connsiteY40" fmla="*/ 4030685 h 12850509"/>
                <a:gd name="connsiteX41" fmla="*/ 15746333 w 17157070"/>
                <a:gd name="connsiteY41" fmla="*/ 4356240 h 12850509"/>
                <a:gd name="connsiteX42" fmla="*/ 16578306 w 17157070"/>
                <a:gd name="connsiteY42" fmla="*/ 4066858 h 12850509"/>
                <a:gd name="connsiteX43" fmla="*/ 17084732 w 17157070"/>
                <a:gd name="connsiteY43" fmla="*/ 4464766 h 12850509"/>
                <a:gd name="connsiteX44" fmla="*/ 17157070 w 17157070"/>
                <a:gd name="connsiteY44" fmla="*/ 3524275 h 12850509"/>
                <a:gd name="connsiteX45" fmla="*/ 16433615 w 17157070"/>
                <a:gd name="connsiteY45" fmla="*/ 3433845 h 12850509"/>
                <a:gd name="connsiteX46" fmla="*/ 16415865 w 17157070"/>
                <a:gd name="connsiteY46" fmla="*/ 2817693 h 12850509"/>
                <a:gd name="connsiteX47" fmla="*/ 15963191 w 17157070"/>
                <a:gd name="connsiteY47" fmla="*/ 2957149 h 12850509"/>
                <a:gd name="connsiteX48" fmla="*/ 14923009 w 17157070"/>
                <a:gd name="connsiteY48" fmla="*/ 1727266 h 12850509"/>
                <a:gd name="connsiteX49" fmla="*/ 14244644 w 17157070"/>
                <a:gd name="connsiteY49" fmla="*/ 289371 h 12850509"/>
                <a:gd name="connsiteX50" fmla="*/ 13367278 w 17157070"/>
                <a:gd name="connsiteY50" fmla="*/ 578776 h 12850509"/>
                <a:gd name="connsiteX51" fmla="*/ 12218563 w 17157070"/>
                <a:gd name="connsiteY51" fmla="*/ 587819 h 12850509"/>
                <a:gd name="connsiteX52" fmla="*/ 11323109 w 17157070"/>
                <a:gd name="connsiteY52" fmla="*/ 0 h 12850509"/>
                <a:gd name="connsiteX53" fmla="*/ 10780410 w 17157070"/>
                <a:gd name="connsiteY53" fmla="*/ 452168 h 12850509"/>
                <a:gd name="connsiteX54" fmla="*/ 10038717 w 17157070"/>
                <a:gd name="connsiteY54" fmla="*/ 651119 h 12850509"/>
                <a:gd name="connsiteX55" fmla="*/ 9622651 w 17157070"/>
                <a:gd name="connsiteY55" fmla="*/ 45220 h 12850509"/>
                <a:gd name="connsiteX56" fmla="*/ 8672925 w 17157070"/>
                <a:gd name="connsiteY56" fmla="*/ 244175 h 12850509"/>
                <a:gd name="connsiteX57" fmla="*/ 4432864 w 17157070"/>
                <a:gd name="connsiteY57" fmla="*/ 3438443 h 12850509"/>
                <a:gd name="connsiteX58" fmla="*/ 4437471 w 17157070"/>
                <a:gd name="connsiteY58" fmla="*/ 2769655 h 12850509"/>
                <a:gd name="connsiteX59" fmla="*/ 4141784 w 17157070"/>
                <a:gd name="connsiteY59" fmla="*/ 2050301 h 12850509"/>
                <a:gd name="connsiteX60" fmla="*/ 2314296 w 17157070"/>
                <a:gd name="connsiteY60" fmla="*/ 2333158 h 12850509"/>
                <a:gd name="connsiteX61" fmla="*/ 1334589 w 17157070"/>
                <a:gd name="connsiteY61" fmla="*/ 3138030 h 12850509"/>
                <a:gd name="connsiteX62" fmla="*/ 0 w 17157070"/>
                <a:gd name="connsiteY62" fmla="*/ 4485476 h 12850509"/>
                <a:gd name="connsiteX0" fmla="*/ 0 w 17157070"/>
                <a:gd name="connsiteY0" fmla="*/ 4485476 h 12850509"/>
                <a:gd name="connsiteX1" fmla="*/ 613837 w 17157070"/>
                <a:gd name="connsiteY1" fmla="*/ 6863834 h 12850509"/>
                <a:gd name="connsiteX2" fmla="*/ 1518338 w 17157070"/>
                <a:gd name="connsiteY2" fmla="*/ 7731984 h 12850509"/>
                <a:gd name="connsiteX3" fmla="*/ 1735898 w 17157070"/>
                <a:gd name="connsiteY3" fmla="*/ 8563908 h 12850509"/>
                <a:gd name="connsiteX4" fmla="*/ 3137400 w 17157070"/>
                <a:gd name="connsiteY4" fmla="*/ 9088468 h 12850509"/>
                <a:gd name="connsiteX5" fmla="*/ 3453963 w 17157070"/>
                <a:gd name="connsiteY5" fmla="*/ 10444959 h 12850509"/>
                <a:gd name="connsiteX6" fmla="*/ 4168520 w 17157070"/>
                <a:gd name="connsiteY6" fmla="*/ 11819528 h 12850509"/>
                <a:gd name="connsiteX7" fmla="*/ 4162343 w 17157070"/>
                <a:gd name="connsiteY7" fmla="*/ 12850509 h 12850509"/>
                <a:gd name="connsiteX8" fmla="*/ 4605215 w 17157070"/>
                <a:gd name="connsiteY8" fmla="*/ 12766345 h 12850509"/>
                <a:gd name="connsiteX9" fmla="*/ 4840336 w 17157070"/>
                <a:gd name="connsiteY9" fmla="*/ 12476963 h 12850509"/>
                <a:gd name="connsiteX10" fmla="*/ 6070201 w 17157070"/>
                <a:gd name="connsiteY10" fmla="*/ 12495055 h 12850509"/>
                <a:gd name="connsiteX11" fmla="*/ 6884082 w 17157070"/>
                <a:gd name="connsiteY11" fmla="*/ 11898203 h 12850509"/>
                <a:gd name="connsiteX12" fmla="*/ 7716051 w 17157070"/>
                <a:gd name="connsiteY12" fmla="*/ 12223762 h 12850509"/>
                <a:gd name="connsiteX13" fmla="*/ 8584189 w 17157070"/>
                <a:gd name="connsiteY13" fmla="*/ 12024810 h 12850509"/>
                <a:gd name="connsiteX14" fmla="*/ 9289552 w 17157070"/>
                <a:gd name="connsiteY14" fmla="*/ 12223762 h 12850509"/>
                <a:gd name="connsiteX15" fmla="*/ 10139605 w 17157070"/>
                <a:gd name="connsiteY15" fmla="*/ 11825862 h 12850509"/>
                <a:gd name="connsiteX16" fmla="*/ 10664108 w 17157070"/>
                <a:gd name="connsiteY16" fmla="*/ 12042898 h 12850509"/>
                <a:gd name="connsiteX17" fmla="*/ 11387555 w 17157070"/>
                <a:gd name="connsiteY17" fmla="*/ 11952468 h 12850509"/>
                <a:gd name="connsiteX18" fmla="*/ 11966315 w 17157070"/>
                <a:gd name="connsiteY18" fmla="*/ 12675923 h 12850509"/>
                <a:gd name="connsiteX19" fmla="*/ 12942975 w 17157070"/>
                <a:gd name="connsiteY19" fmla="*/ 12440794 h 12850509"/>
                <a:gd name="connsiteX20" fmla="*/ 13575992 w 17157070"/>
                <a:gd name="connsiteY20" fmla="*/ 12838694 h 12850509"/>
                <a:gd name="connsiteX21" fmla="*/ 13973888 w 17157070"/>
                <a:gd name="connsiteY21" fmla="*/ 12748261 h 12850509"/>
                <a:gd name="connsiteX22" fmla="*/ 14028146 w 17157070"/>
                <a:gd name="connsiteY22" fmla="*/ 12205670 h 12850509"/>
                <a:gd name="connsiteX23" fmla="*/ 13594073 w 17157070"/>
                <a:gd name="connsiteY23" fmla="*/ 12151413 h 12850509"/>
                <a:gd name="connsiteX24" fmla="*/ 13612161 w 17157070"/>
                <a:gd name="connsiteY24" fmla="*/ 11464134 h 12850509"/>
                <a:gd name="connsiteX25" fmla="*/ 14190925 w 17157070"/>
                <a:gd name="connsiteY25" fmla="*/ 11319447 h 12850509"/>
                <a:gd name="connsiteX26" fmla="*/ 13865366 w 17157070"/>
                <a:gd name="connsiteY26" fmla="*/ 10849202 h 12850509"/>
                <a:gd name="connsiteX27" fmla="*/ 14136664 w 17157070"/>
                <a:gd name="connsiteY27" fmla="*/ 10451306 h 12850509"/>
                <a:gd name="connsiteX28" fmla="*/ 14703435 w 17157070"/>
                <a:gd name="connsiteY28" fmla="*/ 10478402 h 12850509"/>
                <a:gd name="connsiteX29" fmla="*/ 14661163 w 17157070"/>
                <a:gd name="connsiteY29" fmla="*/ 10306618 h 12850509"/>
                <a:gd name="connsiteX30" fmla="*/ 14335608 w 17157070"/>
                <a:gd name="connsiteY30" fmla="*/ 10143843 h 12850509"/>
                <a:gd name="connsiteX31" fmla="*/ 14498387 w 17157070"/>
                <a:gd name="connsiteY31" fmla="*/ 9565079 h 12850509"/>
                <a:gd name="connsiteX32" fmla="*/ 13847278 w 17157070"/>
                <a:gd name="connsiteY32" fmla="*/ 8660765 h 12850509"/>
                <a:gd name="connsiteX33" fmla="*/ 13340864 w 17157070"/>
                <a:gd name="connsiteY33" fmla="*/ 7955402 h 12850509"/>
                <a:gd name="connsiteX34" fmla="*/ 13123831 w 17157070"/>
                <a:gd name="connsiteY34" fmla="*/ 6870224 h 12850509"/>
                <a:gd name="connsiteX35" fmla="*/ 13232349 w 17157070"/>
                <a:gd name="connsiteY35" fmla="*/ 6182950 h 12850509"/>
                <a:gd name="connsiteX36" fmla="*/ 12273778 w 17157070"/>
                <a:gd name="connsiteY36" fmla="*/ 6216111 h 12850509"/>
                <a:gd name="connsiteX37" fmla="*/ 12201432 w 17157070"/>
                <a:gd name="connsiteY37" fmla="*/ 5818211 h 12850509"/>
                <a:gd name="connsiteX38" fmla="*/ 12508887 w 17157070"/>
                <a:gd name="connsiteY38" fmla="*/ 5314816 h 12850509"/>
                <a:gd name="connsiteX39" fmla="*/ 13774933 w 17157070"/>
                <a:gd name="connsiteY39" fmla="*/ 4537100 h 12850509"/>
                <a:gd name="connsiteX40" fmla="*/ 15294184 w 17157070"/>
                <a:gd name="connsiteY40" fmla="*/ 4030685 h 12850509"/>
                <a:gd name="connsiteX41" fmla="*/ 15746333 w 17157070"/>
                <a:gd name="connsiteY41" fmla="*/ 4356240 h 12850509"/>
                <a:gd name="connsiteX42" fmla="*/ 16578306 w 17157070"/>
                <a:gd name="connsiteY42" fmla="*/ 4066858 h 12850509"/>
                <a:gd name="connsiteX43" fmla="*/ 17084732 w 17157070"/>
                <a:gd name="connsiteY43" fmla="*/ 4464766 h 12850509"/>
                <a:gd name="connsiteX44" fmla="*/ 17157070 w 17157070"/>
                <a:gd name="connsiteY44" fmla="*/ 3524275 h 12850509"/>
                <a:gd name="connsiteX45" fmla="*/ 16433615 w 17157070"/>
                <a:gd name="connsiteY45" fmla="*/ 3433845 h 12850509"/>
                <a:gd name="connsiteX46" fmla="*/ 16415865 w 17157070"/>
                <a:gd name="connsiteY46" fmla="*/ 2817693 h 12850509"/>
                <a:gd name="connsiteX47" fmla="*/ 15963191 w 17157070"/>
                <a:gd name="connsiteY47" fmla="*/ 2957149 h 12850509"/>
                <a:gd name="connsiteX48" fmla="*/ 14923009 w 17157070"/>
                <a:gd name="connsiteY48" fmla="*/ 1727266 h 12850509"/>
                <a:gd name="connsiteX49" fmla="*/ 14244644 w 17157070"/>
                <a:gd name="connsiteY49" fmla="*/ 289371 h 12850509"/>
                <a:gd name="connsiteX50" fmla="*/ 13367278 w 17157070"/>
                <a:gd name="connsiteY50" fmla="*/ 578776 h 12850509"/>
                <a:gd name="connsiteX51" fmla="*/ 12218563 w 17157070"/>
                <a:gd name="connsiteY51" fmla="*/ 587819 h 12850509"/>
                <a:gd name="connsiteX52" fmla="*/ 11323109 w 17157070"/>
                <a:gd name="connsiteY52" fmla="*/ 0 h 12850509"/>
                <a:gd name="connsiteX53" fmla="*/ 10780410 w 17157070"/>
                <a:gd name="connsiteY53" fmla="*/ 452168 h 12850509"/>
                <a:gd name="connsiteX54" fmla="*/ 10038717 w 17157070"/>
                <a:gd name="connsiteY54" fmla="*/ 651119 h 12850509"/>
                <a:gd name="connsiteX55" fmla="*/ 9622651 w 17157070"/>
                <a:gd name="connsiteY55" fmla="*/ 45220 h 12850509"/>
                <a:gd name="connsiteX56" fmla="*/ 4653822 w 17157070"/>
                <a:gd name="connsiteY56" fmla="*/ 3991678 h 12850509"/>
                <a:gd name="connsiteX57" fmla="*/ 4432864 w 17157070"/>
                <a:gd name="connsiteY57" fmla="*/ 3438443 h 12850509"/>
                <a:gd name="connsiteX58" fmla="*/ 4437471 w 17157070"/>
                <a:gd name="connsiteY58" fmla="*/ 2769655 h 12850509"/>
                <a:gd name="connsiteX59" fmla="*/ 4141784 w 17157070"/>
                <a:gd name="connsiteY59" fmla="*/ 2050301 h 12850509"/>
                <a:gd name="connsiteX60" fmla="*/ 2314296 w 17157070"/>
                <a:gd name="connsiteY60" fmla="*/ 2333158 h 12850509"/>
                <a:gd name="connsiteX61" fmla="*/ 1334589 w 17157070"/>
                <a:gd name="connsiteY61" fmla="*/ 3138030 h 12850509"/>
                <a:gd name="connsiteX62" fmla="*/ 0 w 17157070"/>
                <a:gd name="connsiteY62" fmla="*/ 4485476 h 12850509"/>
                <a:gd name="connsiteX0" fmla="*/ 0 w 17157070"/>
                <a:gd name="connsiteY0" fmla="*/ 4485476 h 12850509"/>
                <a:gd name="connsiteX1" fmla="*/ 613837 w 17157070"/>
                <a:gd name="connsiteY1" fmla="*/ 6863834 h 12850509"/>
                <a:gd name="connsiteX2" fmla="*/ 1518338 w 17157070"/>
                <a:gd name="connsiteY2" fmla="*/ 7731984 h 12850509"/>
                <a:gd name="connsiteX3" fmla="*/ 1735898 w 17157070"/>
                <a:gd name="connsiteY3" fmla="*/ 8563908 h 12850509"/>
                <a:gd name="connsiteX4" fmla="*/ 3137400 w 17157070"/>
                <a:gd name="connsiteY4" fmla="*/ 9088468 h 12850509"/>
                <a:gd name="connsiteX5" fmla="*/ 3453963 w 17157070"/>
                <a:gd name="connsiteY5" fmla="*/ 10444959 h 12850509"/>
                <a:gd name="connsiteX6" fmla="*/ 4168520 w 17157070"/>
                <a:gd name="connsiteY6" fmla="*/ 11819528 h 12850509"/>
                <a:gd name="connsiteX7" fmla="*/ 4162343 w 17157070"/>
                <a:gd name="connsiteY7" fmla="*/ 12850509 h 12850509"/>
                <a:gd name="connsiteX8" fmla="*/ 4605215 w 17157070"/>
                <a:gd name="connsiteY8" fmla="*/ 12766345 h 12850509"/>
                <a:gd name="connsiteX9" fmla="*/ 4840336 w 17157070"/>
                <a:gd name="connsiteY9" fmla="*/ 12476963 h 12850509"/>
                <a:gd name="connsiteX10" fmla="*/ 6070201 w 17157070"/>
                <a:gd name="connsiteY10" fmla="*/ 12495055 h 12850509"/>
                <a:gd name="connsiteX11" fmla="*/ 6884082 w 17157070"/>
                <a:gd name="connsiteY11" fmla="*/ 11898203 h 12850509"/>
                <a:gd name="connsiteX12" fmla="*/ 7716051 w 17157070"/>
                <a:gd name="connsiteY12" fmla="*/ 12223762 h 12850509"/>
                <a:gd name="connsiteX13" fmla="*/ 8584189 w 17157070"/>
                <a:gd name="connsiteY13" fmla="*/ 12024810 h 12850509"/>
                <a:gd name="connsiteX14" fmla="*/ 9289552 w 17157070"/>
                <a:gd name="connsiteY14" fmla="*/ 12223762 h 12850509"/>
                <a:gd name="connsiteX15" fmla="*/ 10139605 w 17157070"/>
                <a:gd name="connsiteY15" fmla="*/ 11825862 h 12850509"/>
                <a:gd name="connsiteX16" fmla="*/ 10664108 w 17157070"/>
                <a:gd name="connsiteY16" fmla="*/ 12042898 h 12850509"/>
                <a:gd name="connsiteX17" fmla="*/ 11387555 w 17157070"/>
                <a:gd name="connsiteY17" fmla="*/ 11952468 h 12850509"/>
                <a:gd name="connsiteX18" fmla="*/ 11966315 w 17157070"/>
                <a:gd name="connsiteY18" fmla="*/ 12675923 h 12850509"/>
                <a:gd name="connsiteX19" fmla="*/ 12942975 w 17157070"/>
                <a:gd name="connsiteY19" fmla="*/ 12440794 h 12850509"/>
                <a:gd name="connsiteX20" fmla="*/ 13575992 w 17157070"/>
                <a:gd name="connsiteY20" fmla="*/ 12838694 h 12850509"/>
                <a:gd name="connsiteX21" fmla="*/ 13973888 w 17157070"/>
                <a:gd name="connsiteY21" fmla="*/ 12748261 h 12850509"/>
                <a:gd name="connsiteX22" fmla="*/ 14028146 w 17157070"/>
                <a:gd name="connsiteY22" fmla="*/ 12205670 h 12850509"/>
                <a:gd name="connsiteX23" fmla="*/ 13594073 w 17157070"/>
                <a:gd name="connsiteY23" fmla="*/ 12151413 h 12850509"/>
                <a:gd name="connsiteX24" fmla="*/ 13612161 w 17157070"/>
                <a:gd name="connsiteY24" fmla="*/ 11464134 h 12850509"/>
                <a:gd name="connsiteX25" fmla="*/ 14190925 w 17157070"/>
                <a:gd name="connsiteY25" fmla="*/ 11319447 h 12850509"/>
                <a:gd name="connsiteX26" fmla="*/ 13865366 w 17157070"/>
                <a:gd name="connsiteY26" fmla="*/ 10849202 h 12850509"/>
                <a:gd name="connsiteX27" fmla="*/ 14136664 w 17157070"/>
                <a:gd name="connsiteY27" fmla="*/ 10451306 h 12850509"/>
                <a:gd name="connsiteX28" fmla="*/ 14703435 w 17157070"/>
                <a:gd name="connsiteY28" fmla="*/ 10478402 h 12850509"/>
                <a:gd name="connsiteX29" fmla="*/ 14661163 w 17157070"/>
                <a:gd name="connsiteY29" fmla="*/ 10306618 h 12850509"/>
                <a:gd name="connsiteX30" fmla="*/ 14335608 w 17157070"/>
                <a:gd name="connsiteY30" fmla="*/ 10143843 h 12850509"/>
                <a:gd name="connsiteX31" fmla="*/ 14498387 w 17157070"/>
                <a:gd name="connsiteY31" fmla="*/ 9565079 h 12850509"/>
                <a:gd name="connsiteX32" fmla="*/ 13847278 w 17157070"/>
                <a:gd name="connsiteY32" fmla="*/ 8660765 h 12850509"/>
                <a:gd name="connsiteX33" fmla="*/ 13340864 w 17157070"/>
                <a:gd name="connsiteY33" fmla="*/ 7955402 h 12850509"/>
                <a:gd name="connsiteX34" fmla="*/ 13123831 w 17157070"/>
                <a:gd name="connsiteY34" fmla="*/ 6870224 h 12850509"/>
                <a:gd name="connsiteX35" fmla="*/ 13232349 w 17157070"/>
                <a:gd name="connsiteY35" fmla="*/ 6182950 h 12850509"/>
                <a:gd name="connsiteX36" fmla="*/ 12273778 w 17157070"/>
                <a:gd name="connsiteY36" fmla="*/ 6216111 h 12850509"/>
                <a:gd name="connsiteX37" fmla="*/ 12201432 w 17157070"/>
                <a:gd name="connsiteY37" fmla="*/ 5818211 h 12850509"/>
                <a:gd name="connsiteX38" fmla="*/ 12508887 w 17157070"/>
                <a:gd name="connsiteY38" fmla="*/ 5314816 h 12850509"/>
                <a:gd name="connsiteX39" fmla="*/ 13774933 w 17157070"/>
                <a:gd name="connsiteY39" fmla="*/ 4537100 h 12850509"/>
                <a:gd name="connsiteX40" fmla="*/ 15294184 w 17157070"/>
                <a:gd name="connsiteY40" fmla="*/ 4030685 h 12850509"/>
                <a:gd name="connsiteX41" fmla="*/ 15746333 w 17157070"/>
                <a:gd name="connsiteY41" fmla="*/ 4356240 h 12850509"/>
                <a:gd name="connsiteX42" fmla="*/ 16578306 w 17157070"/>
                <a:gd name="connsiteY42" fmla="*/ 4066858 h 12850509"/>
                <a:gd name="connsiteX43" fmla="*/ 17084732 w 17157070"/>
                <a:gd name="connsiteY43" fmla="*/ 4464766 h 12850509"/>
                <a:gd name="connsiteX44" fmla="*/ 17157070 w 17157070"/>
                <a:gd name="connsiteY44" fmla="*/ 3524275 h 12850509"/>
                <a:gd name="connsiteX45" fmla="*/ 16433615 w 17157070"/>
                <a:gd name="connsiteY45" fmla="*/ 3433845 h 12850509"/>
                <a:gd name="connsiteX46" fmla="*/ 16415865 w 17157070"/>
                <a:gd name="connsiteY46" fmla="*/ 2817693 h 12850509"/>
                <a:gd name="connsiteX47" fmla="*/ 15963191 w 17157070"/>
                <a:gd name="connsiteY47" fmla="*/ 2957149 h 12850509"/>
                <a:gd name="connsiteX48" fmla="*/ 14923009 w 17157070"/>
                <a:gd name="connsiteY48" fmla="*/ 1727266 h 12850509"/>
                <a:gd name="connsiteX49" fmla="*/ 14244644 w 17157070"/>
                <a:gd name="connsiteY49" fmla="*/ 289371 h 12850509"/>
                <a:gd name="connsiteX50" fmla="*/ 13367278 w 17157070"/>
                <a:gd name="connsiteY50" fmla="*/ 578776 h 12850509"/>
                <a:gd name="connsiteX51" fmla="*/ 12218563 w 17157070"/>
                <a:gd name="connsiteY51" fmla="*/ 587819 h 12850509"/>
                <a:gd name="connsiteX52" fmla="*/ 11323109 w 17157070"/>
                <a:gd name="connsiteY52" fmla="*/ 0 h 12850509"/>
                <a:gd name="connsiteX53" fmla="*/ 10780410 w 17157070"/>
                <a:gd name="connsiteY53" fmla="*/ 452168 h 12850509"/>
                <a:gd name="connsiteX54" fmla="*/ 10038717 w 17157070"/>
                <a:gd name="connsiteY54" fmla="*/ 651119 h 12850509"/>
                <a:gd name="connsiteX55" fmla="*/ 4653822 w 17157070"/>
                <a:gd name="connsiteY55" fmla="*/ 3991678 h 12850509"/>
                <a:gd name="connsiteX56" fmla="*/ 4432864 w 17157070"/>
                <a:gd name="connsiteY56" fmla="*/ 3438443 h 12850509"/>
                <a:gd name="connsiteX57" fmla="*/ 4437471 w 17157070"/>
                <a:gd name="connsiteY57" fmla="*/ 2769655 h 12850509"/>
                <a:gd name="connsiteX58" fmla="*/ 4141784 w 17157070"/>
                <a:gd name="connsiteY58" fmla="*/ 2050301 h 12850509"/>
                <a:gd name="connsiteX59" fmla="*/ 2314296 w 17157070"/>
                <a:gd name="connsiteY59" fmla="*/ 2333158 h 12850509"/>
                <a:gd name="connsiteX60" fmla="*/ 1334589 w 17157070"/>
                <a:gd name="connsiteY60" fmla="*/ 3138030 h 12850509"/>
                <a:gd name="connsiteX61" fmla="*/ 0 w 17157070"/>
                <a:gd name="connsiteY61" fmla="*/ 4485476 h 12850509"/>
                <a:gd name="connsiteX0" fmla="*/ 0 w 17157070"/>
                <a:gd name="connsiteY0" fmla="*/ 4485476 h 12850509"/>
                <a:gd name="connsiteX1" fmla="*/ 613837 w 17157070"/>
                <a:gd name="connsiteY1" fmla="*/ 6863834 h 12850509"/>
                <a:gd name="connsiteX2" fmla="*/ 1518338 w 17157070"/>
                <a:gd name="connsiteY2" fmla="*/ 7731984 h 12850509"/>
                <a:gd name="connsiteX3" fmla="*/ 1735898 w 17157070"/>
                <a:gd name="connsiteY3" fmla="*/ 8563908 h 12850509"/>
                <a:gd name="connsiteX4" fmla="*/ 3137400 w 17157070"/>
                <a:gd name="connsiteY4" fmla="*/ 9088468 h 12850509"/>
                <a:gd name="connsiteX5" fmla="*/ 3453963 w 17157070"/>
                <a:gd name="connsiteY5" fmla="*/ 10444959 h 12850509"/>
                <a:gd name="connsiteX6" fmla="*/ 4168520 w 17157070"/>
                <a:gd name="connsiteY6" fmla="*/ 11819528 h 12850509"/>
                <a:gd name="connsiteX7" fmla="*/ 4162343 w 17157070"/>
                <a:gd name="connsiteY7" fmla="*/ 12850509 h 12850509"/>
                <a:gd name="connsiteX8" fmla="*/ 4605215 w 17157070"/>
                <a:gd name="connsiteY8" fmla="*/ 12766345 h 12850509"/>
                <a:gd name="connsiteX9" fmla="*/ 4840336 w 17157070"/>
                <a:gd name="connsiteY9" fmla="*/ 12476963 h 12850509"/>
                <a:gd name="connsiteX10" fmla="*/ 6070201 w 17157070"/>
                <a:gd name="connsiteY10" fmla="*/ 12495055 h 12850509"/>
                <a:gd name="connsiteX11" fmla="*/ 6884082 w 17157070"/>
                <a:gd name="connsiteY11" fmla="*/ 11898203 h 12850509"/>
                <a:gd name="connsiteX12" fmla="*/ 7716051 w 17157070"/>
                <a:gd name="connsiteY12" fmla="*/ 12223762 h 12850509"/>
                <a:gd name="connsiteX13" fmla="*/ 8584189 w 17157070"/>
                <a:gd name="connsiteY13" fmla="*/ 12024810 h 12850509"/>
                <a:gd name="connsiteX14" fmla="*/ 9289552 w 17157070"/>
                <a:gd name="connsiteY14" fmla="*/ 12223762 h 12850509"/>
                <a:gd name="connsiteX15" fmla="*/ 10139605 w 17157070"/>
                <a:gd name="connsiteY15" fmla="*/ 11825862 h 12850509"/>
                <a:gd name="connsiteX16" fmla="*/ 10664108 w 17157070"/>
                <a:gd name="connsiteY16" fmla="*/ 12042898 h 12850509"/>
                <a:gd name="connsiteX17" fmla="*/ 11387555 w 17157070"/>
                <a:gd name="connsiteY17" fmla="*/ 11952468 h 12850509"/>
                <a:gd name="connsiteX18" fmla="*/ 11966315 w 17157070"/>
                <a:gd name="connsiteY18" fmla="*/ 12675923 h 12850509"/>
                <a:gd name="connsiteX19" fmla="*/ 12942975 w 17157070"/>
                <a:gd name="connsiteY19" fmla="*/ 12440794 h 12850509"/>
                <a:gd name="connsiteX20" fmla="*/ 13575992 w 17157070"/>
                <a:gd name="connsiteY20" fmla="*/ 12838694 h 12850509"/>
                <a:gd name="connsiteX21" fmla="*/ 13973888 w 17157070"/>
                <a:gd name="connsiteY21" fmla="*/ 12748261 h 12850509"/>
                <a:gd name="connsiteX22" fmla="*/ 14028146 w 17157070"/>
                <a:gd name="connsiteY22" fmla="*/ 12205670 h 12850509"/>
                <a:gd name="connsiteX23" fmla="*/ 13594073 w 17157070"/>
                <a:gd name="connsiteY23" fmla="*/ 12151413 h 12850509"/>
                <a:gd name="connsiteX24" fmla="*/ 13612161 w 17157070"/>
                <a:gd name="connsiteY24" fmla="*/ 11464134 h 12850509"/>
                <a:gd name="connsiteX25" fmla="*/ 14190925 w 17157070"/>
                <a:gd name="connsiteY25" fmla="*/ 11319447 h 12850509"/>
                <a:gd name="connsiteX26" fmla="*/ 13865366 w 17157070"/>
                <a:gd name="connsiteY26" fmla="*/ 10849202 h 12850509"/>
                <a:gd name="connsiteX27" fmla="*/ 14136664 w 17157070"/>
                <a:gd name="connsiteY27" fmla="*/ 10451306 h 12850509"/>
                <a:gd name="connsiteX28" fmla="*/ 14703435 w 17157070"/>
                <a:gd name="connsiteY28" fmla="*/ 10478402 h 12850509"/>
                <a:gd name="connsiteX29" fmla="*/ 14661163 w 17157070"/>
                <a:gd name="connsiteY29" fmla="*/ 10306618 h 12850509"/>
                <a:gd name="connsiteX30" fmla="*/ 14335608 w 17157070"/>
                <a:gd name="connsiteY30" fmla="*/ 10143843 h 12850509"/>
                <a:gd name="connsiteX31" fmla="*/ 14498387 w 17157070"/>
                <a:gd name="connsiteY31" fmla="*/ 9565079 h 12850509"/>
                <a:gd name="connsiteX32" fmla="*/ 13847278 w 17157070"/>
                <a:gd name="connsiteY32" fmla="*/ 8660765 h 12850509"/>
                <a:gd name="connsiteX33" fmla="*/ 13340864 w 17157070"/>
                <a:gd name="connsiteY33" fmla="*/ 7955402 h 12850509"/>
                <a:gd name="connsiteX34" fmla="*/ 13123831 w 17157070"/>
                <a:gd name="connsiteY34" fmla="*/ 6870224 h 12850509"/>
                <a:gd name="connsiteX35" fmla="*/ 13232349 w 17157070"/>
                <a:gd name="connsiteY35" fmla="*/ 6182950 h 12850509"/>
                <a:gd name="connsiteX36" fmla="*/ 12273778 w 17157070"/>
                <a:gd name="connsiteY36" fmla="*/ 6216111 h 12850509"/>
                <a:gd name="connsiteX37" fmla="*/ 12201432 w 17157070"/>
                <a:gd name="connsiteY37" fmla="*/ 5818211 h 12850509"/>
                <a:gd name="connsiteX38" fmla="*/ 12508887 w 17157070"/>
                <a:gd name="connsiteY38" fmla="*/ 5314816 h 12850509"/>
                <a:gd name="connsiteX39" fmla="*/ 13774933 w 17157070"/>
                <a:gd name="connsiteY39" fmla="*/ 4537100 h 12850509"/>
                <a:gd name="connsiteX40" fmla="*/ 15294184 w 17157070"/>
                <a:gd name="connsiteY40" fmla="*/ 4030685 h 12850509"/>
                <a:gd name="connsiteX41" fmla="*/ 15746333 w 17157070"/>
                <a:gd name="connsiteY41" fmla="*/ 4356240 h 12850509"/>
                <a:gd name="connsiteX42" fmla="*/ 16578306 w 17157070"/>
                <a:gd name="connsiteY42" fmla="*/ 4066858 h 12850509"/>
                <a:gd name="connsiteX43" fmla="*/ 17084732 w 17157070"/>
                <a:gd name="connsiteY43" fmla="*/ 4464766 h 12850509"/>
                <a:gd name="connsiteX44" fmla="*/ 17157070 w 17157070"/>
                <a:gd name="connsiteY44" fmla="*/ 3524275 h 12850509"/>
                <a:gd name="connsiteX45" fmla="*/ 16433615 w 17157070"/>
                <a:gd name="connsiteY45" fmla="*/ 3433845 h 12850509"/>
                <a:gd name="connsiteX46" fmla="*/ 16415865 w 17157070"/>
                <a:gd name="connsiteY46" fmla="*/ 2817693 h 12850509"/>
                <a:gd name="connsiteX47" fmla="*/ 15963191 w 17157070"/>
                <a:gd name="connsiteY47" fmla="*/ 2957149 h 12850509"/>
                <a:gd name="connsiteX48" fmla="*/ 14923009 w 17157070"/>
                <a:gd name="connsiteY48" fmla="*/ 1727266 h 12850509"/>
                <a:gd name="connsiteX49" fmla="*/ 14244644 w 17157070"/>
                <a:gd name="connsiteY49" fmla="*/ 289371 h 12850509"/>
                <a:gd name="connsiteX50" fmla="*/ 13367278 w 17157070"/>
                <a:gd name="connsiteY50" fmla="*/ 578776 h 12850509"/>
                <a:gd name="connsiteX51" fmla="*/ 12218563 w 17157070"/>
                <a:gd name="connsiteY51" fmla="*/ 587819 h 12850509"/>
                <a:gd name="connsiteX52" fmla="*/ 11323109 w 17157070"/>
                <a:gd name="connsiteY52" fmla="*/ 0 h 12850509"/>
                <a:gd name="connsiteX53" fmla="*/ 10780410 w 17157070"/>
                <a:gd name="connsiteY53" fmla="*/ 452168 h 12850509"/>
                <a:gd name="connsiteX54" fmla="*/ 4416749 w 17157070"/>
                <a:gd name="connsiteY54" fmla="*/ 4541845 h 12850509"/>
                <a:gd name="connsiteX55" fmla="*/ 4653822 w 17157070"/>
                <a:gd name="connsiteY55" fmla="*/ 3991678 h 12850509"/>
                <a:gd name="connsiteX56" fmla="*/ 4432864 w 17157070"/>
                <a:gd name="connsiteY56" fmla="*/ 3438443 h 12850509"/>
                <a:gd name="connsiteX57" fmla="*/ 4437471 w 17157070"/>
                <a:gd name="connsiteY57" fmla="*/ 2769655 h 12850509"/>
                <a:gd name="connsiteX58" fmla="*/ 4141784 w 17157070"/>
                <a:gd name="connsiteY58" fmla="*/ 2050301 h 12850509"/>
                <a:gd name="connsiteX59" fmla="*/ 2314296 w 17157070"/>
                <a:gd name="connsiteY59" fmla="*/ 2333158 h 12850509"/>
                <a:gd name="connsiteX60" fmla="*/ 1334589 w 17157070"/>
                <a:gd name="connsiteY60" fmla="*/ 3138030 h 12850509"/>
                <a:gd name="connsiteX61" fmla="*/ 0 w 17157070"/>
                <a:gd name="connsiteY61" fmla="*/ 4485476 h 12850509"/>
                <a:gd name="connsiteX0" fmla="*/ 0 w 17157070"/>
                <a:gd name="connsiteY0" fmla="*/ 4485476 h 12850509"/>
                <a:gd name="connsiteX1" fmla="*/ 613837 w 17157070"/>
                <a:gd name="connsiteY1" fmla="*/ 6863834 h 12850509"/>
                <a:gd name="connsiteX2" fmla="*/ 1518338 w 17157070"/>
                <a:gd name="connsiteY2" fmla="*/ 7731984 h 12850509"/>
                <a:gd name="connsiteX3" fmla="*/ 1735898 w 17157070"/>
                <a:gd name="connsiteY3" fmla="*/ 8563908 h 12850509"/>
                <a:gd name="connsiteX4" fmla="*/ 3137400 w 17157070"/>
                <a:gd name="connsiteY4" fmla="*/ 9088468 h 12850509"/>
                <a:gd name="connsiteX5" fmla="*/ 3453963 w 17157070"/>
                <a:gd name="connsiteY5" fmla="*/ 10444959 h 12850509"/>
                <a:gd name="connsiteX6" fmla="*/ 4168520 w 17157070"/>
                <a:gd name="connsiteY6" fmla="*/ 11819528 h 12850509"/>
                <a:gd name="connsiteX7" fmla="*/ 4162343 w 17157070"/>
                <a:gd name="connsiteY7" fmla="*/ 12850509 h 12850509"/>
                <a:gd name="connsiteX8" fmla="*/ 4605215 w 17157070"/>
                <a:gd name="connsiteY8" fmla="*/ 12766345 h 12850509"/>
                <a:gd name="connsiteX9" fmla="*/ 4840336 w 17157070"/>
                <a:gd name="connsiteY9" fmla="*/ 12476963 h 12850509"/>
                <a:gd name="connsiteX10" fmla="*/ 6070201 w 17157070"/>
                <a:gd name="connsiteY10" fmla="*/ 12495055 h 12850509"/>
                <a:gd name="connsiteX11" fmla="*/ 6884082 w 17157070"/>
                <a:gd name="connsiteY11" fmla="*/ 11898203 h 12850509"/>
                <a:gd name="connsiteX12" fmla="*/ 7716051 w 17157070"/>
                <a:gd name="connsiteY12" fmla="*/ 12223762 h 12850509"/>
                <a:gd name="connsiteX13" fmla="*/ 8584189 w 17157070"/>
                <a:gd name="connsiteY13" fmla="*/ 12024810 h 12850509"/>
                <a:gd name="connsiteX14" fmla="*/ 9289552 w 17157070"/>
                <a:gd name="connsiteY14" fmla="*/ 12223762 h 12850509"/>
                <a:gd name="connsiteX15" fmla="*/ 10139605 w 17157070"/>
                <a:gd name="connsiteY15" fmla="*/ 11825862 h 12850509"/>
                <a:gd name="connsiteX16" fmla="*/ 10664108 w 17157070"/>
                <a:gd name="connsiteY16" fmla="*/ 12042898 h 12850509"/>
                <a:gd name="connsiteX17" fmla="*/ 11387555 w 17157070"/>
                <a:gd name="connsiteY17" fmla="*/ 11952468 h 12850509"/>
                <a:gd name="connsiteX18" fmla="*/ 11966315 w 17157070"/>
                <a:gd name="connsiteY18" fmla="*/ 12675923 h 12850509"/>
                <a:gd name="connsiteX19" fmla="*/ 12942975 w 17157070"/>
                <a:gd name="connsiteY19" fmla="*/ 12440794 h 12850509"/>
                <a:gd name="connsiteX20" fmla="*/ 13575992 w 17157070"/>
                <a:gd name="connsiteY20" fmla="*/ 12838694 h 12850509"/>
                <a:gd name="connsiteX21" fmla="*/ 13973888 w 17157070"/>
                <a:gd name="connsiteY21" fmla="*/ 12748261 h 12850509"/>
                <a:gd name="connsiteX22" fmla="*/ 14028146 w 17157070"/>
                <a:gd name="connsiteY22" fmla="*/ 12205670 h 12850509"/>
                <a:gd name="connsiteX23" fmla="*/ 13594073 w 17157070"/>
                <a:gd name="connsiteY23" fmla="*/ 12151413 h 12850509"/>
                <a:gd name="connsiteX24" fmla="*/ 13612161 w 17157070"/>
                <a:gd name="connsiteY24" fmla="*/ 11464134 h 12850509"/>
                <a:gd name="connsiteX25" fmla="*/ 14190925 w 17157070"/>
                <a:gd name="connsiteY25" fmla="*/ 11319447 h 12850509"/>
                <a:gd name="connsiteX26" fmla="*/ 13865366 w 17157070"/>
                <a:gd name="connsiteY26" fmla="*/ 10849202 h 12850509"/>
                <a:gd name="connsiteX27" fmla="*/ 14136664 w 17157070"/>
                <a:gd name="connsiteY27" fmla="*/ 10451306 h 12850509"/>
                <a:gd name="connsiteX28" fmla="*/ 14703435 w 17157070"/>
                <a:gd name="connsiteY28" fmla="*/ 10478402 h 12850509"/>
                <a:gd name="connsiteX29" fmla="*/ 14661163 w 17157070"/>
                <a:gd name="connsiteY29" fmla="*/ 10306618 h 12850509"/>
                <a:gd name="connsiteX30" fmla="*/ 14335608 w 17157070"/>
                <a:gd name="connsiteY30" fmla="*/ 10143843 h 12850509"/>
                <a:gd name="connsiteX31" fmla="*/ 14498387 w 17157070"/>
                <a:gd name="connsiteY31" fmla="*/ 9565079 h 12850509"/>
                <a:gd name="connsiteX32" fmla="*/ 13847278 w 17157070"/>
                <a:gd name="connsiteY32" fmla="*/ 8660765 h 12850509"/>
                <a:gd name="connsiteX33" fmla="*/ 13340864 w 17157070"/>
                <a:gd name="connsiteY33" fmla="*/ 7955402 h 12850509"/>
                <a:gd name="connsiteX34" fmla="*/ 13123831 w 17157070"/>
                <a:gd name="connsiteY34" fmla="*/ 6870224 h 12850509"/>
                <a:gd name="connsiteX35" fmla="*/ 13232349 w 17157070"/>
                <a:gd name="connsiteY35" fmla="*/ 6182950 h 12850509"/>
                <a:gd name="connsiteX36" fmla="*/ 12273778 w 17157070"/>
                <a:gd name="connsiteY36" fmla="*/ 6216111 h 12850509"/>
                <a:gd name="connsiteX37" fmla="*/ 12201432 w 17157070"/>
                <a:gd name="connsiteY37" fmla="*/ 5818211 h 12850509"/>
                <a:gd name="connsiteX38" fmla="*/ 12508887 w 17157070"/>
                <a:gd name="connsiteY38" fmla="*/ 5314816 h 12850509"/>
                <a:gd name="connsiteX39" fmla="*/ 13774933 w 17157070"/>
                <a:gd name="connsiteY39" fmla="*/ 4537100 h 12850509"/>
                <a:gd name="connsiteX40" fmla="*/ 15294184 w 17157070"/>
                <a:gd name="connsiteY40" fmla="*/ 4030685 h 12850509"/>
                <a:gd name="connsiteX41" fmla="*/ 15746333 w 17157070"/>
                <a:gd name="connsiteY41" fmla="*/ 4356240 h 12850509"/>
                <a:gd name="connsiteX42" fmla="*/ 16578306 w 17157070"/>
                <a:gd name="connsiteY42" fmla="*/ 4066858 h 12850509"/>
                <a:gd name="connsiteX43" fmla="*/ 17084732 w 17157070"/>
                <a:gd name="connsiteY43" fmla="*/ 4464766 h 12850509"/>
                <a:gd name="connsiteX44" fmla="*/ 17157070 w 17157070"/>
                <a:gd name="connsiteY44" fmla="*/ 3524275 h 12850509"/>
                <a:gd name="connsiteX45" fmla="*/ 16433615 w 17157070"/>
                <a:gd name="connsiteY45" fmla="*/ 3433845 h 12850509"/>
                <a:gd name="connsiteX46" fmla="*/ 16415865 w 17157070"/>
                <a:gd name="connsiteY46" fmla="*/ 2817693 h 12850509"/>
                <a:gd name="connsiteX47" fmla="*/ 15963191 w 17157070"/>
                <a:gd name="connsiteY47" fmla="*/ 2957149 h 12850509"/>
                <a:gd name="connsiteX48" fmla="*/ 14923009 w 17157070"/>
                <a:gd name="connsiteY48" fmla="*/ 1727266 h 12850509"/>
                <a:gd name="connsiteX49" fmla="*/ 14244644 w 17157070"/>
                <a:gd name="connsiteY49" fmla="*/ 289371 h 12850509"/>
                <a:gd name="connsiteX50" fmla="*/ 13367278 w 17157070"/>
                <a:gd name="connsiteY50" fmla="*/ 578776 h 12850509"/>
                <a:gd name="connsiteX51" fmla="*/ 12218563 w 17157070"/>
                <a:gd name="connsiteY51" fmla="*/ 587819 h 12850509"/>
                <a:gd name="connsiteX52" fmla="*/ 11323109 w 17157070"/>
                <a:gd name="connsiteY52" fmla="*/ 0 h 12850509"/>
                <a:gd name="connsiteX53" fmla="*/ 4416749 w 17157070"/>
                <a:gd name="connsiteY53" fmla="*/ 4541845 h 12850509"/>
                <a:gd name="connsiteX54" fmla="*/ 4653822 w 17157070"/>
                <a:gd name="connsiteY54" fmla="*/ 3991678 h 12850509"/>
                <a:gd name="connsiteX55" fmla="*/ 4432864 w 17157070"/>
                <a:gd name="connsiteY55" fmla="*/ 3438443 h 12850509"/>
                <a:gd name="connsiteX56" fmla="*/ 4437471 w 17157070"/>
                <a:gd name="connsiteY56" fmla="*/ 2769655 h 12850509"/>
                <a:gd name="connsiteX57" fmla="*/ 4141784 w 17157070"/>
                <a:gd name="connsiteY57" fmla="*/ 2050301 h 12850509"/>
                <a:gd name="connsiteX58" fmla="*/ 2314296 w 17157070"/>
                <a:gd name="connsiteY58" fmla="*/ 2333158 h 12850509"/>
                <a:gd name="connsiteX59" fmla="*/ 1334589 w 17157070"/>
                <a:gd name="connsiteY59" fmla="*/ 3138030 h 12850509"/>
                <a:gd name="connsiteX60" fmla="*/ 0 w 17157070"/>
                <a:gd name="connsiteY60" fmla="*/ 4485476 h 12850509"/>
                <a:gd name="connsiteX0" fmla="*/ 0 w 17157070"/>
                <a:gd name="connsiteY0" fmla="*/ 4196103 h 12561136"/>
                <a:gd name="connsiteX1" fmla="*/ 613837 w 17157070"/>
                <a:gd name="connsiteY1" fmla="*/ 6574461 h 12561136"/>
                <a:gd name="connsiteX2" fmla="*/ 1518338 w 17157070"/>
                <a:gd name="connsiteY2" fmla="*/ 7442611 h 12561136"/>
                <a:gd name="connsiteX3" fmla="*/ 1735898 w 17157070"/>
                <a:gd name="connsiteY3" fmla="*/ 8274535 h 12561136"/>
                <a:gd name="connsiteX4" fmla="*/ 3137400 w 17157070"/>
                <a:gd name="connsiteY4" fmla="*/ 8799095 h 12561136"/>
                <a:gd name="connsiteX5" fmla="*/ 3453963 w 17157070"/>
                <a:gd name="connsiteY5" fmla="*/ 10155586 h 12561136"/>
                <a:gd name="connsiteX6" fmla="*/ 4168520 w 17157070"/>
                <a:gd name="connsiteY6" fmla="*/ 11530155 h 12561136"/>
                <a:gd name="connsiteX7" fmla="*/ 4162343 w 17157070"/>
                <a:gd name="connsiteY7" fmla="*/ 12561136 h 12561136"/>
                <a:gd name="connsiteX8" fmla="*/ 4605215 w 17157070"/>
                <a:gd name="connsiteY8" fmla="*/ 12476972 h 12561136"/>
                <a:gd name="connsiteX9" fmla="*/ 4840336 w 17157070"/>
                <a:gd name="connsiteY9" fmla="*/ 12187590 h 12561136"/>
                <a:gd name="connsiteX10" fmla="*/ 6070201 w 17157070"/>
                <a:gd name="connsiteY10" fmla="*/ 12205682 h 12561136"/>
                <a:gd name="connsiteX11" fmla="*/ 6884082 w 17157070"/>
                <a:gd name="connsiteY11" fmla="*/ 11608830 h 12561136"/>
                <a:gd name="connsiteX12" fmla="*/ 7716051 w 17157070"/>
                <a:gd name="connsiteY12" fmla="*/ 11934389 h 12561136"/>
                <a:gd name="connsiteX13" fmla="*/ 8584189 w 17157070"/>
                <a:gd name="connsiteY13" fmla="*/ 11735437 h 12561136"/>
                <a:gd name="connsiteX14" fmla="*/ 9289552 w 17157070"/>
                <a:gd name="connsiteY14" fmla="*/ 11934389 h 12561136"/>
                <a:gd name="connsiteX15" fmla="*/ 10139605 w 17157070"/>
                <a:gd name="connsiteY15" fmla="*/ 11536489 h 12561136"/>
                <a:gd name="connsiteX16" fmla="*/ 10664108 w 17157070"/>
                <a:gd name="connsiteY16" fmla="*/ 11753525 h 12561136"/>
                <a:gd name="connsiteX17" fmla="*/ 11387555 w 17157070"/>
                <a:gd name="connsiteY17" fmla="*/ 11663095 h 12561136"/>
                <a:gd name="connsiteX18" fmla="*/ 11966315 w 17157070"/>
                <a:gd name="connsiteY18" fmla="*/ 12386550 h 12561136"/>
                <a:gd name="connsiteX19" fmla="*/ 12942975 w 17157070"/>
                <a:gd name="connsiteY19" fmla="*/ 12151421 h 12561136"/>
                <a:gd name="connsiteX20" fmla="*/ 13575992 w 17157070"/>
                <a:gd name="connsiteY20" fmla="*/ 12549321 h 12561136"/>
                <a:gd name="connsiteX21" fmla="*/ 13973888 w 17157070"/>
                <a:gd name="connsiteY21" fmla="*/ 12458888 h 12561136"/>
                <a:gd name="connsiteX22" fmla="*/ 14028146 w 17157070"/>
                <a:gd name="connsiteY22" fmla="*/ 11916297 h 12561136"/>
                <a:gd name="connsiteX23" fmla="*/ 13594073 w 17157070"/>
                <a:gd name="connsiteY23" fmla="*/ 11862040 h 12561136"/>
                <a:gd name="connsiteX24" fmla="*/ 13612161 w 17157070"/>
                <a:gd name="connsiteY24" fmla="*/ 11174761 h 12561136"/>
                <a:gd name="connsiteX25" fmla="*/ 14190925 w 17157070"/>
                <a:gd name="connsiteY25" fmla="*/ 11030074 h 12561136"/>
                <a:gd name="connsiteX26" fmla="*/ 13865366 w 17157070"/>
                <a:gd name="connsiteY26" fmla="*/ 10559829 h 12561136"/>
                <a:gd name="connsiteX27" fmla="*/ 14136664 w 17157070"/>
                <a:gd name="connsiteY27" fmla="*/ 10161933 h 12561136"/>
                <a:gd name="connsiteX28" fmla="*/ 14703435 w 17157070"/>
                <a:gd name="connsiteY28" fmla="*/ 10189029 h 12561136"/>
                <a:gd name="connsiteX29" fmla="*/ 14661163 w 17157070"/>
                <a:gd name="connsiteY29" fmla="*/ 10017245 h 12561136"/>
                <a:gd name="connsiteX30" fmla="*/ 14335608 w 17157070"/>
                <a:gd name="connsiteY30" fmla="*/ 9854470 h 12561136"/>
                <a:gd name="connsiteX31" fmla="*/ 14498387 w 17157070"/>
                <a:gd name="connsiteY31" fmla="*/ 9275706 h 12561136"/>
                <a:gd name="connsiteX32" fmla="*/ 13847278 w 17157070"/>
                <a:gd name="connsiteY32" fmla="*/ 8371392 h 12561136"/>
                <a:gd name="connsiteX33" fmla="*/ 13340864 w 17157070"/>
                <a:gd name="connsiteY33" fmla="*/ 7666029 h 12561136"/>
                <a:gd name="connsiteX34" fmla="*/ 13123831 w 17157070"/>
                <a:gd name="connsiteY34" fmla="*/ 6580851 h 12561136"/>
                <a:gd name="connsiteX35" fmla="*/ 13232349 w 17157070"/>
                <a:gd name="connsiteY35" fmla="*/ 5893577 h 12561136"/>
                <a:gd name="connsiteX36" fmla="*/ 12273778 w 17157070"/>
                <a:gd name="connsiteY36" fmla="*/ 5926738 h 12561136"/>
                <a:gd name="connsiteX37" fmla="*/ 12201432 w 17157070"/>
                <a:gd name="connsiteY37" fmla="*/ 5528838 h 12561136"/>
                <a:gd name="connsiteX38" fmla="*/ 12508887 w 17157070"/>
                <a:gd name="connsiteY38" fmla="*/ 5025443 h 12561136"/>
                <a:gd name="connsiteX39" fmla="*/ 13774933 w 17157070"/>
                <a:gd name="connsiteY39" fmla="*/ 4247727 h 12561136"/>
                <a:gd name="connsiteX40" fmla="*/ 15294184 w 17157070"/>
                <a:gd name="connsiteY40" fmla="*/ 3741312 h 12561136"/>
                <a:gd name="connsiteX41" fmla="*/ 15746333 w 17157070"/>
                <a:gd name="connsiteY41" fmla="*/ 4066867 h 12561136"/>
                <a:gd name="connsiteX42" fmla="*/ 16578306 w 17157070"/>
                <a:gd name="connsiteY42" fmla="*/ 3777485 h 12561136"/>
                <a:gd name="connsiteX43" fmla="*/ 17084732 w 17157070"/>
                <a:gd name="connsiteY43" fmla="*/ 4175393 h 12561136"/>
                <a:gd name="connsiteX44" fmla="*/ 17157070 w 17157070"/>
                <a:gd name="connsiteY44" fmla="*/ 3234902 h 12561136"/>
                <a:gd name="connsiteX45" fmla="*/ 16433615 w 17157070"/>
                <a:gd name="connsiteY45" fmla="*/ 3144472 h 12561136"/>
                <a:gd name="connsiteX46" fmla="*/ 16415865 w 17157070"/>
                <a:gd name="connsiteY46" fmla="*/ 2528320 h 12561136"/>
                <a:gd name="connsiteX47" fmla="*/ 15963191 w 17157070"/>
                <a:gd name="connsiteY47" fmla="*/ 2667776 h 12561136"/>
                <a:gd name="connsiteX48" fmla="*/ 14923009 w 17157070"/>
                <a:gd name="connsiteY48" fmla="*/ 1437893 h 12561136"/>
                <a:gd name="connsiteX49" fmla="*/ 14244644 w 17157070"/>
                <a:gd name="connsiteY49" fmla="*/ -2 h 12561136"/>
                <a:gd name="connsiteX50" fmla="*/ 13367278 w 17157070"/>
                <a:gd name="connsiteY50" fmla="*/ 289403 h 12561136"/>
                <a:gd name="connsiteX51" fmla="*/ 12218563 w 17157070"/>
                <a:gd name="connsiteY51" fmla="*/ 298446 h 12561136"/>
                <a:gd name="connsiteX52" fmla="*/ 4600673 w 17157070"/>
                <a:gd name="connsiteY52" fmla="*/ 4675479 h 12561136"/>
                <a:gd name="connsiteX53" fmla="*/ 4416749 w 17157070"/>
                <a:gd name="connsiteY53" fmla="*/ 4252472 h 12561136"/>
                <a:gd name="connsiteX54" fmla="*/ 4653822 w 17157070"/>
                <a:gd name="connsiteY54" fmla="*/ 3702305 h 12561136"/>
                <a:gd name="connsiteX55" fmla="*/ 4432864 w 17157070"/>
                <a:gd name="connsiteY55" fmla="*/ 3149070 h 12561136"/>
                <a:gd name="connsiteX56" fmla="*/ 4437471 w 17157070"/>
                <a:gd name="connsiteY56" fmla="*/ 2480282 h 12561136"/>
                <a:gd name="connsiteX57" fmla="*/ 4141784 w 17157070"/>
                <a:gd name="connsiteY57" fmla="*/ 1760928 h 12561136"/>
                <a:gd name="connsiteX58" fmla="*/ 2314296 w 17157070"/>
                <a:gd name="connsiteY58" fmla="*/ 2043785 h 12561136"/>
                <a:gd name="connsiteX59" fmla="*/ 1334589 w 17157070"/>
                <a:gd name="connsiteY59" fmla="*/ 2848657 h 12561136"/>
                <a:gd name="connsiteX60" fmla="*/ 0 w 17157070"/>
                <a:gd name="connsiteY60" fmla="*/ 4196103 h 12561136"/>
                <a:gd name="connsiteX0" fmla="*/ 0 w 17157070"/>
                <a:gd name="connsiteY0" fmla="*/ 4196103 h 12561136"/>
                <a:gd name="connsiteX1" fmla="*/ 613837 w 17157070"/>
                <a:gd name="connsiteY1" fmla="*/ 6574461 h 12561136"/>
                <a:gd name="connsiteX2" fmla="*/ 1518338 w 17157070"/>
                <a:gd name="connsiteY2" fmla="*/ 7442611 h 12561136"/>
                <a:gd name="connsiteX3" fmla="*/ 1735898 w 17157070"/>
                <a:gd name="connsiteY3" fmla="*/ 8274535 h 12561136"/>
                <a:gd name="connsiteX4" fmla="*/ 3137400 w 17157070"/>
                <a:gd name="connsiteY4" fmla="*/ 8799095 h 12561136"/>
                <a:gd name="connsiteX5" fmla="*/ 3453963 w 17157070"/>
                <a:gd name="connsiteY5" fmla="*/ 10155586 h 12561136"/>
                <a:gd name="connsiteX6" fmla="*/ 4168520 w 17157070"/>
                <a:gd name="connsiteY6" fmla="*/ 11530155 h 12561136"/>
                <a:gd name="connsiteX7" fmla="*/ 4162343 w 17157070"/>
                <a:gd name="connsiteY7" fmla="*/ 12561136 h 12561136"/>
                <a:gd name="connsiteX8" fmla="*/ 4605215 w 17157070"/>
                <a:gd name="connsiteY8" fmla="*/ 12476972 h 12561136"/>
                <a:gd name="connsiteX9" fmla="*/ 4840336 w 17157070"/>
                <a:gd name="connsiteY9" fmla="*/ 12187590 h 12561136"/>
                <a:gd name="connsiteX10" fmla="*/ 6070201 w 17157070"/>
                <a:gd name="connsiteY10" fmla="*/ 12205682 h 12561136"/>
                <a:gd name="connsiteX11" fmla="*/ 6884082 w 17157070"/>
                <a:gd name="connsiteY11" fmla="*/ 11608830 h 12561136"/>
                <a:gd name="connsiteX12" fmla="*/ 7716051 w 17157070"/>
                <a:gd name="connsiteY12" fmla="*/ 11934389 h 12561136"/>
                <a:gd name="connsiteX13" fmla="*/ 8584189 w 17157070"/>
                <a:gd name="connsiteY13" fmla="*/ 11735437 h 12561136"/>
                <a:gd name="connsiteX14" fmla="*/ 9289552 w 17157070"/>
                <a:gd name="connsiteY14" fmla="*/ 11934389 h 12561136"/>
                <a:gd name="connsiteX15" fmla="*/ 10139605 w 17157070"/>
                <a:gd name="connsiteY15" fmla="*/ 11536489 h 12561136"/>
                <a:gd name="connsiteX16" fmla="*/ 10664108 w 17157070"/>
                <a:gd name="connsiteY16" fmla="*/ 11753525 h 12561136"/>
                <a:gd name="connsiteX17" fmla="*/ 11387555 w 17157070"/>
                <a:gd name="connsiteY17" fmla="*/ 11663095 h 12561136"/>
                <a:gd name="connsiteX18" fmla="*/ 11966315 w 17157070"/>
                <a:gd name="connsiteY18" fmla="*/ 12386550 h 12561136"/>
                <a:gd name="connsiteX19" fmla="*/ 12942975 w 17157070"/>
                <a:gd name="connsiteY19" fmla="*/ 12151421 h 12561136"/>
                <a:gd name="connsiteX20" fmla="*/ 13575992 w 17157070"/>
                <a:gd name="connsiteY20" fmla="*/ 12549321 h 12561136"/>
                <a:gd name="connsiteX21" fmla="*/ 13973888 w 17157070"/>
                <a:gd name="connsiteY21" fmla="*/ 12458888 h 12561136"/>
                <a:gd name="connsiteX22" fmla="*/ 14028146 w 17157070"/>
                <a:gd name="connsiteY22" fmla="*/ 11916297 h 12561136"/>
                <a:gd name="connsiteX23" fmla="*/ 13594073 w 17157070"/>
                <a:gd name="connsiteY23" fmla="*/ 11862040 h 12561136"/>
                <a:gd name="connsiteX24" fmla="*/ 13612161 w 17157070"/>
                <a:gd name="connsiteY24" fmla="*/ 11174761 h 12561136"/>
                <a:gd name="connsiteX25" fmla="*/ 14190925 w 17157070"/>
                <a:gd name="connsiteY25" fmla="*/ 11030074 h 12561136"/>
                <a:gd name="connsiteX26" fmla="*/ 13865366 w 17157070"/>
                <a:gd name="connsiteY26" fmla="*/ 10559829 h 12561136"/>
                <a:gd name="connsiteX27" fmla="*/ 14136664 w 17157070"/>
                <a:gd name="connsiteY27" fmla="*/ 10161933 h 12561136"/>
                <a:gd name="connsiteX28" fmla="*/ 14703435 w 17157070"/>
                <a:gd name="connsiteY28" fmla="*/ 10189029 h 12561136"/>
                <a:gd name="connsiteX29" fmla="*/ 14661163 w 17157070"/>
                <a:gd name="connsiteY29" fmla="*/ 10017245 h 12561136"/>
                <a:gd name="connsiteX30" fmla="*/ 14335608 w 17157070"/>
                <a:gd name="connsiteY30" fmla="*/ 9854470 h 12561136"/>
                <a:gd name="connsiteX31" fmla="*/ 14498387 w 17157070"/>
                <a:gd name="connsiteY31" fmla="*/ 9275706 h 12561136"/>
                <a:gd name="connsiteX32" fmla="*/ 13847278 w 17157070"/>
                <a:gd name="connsiteY32" fmla="*/ 8371392 h 12561136"/>
                <a:gd name="connsiteX33" fmla="*/ 13340864 w 17157070"/>
                <a:gd name="connsiteY33" fmla="*/ 7666029 h 12561136"/>
                <a:gd name="connsiteX34" fmla="*/ 13123831 w 17157070"/>
                <a:gd name="connsiteY34" fmla="*/ 6580851 h 12561136"/>
                <a:gd name="connsiteX35" fmla="*/ 13232349 w 17157070"/>
                <a:gd name="connsiteY35" fmla="*/ 5893577 h 12561136"/>
                <a:gd name="connsiteX36" fmla="*/ 12273778 w 17157070"/>
                <a:gd name="connsiteY36" fmla="*/ 5926738 h 12561136"/>
                <a:gd name="connsiteX37" fmla="*/ 12201432 w 17157070"/>
                <a:gd name="connsiteY37" fmla="*/ 5528838 h 12561136"/>
                <a:gd name="connsiteX38" fmla="*/ 12508887 w 17157070"/>
                <a:gd name="connsiteY38" fmla="*/ 5025443 h 12561136"/>
                <a:gd name="connsiteX39" fmla="*/ 13774933 w 17157070"/>
                <a:gd name="connsiteY39" fmla="*/ 4247727 h 12561136"/>
                <a:gd name="connsiteX40" fmla="*/ 15294184 w 17157070"/>
                <a:gd name="connsiteY40" fmla="*/ 3741312 h 12561136"/>
                <a:gd name="connsiteX41" fmla="*/ 15746333 w 17157070"/>
                <a:gd name="connsiteY41" fmla="*/ 4066867 h 12561136"/>
                <a:gd name="connsiteX42" fmla="*/ 16578306 w 17157070"/>
                <a:gd name="connsiteY42" fmla="*/ 3777485 h 12561136"/>
                <a:gd name="connsiteX43" fmla="*/ 17084732 w 17157070"/>
                <a:gd name="connsiteY43" fmla="*/ 4175393 h 12561136"/>
                <a:gd name="connsiteX44" fmla="*/ 17157070 w 17157070"/>
                <a:gd name="connsiteY44" fmla="*/ 3234902 h 12561136"/>
                <a:gd name="connsiteX45" fmla="*/ 16433615 w 17157070"/>
                <a:gd name="connsiteY45" fmla="*/ 3144472 h 12561136"/>
                <a:gd name="connsiteX46" fmla="*/ 16415865 w 17157070"/>
                <a:gd name="connsiteY46" fmla="*/ 2528320 h 12561136"/>
                <a:gd name="connsiteX47" fmla="*/ 15963191 w 17157070"/>
                <a:gd name="connsiteY47" fmla="*/ 2667776 h 12561136"/>
                <a:gd name="connsiteX48" fmla="*/ 14923009 w 17157070"/>
                <a:gd name="connsiteY48" fmla="*/ 1437893 h 12561136"/>
                <a:gd name="connsiteX49" fmla="*/ 14244644 w 17157070"/>
                <a:gd name="connsiteY49" fmla="*/ -2 h 12561136"/>
                <a:gd name="connsiteX50" fmla="*/ 13367278 w 17157070"/>
                <a:gd name="connsiteY50" fmla="*/ 289403 h 12561136"/>
                <a:gd name="connsiteX51" fmla="*/ 4600673 w 17157070"/>
                <a:gd name="connsiteY51" fmla="*/ 4675479 h 12561136"/>
                <a:gd name="connsiteX52" fmla="*/ 4416749 w 17157070"/>
                <a:gd name="connsiteY52" fmla="*/ 4252472 h 12561136"/>
                <a:gd name="connsiteX53" fmla="*/ 4653822 w 17157070"/>
                <a:gd name="connsiteY53" fmla="*/ 3702305 h 12561136"/>
                <a:gd name="connsiteX54" fmla="*/ 4432864 w 17157070"/>
                <a:gd name="connsiteY54" fmla="*/ 3149070 h 12561136"/>
                <a:gd name="connsiteX55" fmla="*/ 4437471 w 17157070"/>
                <a:gd name="connsiteY55" fmla="*/ 2480282 h 12561136"/>
                <a:gd name="connsiteX56" fmla="*/ 4141784 w 17157070"/>
                <a:gd name="connsiteY56" fmla="*/ 1760928 h 12561136"/>
                <a:gd name="connsiteX57" fmla="*/ 2314296 w 17157070"/>
                <a:gd name="connsiteY57" fmla="*/ 2043785 h 12561136"/>
                <a:gd name="connsiteX58" fmla="*/ 1334589 w 17157070"/>
                <a:gd name="connsiteY58" fmla="*/ 2848657 h 12561136"/>
                <a:gd name="connsiteX59" fmla="*/ 0 w 17157070"/>
                <a:gd name="connsiteY59" fmla="*/ 4196103 h 12561136"/>
                <a:gd name="connsiteX0" fmla="*/ 0 w 17157070"/>
                <a:gd name="connsiteY0" fmla="*/ 4196103 h 12561136"/>
                <a:gd name="connsiteX1" fmla="*/ 613837 w 17157070"/>
                <a:gd name="connsiteY1" fmla="*/ 6574461 h 12561136"/>
                <a:gd name="connsiteX2" fmla="*/ 1518338 w 17157070"/>
                <a:gd name="connsiteY2" fmla="*/ 7442611 h 12561136"/>
                <a:gd name="connsiteX3" fmla="*/ 1735898 w 17157070"/>
                <a:gd name="connsiteY3" fmla="*/ 8274535 h 12561136"/>
                <a:gd name="connsiteX4" fmla="*/ 3137400 w 17157070"/>
                <a:gd name="connsiteY4" fmla="*/ 8799095 h 12561136"/>
                <a:gd name="connsiteX5" fmla="*/ 3453963 w 17157070"/>
                <a:gd name="connsiteY5" fmla="*/ 10155586 h 12561136"/>
                <a:gd name="connsiteX6" fmla="*/ 4168520 w 17157070"/>
                <a:gd name="connsiteY6" fmla="*/ 11530155 h 12561136"/>
                <a:gd name="connsiteX7" fmla="*/ 4162343 w 17157070"/>
                <a:gd name="connsiteY7" fmla="*/ 12561136 h 12561136"/>
                <a:gd name="connsiteX8" fmla="*/ 4605215 w 17157070"/>
                <a:gd name="connsiteY8" fmla="*/ 12476972 h 12561136"/>
                <a:gd name="connsiteX9" fmla="*/ 4840336 w 17157070"/>
                <a:gd name="connsiteY9" fmla="*/ 12187590 h 12561136"/>
                <a:gd name="connsiteX10" fmla="*/ 6070201 w 17157070"/>
                <a:gd name="connsiteY10" fmla="*/ 12205682 h 12561136"/>
                <a:gd name="connsiteX11" fmla="*/ 6884082 w 17157070"/>
                <a:gd name="connsiteY11" fmla="*/ 11608830 h 12561136"/>
                <a:gd name="connsiteX12" fmla="*/ 7716051 w 17157070"/>
                <a:gd name="connsiteY12" fmla="*/ 11934389 h 12561136"/>
                <a:gd name="connsiteX13" fmla="*/ 8584189 w 17157070"/>
                <a:gd name="connsiteY13" fmla="*/ 11735437 h 12561136"/>
                <a:gd name="connsiteX14" fmla="*/ 9289552 w 17157070"/>
                <a:gd name="connsiteY14" fmla="*/ 11934389 h 12561136"/>
                <a:gd name="connsiteX15" fmla="*/ 10139605 w 17157070"/>
                <a:gd name="connsiteY15" fmla="*/ 11536489 h 12561136"/>
                <a:gd name="connsiteX16" fmla="*/ 10664108 w 17157070"/>
                <a:gd name="connsiteY16" fmla="*/ 11753525 h 12561136"/>
                <a:gd name="connsiteX17" fmla="*/ 11387555 w 17157070"/>
                <a:gd name="connsiteY17" fmla="*/ 11663095 h 12561136"/>
                <a:gd name="connsiteX18" fmla="*/ 11966315 w 17157070"/>
                <a:gd name="connsiteY18" fmla="*/ 12386550 h 12561136"/>
                <a:gd name="connsiteX19" fmla="*/ 12942975 w 17157070"/>
                <a:gd name="connsiteY19" fmla="*/ 12151421 h 12561136"/>
                <a:gd name="connsiteX20" fmla="*/ 13575992 w 17157070"/>
                <a:gd name="connsiteY20" fmla="*/ 12549321 h 12561136"/>
                <a:gd name="connsiteX21" fmla="*/ 13973888 w 17157070"/>
                <a:gd name="connsiteY21" fmla="*/ 12458888 h 12561136"/>
                <a:gd name="connsiteX22" fmla="*/ 14028146 w 17157070"/>
                <a:gd name="connsiteY22" fmla="*/ 11916297 h 12561136"/>
                <a:gd name="connsiteX23" fmla="*/ 13594073 w 17157070"/>
                <a:gd name="connsiteY23" fmla="*/ 11862040 h 12561136"/>
                <a:gd name="connsiteX24" fmla="*/ 13612161 w 17157070"/>
                <a:gd name="connsiteY24" fmla="*/ 11174761 h 12561136"/>
                <a:gd name="connsiteX25" fmla="*/ 14190925 w 17157070"/>
                <a:gd name="connsiteY25" fmla="*/ 11030074 h 12561136"/>
                <a:gd name="connsiteX26" fmla="*/ 13865366 w 17157070"/>
                <a:gd name="connsiteY26" fmla="*/ 10559829 h 12561136"/>
                <a:gd name="connsiteX27" fmla="*/ 14136664 w 17157070"/>
                <a:gd name="connsiteY27" fmla="*/ 10161933 h 12561136"/>
                <a:gd name="connsiteX28" fmla="*/ 14703435 w 17157070"/>
                <a:gd name="connsiteY28" fmla="*/ 10189029 h 12561136"/>
                <a:gd name="connsiteX29" fmla="*/ 14661163 w 17157070"/>
                <a:gd name="connsiteY29" fmla="*/ 10017245 h 12561136"/>
                <a:gd name="connsiteX30" fmla="*/ 14335608 w 17157070"/>
                <a:gd name="connsiteY30" fmla="*/ 9854470 h 12561136"/>
                <a:gd name="connsiteX31" fmla="*/ 14498387 w 17157070"/>
                <a:gd name="connsiteY31" fmla="*/ 9275706 h 12561136"/>
                <a:gd name="connsiteX32" fmla="*/ 13847278 w 17157070"/>
                <a:gd name="connsiteY32" fmla="*/ 8371392 h 12561136"/>
                <a:gd name="connsiteX33" fmla="*/ 13340864 w 17157070"/>
                <a:gd name="connsiteY33" fmla="*/ 7666029 h 12561136"/>
                <a:gd name="connsiteX34" fmla="*/ 13123831 w 17157070"/>
                <a:gd name="connsiteY34" fmla="*/ 6580851 h 12561136"/>
                <a:gd name="connsiteX35" fmla="*/ 13232349 w 17157070"/>
                <a:gd name="connsiteY35" fmla="*/ 5893577 h 12561136"/>
                <a:gd name="connsiteX36" fmla="*/ 12273778 w 17157070"/>
                <a:gd name="connsiteY36" fmla="*/ 5926738 h 12561136"/>
                <a:gd name="connsiteX37" fmla="*/ 12201432 w 17157070"/>
                <a:gd name="connsiteY37" fmla="*/ 5528838 h 12561136"/>
                <a:gd name="connsiteX38" fmla="*/ 12508887 w 17157070"/>
                <a:gd name="connsiteY38" fmla="*/ 5025443 h 12561136"/>
                <a:gd name="connsiteX39" fmla="*/ 13774933 w 17157070"/>
                <a:gd name="connsiteY39" fmla="*/ 4247727 h 12561136"/>
                <a:gd name="connsiteX40" fmla="*/ 15294184 w 17157070"/>
                <a:gd name="connsiteY40" fmla="*/ 3741312 h 12561136"/>
                <a:gd name="connsiteX41" fmla="*/ 15746333 w 17157070"/>
                <a:gd name="connsiteY41" fmla="*/ 4066867 h 12561136"/>
                <a:gd name="connsiteX42" fmla="*/ 16578306 w 17157070"/>
                <a:gd name="connsiteY42" fmla="*/ 3777485 h 12561136"/>
                <a:gd name="connsiteX43" fmla="*/ 17084732 w 17157070"/>
                <a:gd name="connsiteY43" fmla="*/ 4175393 h 12561136"/>
                <a:gd name="connsiteX44" fmla="*/ 17157070 w 17157070"/>
                <a:gd name="connsiteY44" fmla="*/ 3234902 h 12561136"/>
                <a:gd name="connsiteX45" fmla="*/ 16433615 w 17157070"/>
                <a:gd name="connsiteY45" fmla="*/ 3144472 h 12561136"/>
                <a:gd name="connsiteX46" fmla="*/ 16415865 w 17157070"/>
                <a:gd name="connsiteY46" fmla="*/ 2528320 h 12561136"/>
                <a:gd name="connsiteX47" fmla="*/ 15963191 w 17157070"/>
                <a:gd name="connsiteY47" fmla="*/ 2667776 h 12561136"/>
                <a:gd name="connsiteX48" fmla="*/ 14923009 w 17157070"/>
                <a:gd name="connsiteY48" fmla="*/ 1437893 h 12561136"/>
                <a:gd name="connsiteX49" fmla="*/ 14244644 w 17157070"/>
                <a:gd name="connsiteY49" fmla="*/ -2 h 12561136"/>
                <a:gd name="connsiteX50" fmla="*/ 4898441 w 17157070"/>
                <a:gd name="connsiteY50" fmla="*/ 4943950 h 12561136"/>
                <a:gd name="connsiteX51" fmla="*/ 4600673 w 17157070"/>
                <a:gd name="connsiteY51" fmla="*/ 4675479 h 12561136"/>
                <a:gd name="connsiteX52" fmla="*/ 4416749 w 17157070"/>
                <a:gd name="connsiteY52" fmla="*/ 4252472 h 12561136"/>
                <a:gd name="connsiteX53" fmla="*/ 4653822 w 17157070"/>
                <a:gd name="connsiteY53" fmla="*/ 3702305 h 12561136"/>
                <a:gd name="connsiteX54" fmla="*/ 4432864 w 17157070"/>
                <a:gd name="connsiteY54" fmla="*/ 3149070 h 12561136"/>
                <a:gd name="connsiteX55" fmla="*/ 4437471 w 17157070"/>
                <a:gd name="connsiteY55" fmla="*/ 2480282 h 12561136"/>
                <a:gd name="connsiteX56" fmla="*/ 4141784 w 17157070"/>
                <a:gd name="connsiteY56" fmla="*/ 1760928 h 12561136"/>
                <a:gd name="connsiteX57" fmla="*/ 2314296 w 17157070"/>
                <a:gd name="connsiteY57" fmla="*/ 2043785 h 12561136"/>
                <a:gd name="connsiteX58" fmla="*/ 1334589 w 17157070"/>
                <a:gd name="connsiteY58" fmla="*/ 2848657 h 12561136"/>
                <a:gd name="connsiteX59" fmla="*/ 0 w 17157070"/>
                <a:gd name="connsiteY59" fmla="*/ 4196103 h 12561136"/>
                <a:gd name="connsiteX0" fmla="*/ 0 w 17157070"/>
                <a:gd name="connsiteY0" fmla="*/ 2758209 h 11123242"/>
                <a:gd name="connsiteX1" fmla="*/ 613837 w 17157070"/>
                <a:gd name="connsiteY1" fmla="*/ 5136567 h 11123242"/>
                <a:gd name="connsiteX2" fmla="*/ 1518338 w 17157070"/>
                <a:gd name="connsiteY2" fmla="*/ 6004717 h 11123242"/>
                <a:gd name="connsiteX3" fmla="*/ 1735898 w 17157070"/>
                <a:gd name="connsiteY3" fmla="*/ 6836641 h 11123242"/>
                <a:gd name="connsiteX4" fmla="*/ 3137400 w 17157070"/>
                <a:gd name="connsiteY4" fmla="*/ 7361201 h 11123242"/>
                <a:gd name="connsiteX5" fmla="*/ 3453963 w 17157070"/>
                <a:gd name="connsiteY5" fmla="*/ 8717692 h 11123242"/>
                <a:gd name="connsiteX6" fmla="*/ 4168520 w 17157070"/>
                <a:gd name="connsiteY6" fmla="*/ 10092261 h 11123242"/>
                <a:gd name="connsiteX7" fmla="*/ 4162343 w 17157070"/>
                <a:gd name="connsiteY7" fmla="*/ 11123242 h 11123242"/>
                <a:gd name="connsiteX8" fmla="*/ 4605215 w 17157070"/>
                <a:gd name="connsiteY8" fmla="*/ 11039078 h 11123242"/>
                <a:gd name="connsiteX9" fmla="*/ 4840336 w 17157070"/>
                <a:gd name="connsiteY9" fmla="*/ 10749696 h 11123242"/>
                <a:gd name="connsiteX10" fmla="*/ 6070201 w 17157070"/>
                <a:gd name="connsiteY10" fmla="*/ 10767788 h 11123242"/>
                <a:gd name="connsiteX11" fmla="*/ 6884082 w 17157070"/>
                <a:gd name="connsiteY11" fmla="*/ 10170936 h 11123242"/>
                <a:gd name="connsiteX12" fmla="*/ 7716051 w 17157070"/>
                <a:gd name="connsiteY12" fmla="*/ 10496495 h 11123242"/>
                <a:gd name="connsiteX13" fmla="*/ 8584189 w 17157070"/>
                <a:gd name="connsiteY13" fmla="*/ 10297543 h 11123242"/>
                <a:gd name="connsiteX14" fmla="*/ 9289552 w 17157070"/>
                <a:gd name="connsiteY14" fmla="*/ 10496495 h 11123242"/>
                <a:gd name="connsiteX15" fmla="*/ 10139605 w 17157070"/>
                <a:gd name="connsiteY15" fmla="*/ 10098595 h 11123242"/>
                <a:gd name="connsiteX16" fmla="*/ 10664108 w 17157070"/>
                <a:gd name="connsiteY16" fmla="*/ 10315631 h 11123242"/>
                <a:gd name="connsiteX17" fmla="*/ 11387555 w 17157070"/>
                <a:gd name="connsiteY17" fmla="*/ 10225201 h 11123242"/>
                <a:gd name="connsiteX18" fmla="*/ 11966315 w 17157070"/>
                <a:gd name="connsiteY18" fmla="*/ 10948656 h 11123242"/>
                <a:gd name="connsiteX19" fmla="*/ 12942975 w 17157070"/>
                <a:gd name="connsiteY19" fmla="*/ 10713527 h 11123242"/>
                <a:gd name="connsiteX20" fmla="*/ 13575992 w 17157070"/>
                <a:gd name="connsiteY20" fmla="*/ 11111427 h 11123242"/>
                <a:gd name="connsiteX21" fmla="*/ 13973888 w 17157070"/>
                <a:gd name="connsiteY21" fmla="*/ 11020994 h 11123242"/>
                <a:gd name="connsiteX22" fmla="*/ 14028146 w 17157070"/>
                <a:gd name="connsiteY22" fmla="*/ 10478403 h 11123242"/>
                <a:gd name="connsiteX23" fmla="*/ 13594073 w 17157070"/>
                <a:gd name="connsiteY23" fmla="*/ 10424146 h 11123242"/>
                <a:gd name="connsiteX24" fmla="*/ 13612161 w 17157070"/>
                <a:gd name="connsiteY24" fmla="*/ 9736867 h 11123242"/>
                <a:gd name="connsiteX25" fmla="*/ 14190925 w 17157070"/>
                <a:gd name="connsiteY25" fmla="*/ 9592180 h 11123242"/>
                <a:gd name="connsiteX26" fmla="*/ 13865366 w 17157070"/>
                <a:gd name="connsiteY26" fmla="*/ 9121935 h 11123242"/>
                <a:gd name="connsiteX27" fmla="*/ 14136664 w 17157070"/>
                <a:gd name="connsiteY27" fmla="*/ 8724039 h 11123242"/>
                <a:gd name="connsiteX28" fmla="*/ 14703435 w 17157070"/>
                <a:gd name="connsiteY28" fmla="*/ 8751135 h 11123242"/>
                <a:gd name="connsiteX29" fmla="*/ 14661163 w 17157070"/>
                <a:gd name="connsiteY29" fmla="*/ 8579351 h 11123242"/>
                <a:gd name="connsiteX30" fmla="*/ 14335608 w 17157070"/>
                <a:gd name="connsiteY30" fmla="*/ 8416576 h 11123242"/>
                <a:gd name="connsiteX31" fmla="*/ 14498387 w 17157070"/>
                <a:gd name="connsiteY31" fmla="*/ 7837812 h 11123242"/>
                <a:gd name="connsiteX32" fmla="*/ 13847278 w 17157070"/>
                <a:gd name="connsiteY32" fmla="*/ 6933498 h 11123242"/>
                <a:gd name="connsiteX33" fmla="*/ 13340864 w 17157070"/>
                <a:gd name="connsiteY33" fmla="*/ 6228135 h 11123242"/>
                <a:gd name="connsiteX34" fmla="*/ 13123831 w 17157070"/>
                <a:gd name="connsiteY34" fmla="*/ 5142957 h 11123242"/>
                <a:gd name="connsiteX35" fmla="*/ 13232349 w 17157070"/>
                <a:gd name="connsiteY35" fmla="*/ 4455683 h 11123242"/>
                <a:gd name="connsiteX36" fmla="*/ 12273778 w 17157070"/>
                <a:gd name="connsiteY36" fmla="*/ 4488844 h 11123242"/>
                <a:gd name="connsiteX37" fmla="*/ 12201432 w 17157070"/>
                <a:gd name="connsiteY37" fmla="*/ 4090944 h 11123242"/>
                <a:gd name="connsiteX38" fmla="*/ 12508887 w 17157070"/>
                <a:gd name="connsiteY38" fmla="*/ 3587549 h 11123242"/>
                <a:gd name="connsiteX39" fmla="*/ 13774933 w 17157070"/>
                <a:gd name="connsiteY39" fmla="*/ 2809833 h 11123242"/>
                <a:gd name="connsiteX40" fmla="*/ 15294184 w 17157070"/>
                <a:gd name="connsiteY40" fmla="*/ 2303418 h 11123242"/>
                <a:gd name="connsiteX41" fmla="*/ 15746333 w 17157070"/>
                <a:gd name="connsiteY41" fmla="*/ 2628973 h 11123242"/>
                <a:gd name="connsiteX42" fmla="*/ 16578306 w 17157070"/>
                <a:gd name="connsiteY42" fmla="*/ 2339591 h 11123242"/>
                <a:gd name="connsiteX43" fmla="*/ 17084732 w 17157070"/>
                <a:gd name="connsiteY43" fmla="*/ 2737499 h 11123242"/>
                <a:gd name="connsiteX44" fmla="*/ 17157070 w 17157070"/>
                <a:gd name="connsiteY44" fmla="*/ 1797008 h 11123242"/>
                <a:gd name="connsiteX45" fmla="*/ 16433615 w 17157070"/>
                <a:gd name="connsiteY45" fmla="*/ 1706578 h 11123242"/>
                <a:gd name="connsiteX46" fmla="*/ 16415865 w 17157070"/>
                <a:gd name="connsiteY46" fmla="*/ 1090426 h 11123242"/>
                <a:gd name="connsiteX47" fmla="*/ 15963191 w 17157070"/>
                <a:gd name="connsiteY47" fmla="*/ 1229882 h 11123242"/>
                <a:gd name="connsiteX48" fmla="*/ 14923009 w 17157070"/>
                <a:gd name="connsiteY48" fmla="*/ -1 h 11123242"/>
                <a:gd name="connsiteX49" fmla="*/ 5153802 w 17157070"/>
                <a:gd name="connsiteY49" fmla="*/ 3455348 h 11123242"/>
                <a:gd name="connsiteX50" fmla="*/ 4898441 w 17157070"/>
                <a:gd name="connsiteY50" fmla="*/ 3506056 h 11123242"/>
                <a:gd name="connsiteX51" fmla="*/ 4600673 w 17157070"/>
                <a:gd name="connsiteY51" fmla="*/ 3237585 h 11123242"/>
                <a:gd name="connsiteX52" fmla="*/ 4416749 w 17157070"/>
                <a:gd name="connsiteY52" fmla="*/ 2814578 h 11123242"/>
                <a:gd name="connsiteX53" fmla="*/ 4653822 w 17157070"/>
                <a:gd name="connsiteY53" fmla="*/ 2264411 h 11123242"/>
                <a:gd name="connsiteX54" fmla="*/ 4432864 w 17157070"/>
                <a:gd name="connsiteY54" fmla="*/ 1711176 h 11123242"/>
                <a:gd name="connsiteX55" fmla="*/ 4437471 w 17157070"/>
                <a:gd name="connsiteY55" fmla="*/ 1042388 h 11123242"/>
                <a:gd name="connsiteX56" fmla="*/ 4141784 w 17157070"/>
                <a:gd name="connsiteY56" fmla="*/ 323034 h 11123242"/>
                <a:gd name="connsiteX57" fmla="*/ 2314296 w 17157070"/>
                <a:gd name="connsiteY57" fmla="*/ 605891 h 11123242"/>
                <a:gd name="connsiteX58" fmla="*/ 1334589 w 17157070"/>
                <a:gd name="connsiteY58" fmla="*/ 1410763 h 11123242"/>
                <a:gd name="connsiteX59" fmla="*/ 0 w 17157070"/>
                <a:gd name="connsiteY59" fmla="*/ 2758209 h 11123242"/>
                <a:gd name="connsiteX0" fmla="*/ 0 w 17157070"/>
                <a:gd name="connsiteY0" fmla="*/ 2435175 h 10800208"/>
                <a:gd name="connsiteX1" fmla="*/ 613837 w 17157070"/>
                <a:gd name="connsiteY1" fmla="*/ 4813533 h 10800208"/>
                <a:gd name="connsiteX2" fmla="*/ 1518338 w 17157070"/>
                <a:gd name="connsiteY2" fmla="*/ 5681683 h 10800208"/>
                <a:gd name="connsiteX3" fmla="*/ 1735898 w 17157070"/>
                <a:gd name="connsiteY3" fmla="*/ 6513607 h 10800208"/>
                <a:gd name="connsiteX4" fmla="*/ 3137400 w 17157070"/>
                <a:gd name="connsiteY4" fmla="*/ 7038167 h 10800208"/>
                <a:gd name="connsiteX5" fmla="*/ 3453963 w 17157070"/>
                <a:gd name="connsiteY5" fmla="*/ 8394658 h 10800208"/>
                <a:gd name="connsiteX6" fmla="*/ 4168520 w 17157070"/>
                <a:gd name="connsiteY6" fmla="*/ 9769227 h 10800208"/>
                <a:gd name="connsiteX7" fmla="*/ 4162343 w 17157070"/>
                <a:gd name="connsiteY7" fmla="*/ 10800208 h 10800208"/>
                <a:gd name="connsiteX8" fmla="*/ 4605215 w 17157070"/>
                <a:gd name="connsiteY8" fmla="*/ 10716044 h 10800208"/>
                <a:gd name="connsiteX9" fmla="*/ 4840336 w 17157070"/>
                <a:gd name="connsiteY9" fmla="*/ 10426662 h 10800208"/>
                <a:gd name="connsiteX10" fmla="*/ 6070201 w 17157070"/>
                <a:gd name="connsiteY10" fmla="*/ 10444754 h 10800208"/>
                <a:gd name="connsiteX11" fmla="*/ 6884082 w 17157070"/>
                <a:gd name="connsiteY11" fmla="*/ 9847902 h 10800208"/>
                <a:gd name="connsiteX12" fmla="*/ 7716051 w 17157070"/>
                <a:gd name="connsiteY12" fmla="*/ 10173461 h 10800208"/>
                <a:gd name="connsiteX13" fmla="*/ 8584189 w 17157070"/>
                <a:gd name="connsiteY13" fmla="*/ 9974509 h 10800208"/>
                <a:gd name="connsiteX14" fmla="*/ 9289552 w 17157070"/>
                <a:gd name="connsiteY14" fmla="*/ 10173461 h 10800208"/>
                <a:gd name="connsiteX15" fmla="*/ 10139605 w 17157070"/>
                <a:gd name="connsiteY15" fmla="*/ 9775561 h 10800208"/>
                <a:gd name="connsiteX16" fmla="*/ 10664108 w 17157070"/>
                <a:gd name="connsiteY16" fmla="*/ 9992597 h 10800208"/>
                <a:gd name="connsiteX17" fmla="*/ 11387555 w 17157070"/>
                <a:gd name="connsiteY17" fmla="*/ 9902167 h 10800208"/>
                <a:gd name="connsiteX18" fmla="*/ 11966315 w 17157070"/>
                <a:gd name="connsiteY18" fmla="*/ 10625622 h 10800208"/>
                <a:gd name="connsiteX19" fmla="*/ 12942975 w 17157070"/>
                <a:gd name="connsiteY19" fmla="*/ 10390493 h 10800208"/>
                <a:gd name="connsiteX20" fmla="*/ 13575992 w 17157070"/>
                <a:gd name="connsiteY20" fmla="*/ 10788393 h 10800208"/>
                <a:gd name="connsiteX21" fmla="*/ 13973888 w 17157070"/>
                <a:gd name="connsiteY21" fmla="*/ 10697960 h 10800208"/>
                <a:gd name="connsiteX22" fmla="*/ 14028146 w 17157070"/>
                <a:gd name="connsiteY22" fmla="*/ 10155369 h 10800208"/>
                <a:gd name="connsiteX23" fmla="*/ 13594073 w 17157070"/>
                <a:gd name="connsiteY23" fmla="*/ 10101112 h 10800208"/>
                <a:gd name="connsiteX24" fmla="*/ 13612161 w 17157070"/>
                <a:gd name="connsiteY24" fmla="*/ 9413833 h 10800208"/>
                <a:gd name="connsiteX25" fmla="*/ 14190925 w 17157070"/>
                <a:gd name="connsiteY25" fmla="*/ 9269146 h 10800208"/>
                <a:gd name="connsiteX26" fmla="*/ 13865366 w 17157070"/>
                <a:gd name="connsiteY26" fmla="*/ 8798901 h 10800208"/>
                <a:gd name="connsiteX27" fmla="*/ 14136664 w 17157070"/>
                <a:gd name="connsiteY27" fmla="*/ 8401005 h 10800208"/>
                <a:gd name="connsiteX28" fmla="*/ 14703435 w 17157070"/>
                <a:gd name="connsiteY28" fmla="*/ 8428101 h 10800208"/>
                <a:gd name="connsiteX29" fmla="*/ 14661163 w 17157070"/>
                <a:gd name="connsiteY29" fmla="*/ 8256317 h 10800208"/>
                <a:gd name="connsiteX30" fmla="*/ 14335608 w 17157070"/>
                <a:gd name="connsiteY30" fmla="*/ 8093542 h 10800208"/>
                <a:gd name="connsiteX31" fmla="*/ 14498387 w 17157070"/>
                <a:gd name="connsiteY31" fmla="*/ 7514778 h 10800208"/>
                <a:gd name="connsiteX32" fmla="*/ 13847278 w 17157070"/>
                <a:gd name="connsiteY32" fmla="*/ 6610464 h 10800208"/>
                <a:gd name="connsiteX33" fmla="*/ 13340864 w 17157070"/>
                <a:gd name="connsiteY33" fmla="*/ 5905101 h 10800208"/>
                <a:gd name="connsiteX34" fmla="*/ 13123831 w 17157070"/>
                <a:gd name="connsiteY34" fmla="*/ 4819923 h 10800208"/>
                <a:gd name="connsiteX35" fmla="*/ 13232349 w 17157070"/>
                <a:gd name="connsiteY35" fmla="*/ 4132649 h 10800208"/>
                <a:gd name="connsiteX36" fmla="*/ 12273778 w 17157070"/>
                <a:gd name="connsiteY36" fmla="*/ 4165810 h 10800208"/>
                <a:gd name="connsiteX37" fmla="*/ 12201432 w 17157070"/>
                <a:gd name="connsiteY37" fmla="*/ 3767910 h 10800208"/>
                <a:gd name="connsiteX38" fmla="*/ 12508887 w 17157070"/>
                <a:gd name="connsiteY38" fmla="*/ 3264515 h 10800208"/>
                <a:gd name="connsiteX39" fmla="*/ 13774933 w 17157070"/>
                <a:gd name="connsiteY39" fmla="*/ 2486799 h 10800208"/>
                <a:gd name="connsiteX40" fmla="*/ 15294184 w 17157070"/>
                <a:gd name="connsiteY40" fmla="*/ 1980384 h 10800208"/>
                <a:gd name="connsiteX41" fmla="*/ 15746333 w 17157070"/>
                <a:gd name="connsiteY41" fmla="*/ 2305939 h 10800208"/>
                <a:gd name="connsiteX42" fmla="*/ 16578306 w 17157070"/>
                <a:gd name="connsiteY42" fmla="*/ 2016557 h 10800208"/>
                <a:gd name="connsiteX43" fmla="*/ 17084732 w 17157070"/>
                <a:gd name="connsiteY43" fmla="*/ 2414465 h 10800208"/>
                <a:gd name="connsiteX44" fmla="*/ 17157070 w 17157070"/>
                <a:gd name="connsiteY44" fmla="*/ 1473974 h 10800208"/>
                <a:gd name="connsiteX45" fmla="*/ 16433615 w 17157070"/>
                <a:gd name="connsiteY45" fmla="*/ 1383544 h 10800208"/>
                <a:gd name="connsiteX46" fmla="*/ 16415865 w 17157070"/>
                <a:gd name="connsiteY46" fmla="*/ 767392 h 10800208"/>
                <a:gd name="connsiteX47" fmla="*/ 15963191 w 17157070"/>
                <a:gd name="connsiteY47" fmla="*/ 906848 h 10800208"/>
                <a:gd name="connsiteX48" fmla="*/ 5153802 w 17157070"/>
                <a:gd name="connsiteY48" fmla="*/ 3132314 h 10800208"/>
                <a:gd name="connsiteX49" fmla="*/ 4898441 w 17157070"/>
                <a:gd name="connsiteY49" fmla="*/ 3183022 h 10800208"/>
                <a:gd name="connsiteX50" fmla="*/ 4600673 w 17157070"/>
                <a:gd name="connsiteY50" fmla="*/ 2914551 h 10800208"/>
                <a:gd name="connsiteX51" fmla="*/ 4416749 w 17157070"/>
                <a:gd name="connsiteY51" fmla="*/ 2491544 h 10800208"/>
                <a:gd name="connsiteX52" fmla="*/ 4653822 w 17157070"/>
                <a:gd name="connsiteY52" fmla="*/ 1941377 h 10800208"/>
                <a:gd name="connsiteX53" fmla="*/ 4432864 w 17157070"/>
                <a:gd name="connsiteY53" fmla="*/ 1388142 h 10800208"/>
                <a:gd name="connsiteX54" fmla="*/ 4437471 w 17157070"/>
                <a:gd name="connsiteY54" fmla="*/ 719354 h 10800208"/>
                <a:gd name="connsiteX55" fmla="*/ 4141784 w 17157070"/>
                <a:gd name="connsiteY55" fmla="*/ 0 h 10800208"/>
                <a:gd name="connsiteX56" fmla="*/ 2314296 w 17157070"/>
                <a:gd name="connsiteY56" fmla="*/ 282857 h 10800208"/>
                <a:gd name="connsiteX57" fmla="*/ 1334589 w 17157070"/>
                <a:gd name="connsiteY57" fmla="*/ 1087729 h 10800208"/>
                <a:gd name="connsiteX58" fmla="*/ 0 w 17157070"/>
                <a:gd name="connsiteY58" fmla="*/ 2435175 h 10800208"/>
                <a:gd name="connsiteX0" fmla="*/ 0 w 17157070"/>
                <a:gd name="connsiteY0" fmla="*/ 2435175 h 10800208"/>
                <a:gd name="connsiteX1" fmla="*/ 613837 w 17157070"/>
                <a:gd name="connsiteY1" fmla="*/ 4813533 h 10800208"/>
                <a:gd name="connsiteX2" fmla="*/ 1518338 w 17157070"/>
                <a:gd name="connsiteY2" fmla="*/ 5681683 h 10800208"/>
                <a:gd name="connsiteX3" fmla="*/ 1735898 w 17157070"/>
                <a:gd name="connsiteY3" fmla="*/ 6513607 h 10800208"/>
                <a:gd name="connsiteX4" fmla="*/ 3137400 w 17157070"/>
                <a:gd name="connsiteY4" fmla="*/ 7038167 h 10800208"/>
                <a:gd name="connsiteX5" fmla="*/ 3453963 w 17157070"/>
                <a:gd name="connsiteY5" fmla="*/ 8394658 h 10800208"/>
                <a:gd name="connsiteX6" fmla="*/ 4168520 w 17157070"/>
                <a:gd name="connsiteY6" fmla="*/ 9769227 h 10800208"/>
                <a:gd name="connsiteX7" fmla="*/ 4162343 w 17157070"/>
                <a:gd name="connsiteY7" fmla="*/ 10800208 h 10800208"/>
                <a:gd name="connsiteX8" fmla="*/ 4605215 w 17157070"/>
                <a:gd name="connsiteY8" fmla="*/ 10716044 h 10800208"/>
                <a:gd name="connsiteX9" fmla="*/ 4840336 w 17157070"/>
                <a:gd name="connsiteY9" fmla="*/ 10426662 h 10800208"/>
                <a:gd name="connsiteX10" fmla="*/ 6070201 w 17157070"/>
                <a:gd name="connsiteY10" fmla="*/ 10444754 h 10800208"/>
                <a:gd name="connsiteX11" fmla="*/ 6884082 w 17157070"/>
                <a:gd name="connsiteY11" fmla="*/ 9847902 h 10800208"/>
                <a:gd name="connsiteX12" fmla="*/ 7716051 w 17157070"/>
                <a:gd name="connsiteY12" fmla="*/ 10173461 h 10800208"/>
                <a:gd name="connsiteX13" fmla="*/ 8584189 w 17157070"/>
                <a:gd name="connsiteY13" fmla="*/ 9974509 h 10800208"/>
                <a:gd name="connsiteX14" fmla="*/ 9289552 w 17157070"/>
                <a:gd name="connsiteY14" fmla="*/ 10173461 h 10800208"/>
                <a:gd name="connsiteX15" fmla="*/ 10139605 w 17157070"/>
                <a:gd name="connsiteY15" fmla="*/ 9775561 h 10800208"/>
                <a:gd name="connsiteX16" fmla="*/ 10664108 w 17157070"/>
                <a:gd name="connsiteY16" fmla="*/ 9992597 h 10800208"/>
                <a:gd name="connsiteX17" fmla="*/ 11387555 w 17157070"/>
                <a:gd name="connsiteY17" fmla="*/ 9902167 h 10800208"/>
                <a:gd name="connsiteX18" fmla="*/ 11966315 w 17157070"/>
                <a:gd name="connsiteY18" fmla="*/ 10625622 h 10800208"/>
                <a:gd name="connsiteX19" fmla="*/ 12942975 w 17157070"/>
                <a:gd name="connsiteY19" fmla="*/ 10390493 h 10800208"/>
                <a:gd name="connsiteX20" fmla="*/ 13575992 w 17157070"/>
                <a:gd name="connsiteY20" fmla="*/ 10788393 h 10800208"/>
                <a:gd name="connsiteX21" fmla="*/ 13973888 w 17157070"/>
                <a:gd name="connsiteY21" fmla="*/ 10697960 h 10800208"/>
                <a:gd name="connsiteX22" fmla="*/ 14028146 w 17157070"/>
                <a:gd name="connsiteY22" fmla="*/ 10155369 h 10800208"/>
                <a:gd name="connsiteX23" fmla="*/ 13594073 w 17157070"/>
                <a:gd name="connsiteY23" fmla="*/ 10101112 h 10800208"/>
                <a:gd name="connsiteX24" fmla="*/ 13612161 w 17157070"/>
                <a:gd name="connsiteY24" fmla="*/ 9413833 h 10800208"/>
                <a:gd name="connsiteX25" fmla="*/ 14190925 w 17157070"/>
                <a:gd name="connsiteY25" fmla="*/ 9269146 h 10800208"/>
                <a:gd name="connsiteX26" fmla="*/ 13865366 w 17157070"/>
                <a:gd name="connsiteY26" fmla="*/ 8798901 h 10800208"/>
                <a:gd name="connsiteX27" fmla="*/ 14136664 w 17157070"/>
                <a:gd name="connsiteY27" fmla="*/ 8401005 h 10800208"/>
                <a:gd name="connsiteX28" fmla="*/ 14703435 w 17157070"/>
                <a:gd name="connsiteY28" fmla="*/ 8428101 h 10800208"/>
                <a:gd name="connsiteX29" fmla="*/ 14661163 w 17157070"/>
                <a:gd name="connsiteY29" fmla="*/ 8256317 h 10800208"/>
                <a:gd name="connsiteX30" fmla="*/ 14335608 w 17157070"/>
                <a:gd name="connsiteY30" fmla="*/ 8093542 h 10800208"/>
                <a:gd name="connsiteX31" fmla="*/ 14498387 w 17157070"/>
                <a:gd name="connsiteY31" fmla="*/ 7514778 h 10800208"/>
                <a:gd name="connsiteX32" fmla="*/ 13847278 w 17157070"/>
                <a:gd name="connsiteY32" fmla="*/ 6610464 h 10800208"/>
                <a:gd name="connsiteX33" fmla="*/ 13340864 w 17157070"/>
                <a:gd name="connsiteY33" fmla="*/ 5905101 h 10800208"/>
                <a:gd name="connsiteX34" fmla="*/ 13123831 w 17157070"/>
                <a:gd name="connsiteY34" fmla="*/ 4819923 h 10800208"/>
                <a:gd name="connsiteX35" fmla="*/ 13232349 w 17157070"/>
                <a:gd name="connsiteY35" fmla="*/ 4132649 h 10800208"/>
                <a:gd name="connsiteX36" fmla="*/ 12273778 w 17157070"/>
                <a:gd name="connsiteY36" fmla="*/ 4165810 h 10800208"/>
                <a:gd name="connsiteX37" fmla="*/ 12201432 w 17157070"/>
                <a:gd name="connsiteY37" fmla="*/ 3767910 h 10800208"/>
                <a:gd name="connsiteX38" fmla="*/ 12508887 w 17157070"/>
                <a:gd name="connsiteY38" fmla="*/ 3264515 h 10800208"/>
                <a:gd name="connsiteX39" fmla="*/ 13774933 w 17157070"/>
                <a:gd name="connsiteY39" fmla="*/ 2486799 h 10800208"/>
                <a:gd name="connsiteX40" fmla="*/ 15294184 w 17157070"/>
                <a:gd name="connsiteY40" fmla="*/ 1980384 h 10800208"/>
                <a:gd name="connsiteX41" fmla="*/ 15746333 w 17157070"/>
                <a:gd name="connsiteY41" fmla="*/ 2305939 h 10800208"/>
                <a:gd name="connsiteX42" fmla="*/ 16578306 w 17157070"/>
                <a:gd name="connsiteY42" fmla="*/ 2016557 h 10800208"/>
                <a:gd name="connsiteX43" fmla="*/ 17084732 w 17157070"/>
                <a:gd name="connsiteY43" fmla="*/ 2414465 h 10800208"/>
                <a:gd name="connsiteX44" fmla="*/ 17157070 w 17157070"/>
                <a:gd name="connsiteY44" fmla="*/ 1473974 h 10800208"/>
                <a:gd name="connsiteX45" fmla="*/ 16433615 w 17157070"/>
                <a:gd name="connsiteY45" fmla="*/ 1383544 h 10800208"/>
                <a:gd name="connsiteX46" fmla="*/ 16415865 w 17157070"/>
                <a:gd name="connsiteY46" fmla="*/ 767392 h 10800208"/>
                <a:gd name="connsiteX47" fmla="*/ 5365184 w 17157070"/>
                <a:gd name="connsiteY47" fmla="*/ 3460880 h 10800208"/>
                <a:gd name="connsiteX48" fmla="*/ 5153802 w 17157070"/>
                <a:gd name="connsiteY48" fmla="*/ 3132314 h 10800208"/>
                <a:gd name="connsiteX49" fmla="*/ 4898441 w 17157070"/>
                <a:gd name="connsiteY49" fmla="*/ 3183022 h 10800208"/>
                <a:gd name="connsiteX50" fmla="*/ 4600673 w 17157070"/>
                <a:gd name="connsiteY50" fmla="*/ 2914551 h 10800208"/>
                <a:gd name="connsiteX51" fmla="*/ 4416749 w 17157070"/>
                <a:gd name="connsiteY51" fmla="*/ 2491544 h 10800208"/>
                <a:gd name="connsiteX52" fmla="*/ 4653822 w 17157070"/>
                <a:gd name="connsiteY52" fmla="*/ 1941377 h 10800208"/>
                <a:gd name="connsiteX53" fmla="*/ 4432864 w 17157070"/>
                <a:gd name="connsiteY53" fmla="*/ 1388142 h 10800208"/>
                <a:gd name="connsiteX54" fmla="*/ 4437471 w 17157070"/>
                <a:gd name="connsiteY54" fmla="*/ 719354 h 10800208"/>
                <a:gd name="connsiteX55" fmla="*/ 4141784 w 17157070"/>
                <a:gd name="connsiteY55" fmla="*/ 0 h 10800208"/>
                <a:gd name="connsiteX56" fmla="*/ 2314296 w 17157070"/>
                <a:gd name="connsiteY56" fmla="*/ 282857 h 10800208"/>
                <a:gd name="connsiteX57" fmla="*/ 1334589 w 17157070"/>
                <a:gd name="connsiteY57" fmla="*/ 1087729 h 10800208"/>
                <a:gd name="connsiteX58" fmla="*/ 0 w 17157070"/>
                <a:gd name="connsiteY58" fmla="*/ 2435175 h 10800208"/>
                <a:gd name="connsiteX0" fmla="*/ 0 w 17157070"/>
                <a:gd name="connsiteY0" fmla="*/ 2435175 h 10800208"/>
                <a:gd name="connsiteX1" fmla="*/ 613837 w 17157070"/>
                <a:gd name="connsiteY1" fmla="*/ 4813533 h 10800208"/>
                <a:gd name="connsiteX2" fmla="*/ 1518338 w 17157070"/>
                <a:gd name="connsiteY2" fmla="*/ 5681683 h 10800208"/>
                <a:gd name="connsiteX3" fmla="*/ 1735898 w 17157070"/>
                <a:gd name="connsiteY3" fmla="*/ 6513607 h 10800208"/>
                <a:gd name="connsiteX4" fmla="*/ 3137400 w 17157070"/>
                <a:gd name="connsiteY4" fmla="*/ 7038167 h 10800208"/>
                <a:gd name="connsiteX5" fmla="*/ 3453963 w 17157070"/>
                <a:gd name="connsiteY5" fmla="*/ 8394658 h 10800208"/>
                <a:gd name="connsiteX6" fmla="*/ 4168520 w 17157070"/>
                <a:gd name="connsiteY6" fmla="*/ 9769227 h 10800208"/>
                <a:gd name="connsiteX7" fmla="*/ 4162343 w 17157070"/>
                <a:gd name="connsiteY7" fmla="*/ 10800208 h 10800208"/>
                <a:gd name="connsiteX8" fmla="*/ 4605215 w 17157070"/>
                <a:gd name="connsiteY8" fmla="*/ 10716044 h 10800208"/>
                <a:gd name="connsiteX9" fmla="*/ 4840336 w 17157070"/>
                <a:gd name="connsiteY9" fmla="*/ 10426662 h 10800208"/>
                <a:gd name="connsiteX10" fmla="*/ 6070201 w 17157070"/>
                <a:gd name="connsiteY10" fmla="*/ 10444754 h 10800208"/>
                <a:gd name="connsiteX11" fmla="*/ 6884082 w 17157070"/>
                <a:gd name="connsiteY11" fmla="*/ 9847902 h 10800208"/>
                <a:gd name="connsiteX12" fmla="*/ 7716051 w 17157070"/>
                <a:gd name="connsiteY12" fmla="*/ 10173461 h 10800208"/>
                <a:gd name="connsiteX13" fmla="*/ 8584189 w 17157070"/>
                <a:gd name="connsiteY13" fmla="*/ 9974509 h 10800208"/>
                <a:gd name="connsiteX14" fmla="*/ 9289552 w 17157070"/>
                <a:gd name="connsiteY14" fmla="*/ 10173461 h 10800208"/>
                <a:gd name="connsiteX15" fmla="*/ 10139605 w 17157070"/>
                <a:gd name="connsiteY15" fmla="*/ 9775561 h 10800208"/>
                <a:gd name="connsiteX16" fmla="*/ 10664108 w 17157070"/>
                <a:gd name="connsiteY16" fmla="*/ 9992597 h 10800208"/>
                <a:gd name="connsiteX17" fmla="*/ 11387555 w 17157070"/>
                <a:gd name="connsiteY17" fmla="*/ 9902167 h 10800208"/>
                <a:gd name="connsiteX18" fmla="*/ 11966315 w 17157070"/>
                <a:gd name="connsiteY18" fmla="*/ 10625622 h 10800208"/>
                <a:gd name="connsiteX19" fmla="*/ 12942975 w 17157070"/>
                <a:gd name="connsiteY19" fmla="*/ 10390493 h 10800208"/>
                <a:gd name="connsiteX20" fmla="*/ 13575992 w 17157070"/>
                <a:gd name="connsiteY20" fmla="*/ 10788393 h 10800208"/>
                <a:gd name="connsiteX21" fmla="*/ 13973888 w 17157070"/>
                <a:gd name="connsiteY21" fmla="*/ 10697960 h 10800208"/>
                <a:gd name="connsiteX22" fmla="*/ 14028146 w 17157070"/>
                <a:gd name="connsiteY22" fmla="*/ 10155369 h 10800208"/>
                <a:gd name="connsiteX23" fmla="*/ 13594073 w 17157070"/>
                <a:gd name="connsiteY23" fmla="*/ 10101112 h 10800208"/>
                <a:gd name="connsiteX24" fmla="*/ 13612161 w 17157070"/>
                <a:gd name="connsiteY24" fmla="*/ 9413833 h 10800208"/>
                <a:gd name="connsiteX25" fmla="*/ 14190925 w 17157070"/>
                <a:gd name="connsiteY25" fmla="*/ 9269146 h 10800208"/>
                <a:gd name="connsiteX26" fmla="*/ 13865366 w 17157070"/>
                <a:gd name="connsiteY26" fmla="*/ 8798901 h 10800208"/>
                <a:gd name="connsiteX27" fmla="*/ 14136664 w 17157070"/>
                <a:gd name="connsiteY27" fmla="*/ 8401005 h 10800208"/>
                <a:gd name="connsiteX28" fmla="*/ 14703435 w 17157070"/>
                <a:gd name="connsiteY28" fmla="*/ 8428101 h 10800208"/>
                <a:gd name="connsiteX29" fmla="*/ 14661163 w 17157070"/>
                <a:gd name="connsiteY29" fmla="*/ 8256317 h 10800208"/>
                <a:gd name="connsiteX30" fmla="*/ 14335608 w 17157070"/>
                <a:gd name="connsiteY30" fmla="*/ 8093542 h 10800208"/>
                <a:gd name="connsiteX31" fmla="*/ 14498387 w 17157070"/>
                <a:gd name="connsiteY31" fmla="*/ 7514778 h 10800208"/>
                <a:gd name="connsiteX32" fmla="*/ 13847278 w 17157070"/>
                <a:gd name="connsiteY32" fmla="*/ 6610464 h 10800208"/>
                <a:gd name="connsiteX33" fmla="*/ 13340864 w 17157070"/>
                <a:gd name="connsiteY33" fmla="*/ 5905101 h 10800208"/>
                <a:gd name="connsiteX34" fmla="*/ 13123831 w 17157070"/>
                <a:gd name="connsiteY34" fmla="*/ 4819923 h 10800208"/>
                <a:gd name="connsiteX35" fmla="*/ 13232349 w 17157070"/>
                <a:gd name="connsiteY35" fmla="*/ 4132649 h 10800208"/>
                <a:gd name="connsiteX36" fmla="*/ 12273778 w 17157070"/>
                <a:gd name="connsiteY36" fmla="*/ 4165810 h 10800208"/>
                <a:gd name="connsiteX37" fmla="*/ 12201432 w 17157070"/>
                <a:gd name="connsiteY37" fmla="*/ 3767910 h 10800208"/>
                <a:gd name="connsiteX38" fmla="*/ 12508887 w 17157070"/>
                <a:gd name="connsiteY38" fmla="*/ 3264515 h 10800208"/>
                <a:gd name="connsiteX39" fmla="*/ 13774933 w 17157070"/>
                <a:gd name="connsiteY39" fmla="*/ 2486799 h 10800208"/>
                <a:gd name="connsiteX40" fmla="*/ 15294184 w 17157070"/>
                <a:gd name="connsiteY40" fmla="*/ 1980384 h 10800208"/>
                <a:gd name="connsiteX41" fmla="*/ 15746333 w 17157070"/>
                <a:gd name="connsiteY41" fmla="*/ 2305939 h 10800208"/>
                <a:gd name="connsiteX42" fmla="*/ 16578306 w 17157070"/>
                <a:gd name="connsiteY42" fmla="*/ 2016557 h 10800208"/>
                <a:gd name="connsiteX43" fmla="*/ 17084732 w 17157070"/>
                <a:gd name="connsiteY43" fmla="*/ 2414465 h 10800208"/>
                <a:gd name="connsiteX44" fmla="*/ 17157070 w 17157070"/>
                <a:gd name="connsiteY44" fmla="*/ 1473974 h 10800208"/>
                <a:gd name="connsiteX45" fmla="*/ 16433615 w 17157070"/>
                <a:gd name="connsiteY45" fmla="*/ 1383544 h 10800208"/>
                <a:gd name="connsiteX46" fmla="*/ 5365184 w 17157070"/>
                <a:gd name="connsiteY46" fmla="*/ 3460880 h 10800208"/>
                <a:gd name="connsiteX47" fmla="*/ 5153802 w 17157070"/>
                <a:gd name="connsiteY47" fmla="*/ 3132314 h 10800208"/>
                <a:gd name="connsiteX48" fmla="*/ 4898441 w 17157070"/>
                <a:gd name="connsiteY48" fmla="*/ 3183022 h 10800208"/>
                <a:gd name="connsiteX49" fmla="*/ 4600673 w 17157070"/>
                <a:gd name="connsiteY49" fmla="*/ 2914551 h 10800208"/>
                <a:gd name="connsiteX50" fmla="*/ 4416749 w 17157070"/>
                <a:gd name="connsiteY50" fmla="*/ 2491544 h 10800208"/>
                <a:gd name="connsiteX51" fmla="*/ 4653822 w 17157070"/>
                <a:gd name="connsiteY51" fmla="*/ 1941377 h 10800208"/>
                <a:gd name="connsiteX52" fmla="*/ 4432864 w 17157070"/>
                <a:gd name="connsiteY52" fmla="*/ 1388142 h 10800208"/>
                <a:gd name="connsiteX53" fmla="*/ 4437471 w 17157070"/>
                <a:gd name="connsiteY53" fmla="*/ 719354 h 10800208"/>
                <a:gd name="connsiteX54" fmla="*/ 4141784 w 17157070"/>
                <a:gd name="connsiteY54" fmla="*/ 0 h 10800208"/>
                <a:gd name="connsiteX55" fmla="*/ 2314296 w 17157070"/>
                <a:gd name="connsiteY55" fmla="*/ 282857 h 10800208"/>
                <a:gd name="connsiteX56" fmla="*/ 1334589 w 17157070"/>
                <a:gd name="connsiteY56" fmla="*/ 1087729 h 10800208"/>
                <a:gd name="connsiteX57" fmla="*/ 0 w 17157070"/>
                <a:gd name="connsiteY57" fmla="*/ 2435175 h 10800208"/>
                <a:gd name="connsiteX0" fmla="*/ 0 w 17157070"/>
                <a:gd name="connsiteY0" fmla="*/ 2435175 h 10800208"/>
                <a:gd name="connsiteX1" fmla="*/ 613837 w 17157070"/>
                <a:gd name="connsiteY1" fmla="*/ 4813533 h 10800208"/>
                <a:gd name="connsiteX2" fmla="*/ 1518338 w 17157070"/>
                <a:gd name="connsiteY2" fmla="*/ 5681683 h 10800208"/>
                <a:gd name="connsiteX3" fmla="*/ 1735898 w 17157070"/>
                <a:gd name="connsiteY3" fmla="*/ 6513607 h 10800208"/>
                <a:gd name="connsiteX4" fmla="*/ 3137400 w 17157070"/>
                <a:gd name="connsiteY4" fmla="*/ 7038167 h 10800208"/>
                <a:gd name="connsiteX5" fmla="*/ 3453963 w 17157070"/>
                <a:gd name="connsiteY5" fmla="*/ 8394658 h 10800208"/>
                <a:gd name="connsiteX6" fmla="*/ 4168520 w 17157070"/>
                <a:gd name="connsiteY6" fmla="*/ 9769227 h 10800208"/>
                <a:gd name="connsiteX7" fmla="*/ 4162343 w 17157070"/>
                <a:gd name="connsiteY7" fmla="*/ 10800208 h 10800208"/>
                <a:gd name="connsiteX8" fmla="*/ 4605215 w 17157070"/>
                <a:gd name="connsiteY8" fmla="*/ 10716044 h 10800208"/>
                <a:gd name="connsiteX9" fmla="*/ 4840336 w 17157070"/>
                <a:gd name="connsiteY9" fmla="*/ 10426662 h 10800208"/>
                <a:gd name="connsiteX10" fmla="*/ 6070201 w 17157070"/>
                <a:gd name="connsiteY10" fmla="*/ 10444754 h 10800208"/>
                <a:gd name="connsiteX11" fmla="*/ 6884082 w 17157070"/>
                <a:gd name="connsiteY11" fmla="*/ 9847902 h 10800208"/>
                <a:gd name="connsiteX12" fmla="*/ 7716051 w 17157070"/>
                <a:gd name="connsiteY12" fmla="*/ 10173461 h 10800208"/>
                <a:gd name="connsiteX13" fmla="*/ 8584189 w 17157070"/>
                <a:gd name="connsiteY13" fmla="*/ 9974509 h 10800208"/>
                <a:gd name="connsiteX14" fmla="*/ 9289552 w 17157070"/>
                <a:gd name="connsiteY14" fmla="*/ 10173461 h 10800208"/>
                <a:gd name="connsiteX15" fmla="*/ 10139605 w 17157070"/>
                <a:gd name="connsiteY15" fmla="*/ 9775561 h 10800208"/>
                <a:gd name="connsiteX16" fmla="*/ 10664108 w 17157070"/>
                <a:gd name="connsiteY16" fmla="*/ 9992597 h 10800208"/>
                <a:gd name="connsiteX17" fmla="*/ 11387555 w 17157070"/>
                <a:gd name="connsiteY17" fmla="*/ 9902167 h 10800208"/>
                <a:gd name="connsiteX18" fmla="*/ 11966315 w 17157070"/>
                <a:gd name="connsiteY18" fmla="*/ 10625622 h 10800208"/>
                <a:gd name="connsiteX19" fmla="*/ 12942975 w 17157070"/>
                <a:gd name="connsiteY19" fmla="*/ 10390493 h 10800208"/>
                <a:gd name="connsiteX20" fmla="*/ 13575992 w 17157070"/>
                <a:gd name="connsiteY20" fmla="*/ 10788393 h 10800208"/>
                <a:gd name="connsiteX21" fmla="*/ 13973888 w 17157070"/>
                <a:gd name="connsiteY21" fmla="*/ 10697960 h 10800208"/>
                <a:gd name="connsiteX22" fmla="*/ 14028146 w 17157070"/>
                <a:gd name="connsiteY22" fmla="*/ 10155369 h 10800208"/>
                <a:gd name="connsiteX23" fmla="*/ 13594073 w 17157070"/>
                <a:gd name="connsiteY23" fmla="*/ 10101112 h 10800208"/>
                <a:gd name="connsiteX24" fmla="*/ 13612161 w 17157070"/>
                <a:gd name="connsiteY24" fmla="*/ 9413833 h 10800208"/>
                <a:gd name="connsiteX25" fmla="*/ 14190925 w 17157070"/>
                <a:gd name="connsiteY25" fmla="*/ 9269146 h 10800208"/>
                <a:gd name="connsiteX26" fmla="*/ 13865366 w 17157070"/>
                <a:gd name="connsiteY26" fmla="*/ 8798901 h 10800208"/>
                <a:gd name="connsiteX27" fmla="*/ 14136664 w 17157070"/>
                <a:gd name="connsiteY27" fmla="*/ 8401005 h 10800208"/>
                <a:gd name="connsiteX28" fmla="*/ 14703435 w 17157070"/>
                <a:gd name="connsiteY28" fmla="*/ 8428101 h 10800208"/>
                <a:gd name="connsiteX29" fmla="*/ 14661163 w 17157070"/>
                <a:gd name="connsiteY29" fmla="*/ 8256317 h 10800208"/>
                <a:gd name="connsiteX30" fmla="*/ 14335608 w 17157070"/>
                <a:gd name="connsiteY30" fmla="*/ 8093542 h 10800208"/>
                <a:gd name="connsiteX31" fmla="*/ 14498387 w 17157070"/>
                <a:gd name="connsiteY31" fmla="*/ 7514778 h 10800208"/>
                <a:gd name="connsiteX32" fmla="*/ 13847278 w 17157070"/>
                <a:gd name="connsiteY32" fmla="*/ 6610464 h 10800208"/>
                <a:gd name="connsiteX33" fmla="*/ 13340864 w 17157070"/>
                <a:gd name="connsiteY33" fmla="*/ 5905101 h 10800208"/>
                <a:gd name="connsiteX34" fmla="*/ 13123831 w 17157070"/>
                <a:gd name="connsiteY34" fmla="*/ 4819923 h 10800208"/>
                <a:gd name="connsiteX35" fmla="*/ 13232349 w 17157070"/>
                <a:gd name="connsiteY35" fmla="*/ 4132649 h 10800208"/>
                <a:gd name="connsiteX36" fmla="*/ 12273778 w 17157070"/>
                <a:gd name="connsiteY36" fmla="*/ 4165810 h 10800208"/>
                <a:gd name="connsiteX37" fmla="*/ 12201432 w 17157070"/>
                <a:gd name="connsiteY37" fmla="*/ 3767910 h 10800208"/>
                <a:gd name="connsiteX38" fmla="*/ 12508887 w 17157070"/>
                <a:gd name="connsiteY38" fmla="*/ 3264515 h 10800208"/>
                <a:gd name="connsiteX39" fmla="*/ 13774933 w 17157070"/>
                <a:gd name="connsiteY39" fmla="*/ 2486799 h 10800208"/>
                <a:gd name="connsiteX40" fmla="*/ 15294184 w 17157070"/>
                <a:gd name="connsiteY40" fmla="*/ 1980384 h 10800208"/>
                <a:gd name="connsiteX41" fmla="*/ 15746333 w 17157070"/>
                <a:gd name="connsiteY41" fmla="*/ 2305939 h 10800208"/>
                <a:gd name="connsiteX42" fmla="*/ 16578306 w 17157070"/>
                <a:gd name="connsiteY42" fmla="*/ 2016557 h 10800208"/>
                <a:gd name="connsiteX43" fmla="*/ 17084732 w 17157070"/>
                <a:gd name="connsiteY43" fmla="*/ 2414465 h 10800208"/>
                <a:gd name="connsiteX44" fmla="*/ 17157070 w 17157070"/>
                <a:gd name="connsiteY44" fmla="*/ 1473974 h 10800208"/>
                <a:gd name="connsiteX45" fmla="*/ 5596373 w 17157070"/>
                <a:gd name="connsiteY45" fmla="*/ 4033059 h 10800208"/>
                <a:gd name="connsiteX46" fmla="*/ 5365184 w 17157070"/>
                <a:gd name="connsiteY46" fmla="*/ 3460880 h 10800208"/>
                <a:gd name="connsiteX47" fmla="*/ 5153802 w 17157070"/>
                <a:gd name="connsiteY47" fmla="*/ 3132314 h 10800208"/>
                <a:gd name="connsiteX48" fmla="*/ 4898441 w 17157070"/>
                <a:gd name="connsiteY48" fmla="*/ 3183022 h 10800208"/>
                <a:gd name="connsiteX49" fmla="*/ 4600673 w 17157070"/>
                <a:gd name="connsiteY49" fmla="*/ 2914551 h 10800208"/>
                <a:gd name="connsiteX50" fmla="*/ 4416749 w 17157070"/>
                <a:gd name="connsiteY50" fmla="*/ 2491544 h 10800208"/>
                <a:gd name="connsiteX51" fmla="*/ 4653822 w 17157070"/>
                <a:gd name="connsiteY51" fmla="*/ 1941377 h 10800208"/>
                <a:gd name="connsiteX52" fmla="*/ 4432864 w 17157070"/>
                <a:gd name="connsiteY52" fmla="*/ 1388142 h 10800208"/>
                <a:gd name="connsiteX53" fmla="*/ 4437471 w 17157070"/>
                <a:gd name="connsiteY53" fmla="*/ 719354 h 10800208"/>
                <a:gd name="connsiteX54" fmla="*/ 4141784 w 17157070"/>
                <a:gd name="connsiteY54" fmla="*/ 0 h 10800208"/>
                <a:gd name="connsiteX55" fmla="*/ 2314296 w 17157070"/>
                <a:gd name="connsiteY55" fmla="*/ 282857 h 10800208"/>
                <a:gd name="connsiteX56" fmla="*/ 1334589 w 17157070"/>
                <a:gd name="connsiteY56" fmla="*/ 1087729 h 10800208"/>
                <a:gd name="connsiteX57" fmla="*/ 0 w 17157070"/>
                <a:gd name="connsiteY57" fmla="*/ 2435175 h 10800208"/>
                <a:gd name="connsiteX0" fmla="*/ 0 w 17084730"/>
                <a:gd name="connsiteY0" fmla="*/ 2435175 h 10800208"/>
                <a:gd name="connsiteX1" fmla="*/ 613837 w 17084730"/>
                <a:gd name="connsiteY1" fmla="*/ 4813533 h 10800208"/>
                <a:gd name="connsiteX2" fmla="*/ 1518338 w 17084730"/>
                <a:gd name="connsiteY2" fmla="*/ 5681683 h 10800208"/>
                <a:gd name="connsiteX3" fmla="*/ 1735898 w 17084730"/>
                <a:gd name="connsiteY3" fmla="*/ 6513607 h 10800208"/>
                <a:gd name="connsiteX4" fmla="*/ 3137400 w 17084730"/>
                <a:gd name="connsiteY4" fmla="*/ 7038167 h 10800208"/>
                <a:gd name="connsiteX5" fmla="*/ 3453963 w 17084730"/>
                <a:gd name="connsiteY5" fmla="*/ 8394658 h 10800208"/>
                <a:gd name="connsiteX6" fmla="*/ 4168520 w 17084730"/>
                <a:gd name="connsiteY6" fmla="*/ 9769227 h 10800208"/>
                <a:gd name="connsiteX7" fmla="*/ 4162343 w 17084730"/>
                <a:gd name="connsiteY7" fmla="*/ 10800208 h 10800208"/>
                <a:gd name="connsiteX8" fmla="*/ 4605215 w 17084730"/>
                <a:gd name="connsiteY8" fmla="*/ 10716044 h 10800208"/>
                <a:gd name="connsiteX9" fmla="*/ 4840336 w 17084730"/>
                <a:gd name="connsiteY9" fmla="*/ 10426662 h 10800208"/>
                <a:gd name="connsiteX10" fmla="*/ 6070201 w 17084730"/>
                <a:gd name="connsiteY10" fmla="*/ 10444754 h 10800208"/>
                <a:gd name="connsiteX11" fmla="*/ 6884082 w 17084730"/>
                <a:gd name="connsiteY11" fmla="*/ 9847902 h 10800208"/>
                <a:gd name="connsiteX12" fmla="*/ 7716051 w 17084730"/>
                <a:gd name="connsiteY12" fmla="*/ 10173461 h 10800208"/>
                <a:gd name="connsiteX13" fmla="*/ 8584189 w 17084730"/>
                <a:gd name="connsiteY13" fmla="*/ 9974509 h 10800208"/>
                <a:gd name="connsiteX14" fmla="*/ 9289552 w 17084730"/>
                <a:gd name="connsiteY14" fmla="*/ 10173461 h 10800208"/>
                <a:gd name="connsiteX15" fmla="*/ 10139605 w 17084730"/>
                <a:gd name="connsiteY15" fmla="*/ 9775561 h 10800208"/>
                <a:gd name="connsiteX16" fmla="*/ 10664108 w 17084730"/>
                <a:gd name="connsiteY16" fmla="*/ 9992597 h 10800208"/>
                <a:gd name="connsiteX17" fmla="*/ 11387555 w 17084730"/>
                <a:gd name="connsiteY17" fmla="*/ 9902167 h 10800208"/>
                <a:gd name="connsiteX18" fmla="*/ 11966315 w 17084730"/>
                <a:gd name="connsiteY18" fmla="*/ 10625622 h 10800208"/>
                <a:gd name="connsiteX19" fmla="*/ 12942975 w 17084730"/>
                <a:gd name="connsiteY19" fmla="*/ 10390493 h 10800208"/>
                <a:gd name="connsiteX20" fmla="*/ 13575992 w 17084730"/>
                <a:gd name="connsiteY20" fmla="*/ 10788393 h 10800208"/>
                <a:gd name="connsiteX21" fmla="*/ 13973888 w 17084730"/>
                <a:gd name="connsiteY21" fmla="*/ 10697960 h 10800208"/>
                <a:gd name="connsiteX22" fmla="*/ 14028146 w 17084730"/>
                <a:gd name="connsiteY22" fmla="*/ 10155369 h 10800208"/>
                <a:gd name="connsiteX23" fmla="*/ 13594073 w 17084730"/>
                <a:gd name="connsiteY23" fmla="*/ 10101112 h 10800208"/>
                <a:gd name="connsiteX24" fmla="*/ 13612161 w 17084730"/>
                <a:gd name="connsiteY24" fmla="*/ 9413833 h 10800208"/>
                <a:gd name="connsiteX25" fmla="*/ 14190925 w 17084730"/>
                <a:gd name="connsiteY25" fmla="*/ 9269146 h 10800208"/>
                <a:gd name="connsiteX26" fmla="*/ 13865366 w 17084730"/>
                <a:gd name="connsiteY26" fmla="*/ 8798901 h 10800208"/>
                <a:gd name="connsiteX27" fmla="*/ 14136664 w 17084730"/>
                <a:gd name="connsiteY27" fmla="*/ 8401005 h 10800208"/>
                <a:gd name="connsiteX28" fmla="*/ 14703435 w 17084730"/>
                <a:gd name="connsiteY28" fmla="*/ 8428101 h 10800208"/>
                <a:gd name="connsiteX29" fmla="*/ 14661163 w 17084730"/>
                <a:gd name="connsiteY29" fmla="*/ 8256317 h 10800208"/>
                <a:gd name="connsiteX30" fmla="*/ 14335608 w 17084730"/>
                <a:gd name="connsiteY30" fmla="*/ 8093542 h 10800208"/>
                <a:gd name="connsiteX31" fmla="*/ 14498387 w 17084730"/>
                <a:gd name="connsiteY31" fmla="*/ 7514778 h 10800208"/>
                <a:gd name="connsiteX32" fmla="*/ 13847278 w 17084730"/>
                <a:gd name="connsiteY32" fmla="*/ 6610464 h 10800208"/>
                <a:gd name="connsiteX33" fmla="*/ 13340864 w 17084730"/>
                <a:gd name="connsiteY33" fmla="*/ 5905101 h 10800208"/>
                <a:gd name="connsiteX34" fmla="*/ 13123831 w 17084730"/>
                <a:gd name="connsiteY34" fmla="*/ 4819923 h 10800208"/>
                <a:gd name="connsiteX35" fmla="*/ 13232349 w 17084730"/>
                <a:gd name="connsiteY35" fmla="*/ 4132649 h 10800208"/>
                <a:gd name="connsiteX36" fmla="*/ 12273778 w 17084730"/>
                <a:gd name="connsiteY36" fmla="*/ 4165810 h 10800208"/>
                <a:gd name="connsiteX37" fmla="*/ 12201432 w 17084730"/>
                <a:gd name="connsiteY37" fmla="*/ 3767910 h 10800208"/>
                <a:gd name="connsiteX38" fmla="*/ 12508887 w 17084730"/>
                <a:gd name="connsiteY38" fmla="*/ 3264515 h 10800208"/>
                <a:gd name="connsiteX39" fmla="*/ 13774933 w 17084730"/>
                <a:gd name="connsiteY39" fmla="*/ 2486799 h 10800208"/>
                <a:gd name="connsiteX40" fmla="*/ 15294184 w 17084730"/>
                <a:gd name="connsiteY40" fmla="*/ 1980384 h 10800208"/>
                <a:gd name="connsiteX41" fmla="*/ 15746333 w 17084730"/>
                <a:gd name="connsiteY41" fmla="*/ 2305939 h 10800208"/>
                <a:gd name="connsiteX42" fmla="*/ 16578306 w 17084730"/>
                <a:gd name="connsiteY42" fmla="*/ 2016557 h 10800208"/>
                <a:gd name="connsiteX43" fmla="*/ 17084732 w 17084730"/>
                <a:gd name="connsiteY43" fmla="*/ 2414465 h 10800208"/>
                <a:gd name="connsiteX44" fmla="*/ 5596373 w 17084730"/>
                <a:gd name="connsiteY44" fmla="*/ 4033059 h 10800208"/>
                <a:gd name="connsiteX45" fmla="*/ 5365184 w 17084730"/>
                <a:gd name="connsiteY45" fmla="*/ 3460880 h 10800208"/>
                <a:gd name="connsiteX46" fmla="*/ 5153802 w 17084730"/>
                <a:gd name="connsiteY46" fmla="*/ 3132314 h 10800208"/>
                <a:gd name="connsiteX47" fmla="*/ 4898441 w 17084730"/>
                <a:gd name="connsiteY47" fmla="*/ 3183022 h 10800208"/>
                <a:gd name="connsiteX48" fmla="*/ 4600673 w 17084730"/>
                <a:gd name="connsiteY48" fmla="*/ 2914551 h 10800208"/>
                <a:gd name="connsiteX49" fmla="*/ 4416749 w 17084730"/>
                <a:gd name="connsiteY49" fmla="*/ 2491544 h 10800208"/>
                <a:gd name="connsiteX50" fmla="*/ 4653822 w 17084730"/>
                <a:gd name="connsiteY50" fmla="*/ 1941377 h 10800208"/>
                <a:gd name="connsiteX51" fmla="*/ 4432864 w 17084730"/>
                <a:gd name="connsiteY51" fmla="*/ 1388142 h 10800208"/>
                <a:gd name="connsiteX52" fmla="*/ 4437471 w 17084730"/>
                <a:gd name="connsiteY52" fmla="*/ 719354 h 10800208"/>
                <a:gd name="connsiteX53" fmla="*/ 4141784 w 17084730"/>
                <a:gd name="connsiteY53" fmla="*/ 0 h 10800208"/>
                <a:gd name="connsiteX54" fmla="*/ 2314296 w 17084730"/>
                <a:gd name="connsiteY54" fmla="*/ 282857 h 10800208"/>
                <a:gd name="connsiteX55" fmla="*/ 1334589 w 17084730"/>
                <a:gd name="connsiteY55" fmla="*/ 1087729 h 10800208"/>
                <a:gd name="connsiteX56" fmla="*/ 0 w 17084730"/>
                <a:gd name="connsiteY56" fmla="*/ 2435175 h 10800208"/>
                <a:gd name="connsiteX0" fmla="*/ 0 w 16578304"/>
                <a:gd name="connsiteY0" fmla="*/ 2435175 h 10800208"/>
                <a:gd name="connsiteX1" fmla="*/ 613837 w 16578304"/>
                <a:gd name="connsiteY1" fmla="*/ 4813533 h 10800208"/>
                <a:gd name="connsiteX2" fmla="*/ 1518338 w 16578304"/>
                <a:gd name="connsiteY2" fmla="*/ 5681683 h 10800208"/>
                <a:gd name="connsiteX3" fmla="*/ 1735898 w 16578304"/>
                <a:gd name="connsiteY3" fmla="*/ 6513607 h 10800208"/>
                <a:gd name="connsiteX4" fmla="*/ 3137400 w 16578304"/>
                <a:gd name="connsiteY4" fmla="*/ 7038167 h 10800208"/>
                <a:gd name="connsiteX5" fmla="*/ 3453963 w 16578304"/>
                <a:gd name="connsiteY5" fmla="*/ 8394658 h 10800208"/>
                <a:gd name="connsiteX6" fmla="*/ 4168520 w 16578304"/>
                <a:gd name="connsiteY6" fmla="*/ 9769227 h 10800208"/>
                <a:gd name="connsiteX7" fmla="*/ 4162343 w 16578304"/>
                <a:gd name="connsiteY7" fmla="*/ 10800208 h 10800208"/>
                <a:gd name="connsiteX8" fmla="*/ 4605215 w 16578304"/>
                <a:gd name="connsiteY8" fmla="*/ 10716044 h 10800208"/>
                <a:gd name="connsiteX9" fmla="*/ 4840336 w 16578304"/>
                <a:gd name="connsiteY9" fmla="*/ 10426662 h 10800208"/>
                <a:gd name="connsiteX10" fmla="*/ 6070201 w 16578304"/>
                <a:gd name="connsiteY10" fmla="*/ 10444754 h 10800208"/>
                <a:gd name="connsiteX11" fmla="*/ 6884082 w 16578304"/>
                <a:gd name="connsiteY11" fmla="*/ 9847902 h 10800208"/>
                <a:gd name="connsiteX12" fmla="*/ 7716051 w 16578304"/>
                <a:gd name="connsiteY12" fmla="*/ 10173461 h 10800208"/>
                <a:gd name="connsiteX13" fmla="*/ 8584189 w 16578304"/>
                <a:gd name="connsiteY13" fmla="*/ 9974509 h 10800208"/>
                <a:gd name="connsiteX14" fmla="*/ 9289552 w 16578304"/>
                <a:gd name="connsiteY14" fmla="*/ 10173461 h 10800208"/>
                <a:gd name="connsiteX15" fmla="*/ 10139605 w 16578304"/>
                <a:gd name="connsiteY15" fmla="*/ 9775561 h 10800208"/>
                <a:gd name="connsiteX16" fmla="*/ 10664108 w 16578304"/>
                <a:gd name="connsiteY16" fmla="*/ 9992597 h 10800208"/>
                <a:gd name="connsiteX17" fmla="*/ 11387555 w 16578304"/>
                <a:gd name="connsiteY17" fmla="*/ 9902167 h 10800208"/>
                <a:gd name="connsiteX18" fmla="*/ 11966315 w 16578304"/>
                <a:gd name="connsiteY18" fmla="*/ 10625622 h 10800208"/>
                <a:gd name="connsiteX19" fmla="*/ 12942975 w 16578304"/>
                <a:gd name="connsiteY19" fmla="*/ 10390493 h 10800208"/>
                <a:gd name="connsiteX20" fmla="*/ 13575992 w 16578304"/>
                <a:gd name="connsiteY20" fmla="*/ 10788393 h 10800208"/>
                <a:gd name="connsiteX21" fmla="*/ 13973888 w 16578304"/>
                <a:gd name="connsiteY21" fmla="*/ 10697960 h 10800208"/>
                <a:gd name="connsiteX22" fmla="*/ 14028146 w 16578304"/>
                <a:gd name="connsiteY22" fmla="*/ 10155369 h 10800208"/>
                <a:gd name="connsiteX23" fmla="*/ 13594073 w 16578304"/>
                <a:gd name="connsiteY23" fmla="*/ 10101112 h 10800208"/>
                <a:gd name="connsiteX24" fmla="*/ 13612161 w 16578304"/>
                <a:gd name="connsiteY24" fmla="*/ 9413833 h 10800208"/>
                <a:gd name="connsiteX25" fmla="*/ 14190925 w 16578304"/>
                <a:gd name="connsiteY25" fmla="*/ 9269146 h 10800208"/>
                <a:gd name="connsiteX26" fmla="*/ 13865366 w 16578304"/>
                <a:gd name="connsiteY26" fmla="*/ 8798901 h 10800208"/>
                <a:gd name="connsiteX27" fmla="*/ 14136664 w 16578304"/>
                <a:gd name="connsiteY27" fmla="*/ 8401005 h 10800208"/>
                <a:gd name="connsiteX28" fmla="*/ 14703435 w 16578304"/>
                <a:gd name="connsiteY28" fmla="*/ 8428101 h 10800208"/>
                <a:gd name="connsiteX29" fmla="*/ 14661163 w 16578304"/>
                <a:gd name="connsiteY29" fmla="*/ 8256317 h 10800208"/>
                <a:gd name="connsiteX30" fmla="*/ 14335608 w 16578304"/>
                <a:gd name="connsiteY30" fmla="*/ 8093542 h 10800208"/>
                <a:gd name="connsiteX31" fmla="*/ 14498387 w 16578304"/>
                <a:gd name="connsiteY31" fmla="*/ 7514778 h 10800208"/>
                <a:gd name="connsiteX32" fmla="*/ 13847278 w 16578304"/>
                <a:gd name="connsiteY32" fmla="*/ 6610464 h 10800208"/>
                <a:gd name="connsiteX33" fmla="*/ 13340864 w 16578304"/>
                <a:gd name="connsiteY33" fmla="*/ 5905101 h 10800208"/>
                <a:gd name="connsiteX34" fmla="*/ 13123831 w 16578304"/>
                <a:gd name="connsiteY34" fmla="*/ 4819923 h 10800208"/>
                <a:gd name="connsiteX35" fmla="*/ 13232349 w 16578304"/>
                <a:gd name="connsiteY35" fmla="*/ 4132649 h 10800208"/>
                <a:gd name="connsiteX36" fmla="*/ 12273778 w 16578304"/>
                <a:gd name="connsiteY36" fmla="*/ 4165810 h 10800208"/>
                <a:gd name="connsiteX37" fmla="*/ 12201432 w 16578304"/>
                <a:gd name="connsiteY37" fmla="*/ 3767910 h 10800208"/>
                <a:gd name="connsiteX38" fmla="*/ 12508887 w 16578304"/>
                <a:gd name="connsiteY38" fmla="*/ 3264515 h 10800208"/>
                <a:gd name="connsiteX39" fmla="*/ 13774933 w 16578304"/>
                <a:gd name="connsiteY39" fmla="*/ 2486799 h 10800208"/>
                <a:gd name="connsiteX40" fmla="*/ 15294184 w 16578304"/>
                <a:gd name="connsiteY40" fmla="*/ 1980384 h 10800208"/>
                <a:gd name="connsiteX41" fmla="*/ 15746333 w 16578304"/>
                <a:gd name="connsiteY41" fmla="*/ 2305939 h 10800208"/>
                <a:gd name="connsiteX42" fmla="*/ 16578306 w 16578304"/>
                <a:gd name="connsiteY42" fmla="*/ 2016557 h 10800208"/>
                <a:gd name="connsiteX43" fmla="*/ 6319261 w 16578304"/>
                <a:gd name="connsiteY43" fmla="*/ 4419497 h 10800208"/>
                <a:gd name="connsiteX44" fmla="*/ 5596373 w 16578304"/>
                <a:gd name="connsiteY44" fmla="*/ 4033059 h 10800208"/>
                <a:gd name="connsiteX45" fmla="*/ 5365184 w 16578304"/>
                <a:gd name="connsiteY45" fmla="*/ 3460880 h 10800208"/>
                <a:gd name="connsiteX46" fmla="*/ 5153802 w 16578304"/>
                <a:gd name="connsiteY46" fmla="*/ 3132314 h 10800208"/>
                <a:gd name="connsiteX47" fmla="*/ 4898441 w 16578304"/>
                <a:gd name="connsiteY47" fmla="*/ 3183022 h 10800208"/>
                <a:gd name="connsiteX48" fmla="*/ 4600673 w 16578304"/>
                <a:gd name="connsiteY48" fmla="*/ 2914551 h 10800208"/>
                <a:gd name="connsiteX49" fmla="*/ 4416749 w 16578304"/>
                <a:gd name="connsiteY49" fmla="*/ 2491544 h 10800208"/>
                <a:gd name="connsiteX50" fmla="*/ 4653822 w 16578304"/>
                <a:gd name="connsiteY50" fmla="*/ 1941377 h 10800208"/>
                <a:gd name="connsiteX51" fmla="*/ 4432864 w 16578304"/>
                <a:gd name="connsiteY51" fmla="*/ 1388142 h 10800208"/>
                <a:gd name="connsiteX52" fmla="*/ 4437471 w 16578304"/>
                <a:gd name="connsiteY52" fmla="*/ 719354 h 10800208"/>
                <a:gd name="connsiteX53" fmla="*/ 4141784 w 16578304"/>
                <a:gd name="connsiteY53" fmla="*/ 0 h 10800208"/>
                <a:gd name="connsiteX54" fmla="*/ 2314296 w 16578304"/>
                <a:gd name="connsiteY54" fmla="*/ 282857 h 10800208"/>
                <a:gd name="connsiteX55" fmla="*/ 1334589 w 16578304"/>
                <a:gd name="connsiteY55" fmla="*/ 1087729 h 10800208"/>
                <a:gd name="connsiteX56" fmla="*/ 0 w 16578304"/>
                <a:gd name="connsiteY56" fmla="*/ 2435175 h 10800208"/>
                <a:gd name="connsiteX0" fmla="*/ 0 w 15746332"/>
                <a:gd name="connsiteY0" fmla="*/ 2435175 h 10800208"/>
                <a:gd name="connsiteX1" fmla="*/ 613837 w 15746332"/>
                <a:gd name="connsiteY1" fmla="*/ 4813533 h 10800208"/>
                <a:gd name="connsiteX2" fmla="*/ 1518338 w 15746332"/>
                <a:gd name="connsiteY2" fmla="*/ 5681683 h 10800208"/>
                <a:gd name="connsiteX3" fmla="*/ 1735898 w 15746332"/>
                <a:gd name="connsiteY3" fmla="*/ 6513607 h 10800208"/>
                <a:gd name="connsiteX4" fmla="*/ 3137400 w 15746332"/>
                <a:gd name="connsiteY4" fmla="*/ 7038167 h 10800208"/>
                <a:gd name="connsiteX5" fmla="*/ 3453963 w 15746332"/>
                <a:gd name="connsiteY5" fmla="*/ 8394658 h 10800208"/>
                <a:gd name="connsiteX6" fmla="*/ 4168520 w 15746332"/>
                <a:gd name="connsiteY6" fmla="*/ 9769227 h 10800208"/>
                <a:gd name="connsiteX7" fmla="*/ 4162343 w 15746332"/>
                <a:gd name="connsiteY7" fmla="*/ 10800208 h 10800208"/>
                <a:gd name="connsiteX8" fmla="*/ 4605215 w 15746332"/>
                <a:gd name="connsiteY8" fmla="*/ 10716044 h 10800208"/>
                <a:gd name="connsiteX9" fmla="*/ 4840336 w 15746332"/>
                <a:gd name="connsiteY9" fmla="*/ 10426662 h 10800208"/>
                <a:gd name="connsiteX10" fmla="*/ 6070201 w 15746332"/>
                <a:gd name="connsiteY10" fmla="*/ 10444754 h 10800208"/>
                <a:gd name="connsiteX11" fmla="*/ 6884082 w 15746332"/>
                <a:gd name="connsiteY11" fmla="*/ 9847902 h 10800208"/>
                <a:gd name="connsiteX12" fmla="*/ 7716051 w 15746332"/>
                <a:gd name="connsiteY12" fmla="*/ 10173461 h 10800208"/>
                <a:gd name="connsiteX13" fmla="*/ 8584189 w 15746332"/>
                <a:gd name="connsiteY13" fmla="*/ 9974509 h 10800208"/>
                <a:gd name="connsiteX14" fmla="*/ 9289552 w 15746332"/>
                <a:gd name="connsiteY14" fmla="*/ 10173461 h 10800208"/>
                <a:gd name="connsiteX15" fmla="*/ 10139605 w 15746332"/>
                <a:gd name="connsiteY15" fmla="*/ 9775561 h 10800208"/>
                <a:gd name="connsiteX16" fmla="*/ 10664108 w 15746332"/>
                <a:gd name="connsiteY16" fmla="*/ 9992597 h 10800208"/>
                <a:gd name="connsiteX17" fmla="*/ 11387555 w 15746332"/>
                <a:gd name="connsiteY17" fmla="*/ 9902167 h 10800208"/>
                <a:gd name="connsiteX18" fmla="*/ 11966315 w 15746332"/>
                <a:gd name="connsiteY18" fmla="*/ 10625622 h 10800208"/>
                <a:gd name="connsiteX19" fmla="*/ 12942975 w 15746332"/>
                <a:gd name="connsiteY19" fmla="*/ 10390493 h 10800208"/>
                <a:gd name="connsiteX20" fmla="*/ 13575992 w 15746332"/>
                <a:gd name="connsiteY20" fmla="*/ 10788393 h 10800208"/>
                <a:gd name="connsiteX21" fmla="*/ 13973888 w 15746332"/>
                <a:gd name="connsiteY21" fmla="*/ 10697960 h 10800208"/>
                <a:gd name="connsiteX22" fmla="*/ 14028146 w 15746332"/>
                <a:gd name="connsiteY22" fmla="*/ 10155369 h 10800208"/>
                <a:gd name="connsiteX23" fmla="*/ 13594073 w 15746332"/>
                <a:gd name="connsiteY23" fmla="*/ 10101112 h 10800208"/>
                <a:gd name="connsiteX24" fmla="*/ 13612161 w 15746332"/>
                <a:gd name="connsiteY24" fmla="*/ 9413833 h 10800208"/>
                <a:gd name="connsiteX25" fmla="*/ 14190925 w 15746332"/>
                <a:gd name="connsiteY25" fmla="*/ 9269146 h 10800208"/>
                <a:gd name="connsiteX26" fmla="*/ 13865366 w 15746332"/>
                <a:gd name="connsiteY26" fmla="*/ 8798901 h 10800208"/>
                <a:gd name="connsiteX27" fmla="*/ 14136664 w 15746332"/>
                <a:gd name="connsiteY27" fmla="*/ 8401005 h 10800208"/>
                <a:gd name="connsiteX28" fmla="*/ 14703435 w 15746332"/>
                <a:gd name="connsiteY28" fmla="*/ 8428101 h 10800208"/>
                <a:gd name="connsiteX29" fmla="*/ 14661163 w 15746332"/>
                <a:gd name="connsiteY29" fmla="*/ 8256317 h 10800208"/>
                <a:gd name="connsiteX30" fmla="*/ 14335608 w 15746332"/>
                <a:gd name="connsiteY30" fmla="*/ 8093542 h 10800208"/>
                <a:gd name="connsiteX31" fmla="*/ 14498387 w 15746332"/>
                <a:gd name="connsiteY31" fmla="*/ 7514778 h 10800208"/>
                <a:gd name="connsiteX32" fmla="*/ 13847278 w 15746332"/>
                <a:gd name="connsiteY32" fmla="*/ 6610464 h 10800208"/>
                <a:gd name="connsiteX33" fmla="*/ 13340864 w 15746332"/>
                <a:gd name="connsiteY33" fmla="*/ 5905101 h 10800208"/>
                <a:gd name="connsiteX34" fmla="*/ 13123831 w 15746332"/>
                <a:gd name="connsiteY34" fmla="*/ 4819923 h 10800208"/>
                <a:gd name="connsiteX35" fmla="*/ 13232349 w 15746332"/>
                <a:gd name="connsiteY35" fmla="*/ 4132649 h 10800208"/>
                <a:gd name="connsiteX36" fmla="*/ 12273778 w 15746332"/>
                <a:gd name="connsiteY36" fmla="*/ 4165810 h 10800208"/>
                <a:gd name="connsiteX37" fmla="*/ 12201432 w 15746332"/>
                <a:gd name="connsiteY37" fmla="*/ 3767910 h 10800208"/>
                <a:gd name="connsiteX38" fmla="*/ 12508887 w 15746332"/>
                <a:gd name="connsiteY38" fmla="*/ 3264515 h 10800208"/>
                <a:gd name="connsiteX39" fmla="*/ 13774933 w 15746332"/>
                <a:gd name="connsiteY39" fmla="*/ 2486799 h 10800208"/>
                <a:gd name="connsiteX40" fmla="*/ 15294184 w 15746332"/>
                <a:gd name="connsiteY40" fmla="*/ 1980384 h 10800208"/>
                <a:gd name="connsiteX41" fmla="*/ 15746333 w 15746332"/>
                <a:gd name="connsiteY41" fmla="*/ 2305939 h 10800208"/>
                <a:gd name="connsiteX42" fmla="*/ 6319261 w 15746332"/>
                <a:gd name="connsiteY42" fmla="*/ 4419497 h 10800208"/>
                <a:gd name="connsiteX43" fmla="*/ 5596373 w 15746332"/>
                <a:gd name="connsiteY43" fmla="*/ 4033059 h 10800208"/>
                <a:gd name="connsiteX44" fmla="*/ 5365184 w 15746332"/>
                <a:gd name="connsiteY44" fmla="*/ 3460880 h 10800208"/>
                <a:gd name="connsiteX45" fmla="*/ 5153802 w 15746332"/>
                <a:gd name="connsiteY45" fmla="*/ 3132314 h 10800208"/>
                <a:gd name="connsiteX46" fmla="*/ 4898441 w 15746332"/>
                <a:gd name="connsiteY46" fmla="*/ 3183022 h 10800208"/>
                <a:gd name="connsiteX47" fmla="*/ 4600673 w 15746332"/>
                <a:gd name="connsiteY47" fmla="*/ 2914551 h 10800208"/>
                <a:gd name="connsiteX48" fmla="*/ 4416749 w 15746332"/>
                <a:gd name="connsiteY48" fmla="*/ 2491544 h 10800208"/>
                <a:gd name="connsiteX49" fmla="*/ 4653822 w 15746332"/>
                <a:gd name="connsiteY49" fmla="*/ 1941377 h 10800208"/>
                <a:gd name="connsiteX50" fmla="*/ 4432864 w 15746332"/>
                <a:gd name="connsiteY50" fmla="*/ 1388142 h 10800208"/>
                <a:gd name="connsiteX51" fmla="*/ 4437471 w 15746332"/>
                <a:gd name="connsiteY51" fmla="*/ 719354 h 10800208"/>
                <a:gd name="connsiteX52" fmla="*/ 4141784 w 15746332"/>
                <a:gd name="connsiteY52" fmla="*/ 0 h 10800208"/>
                <a:gd name="connsiteX53" fmla="*/ 2314296 w 15746332"/>
                <a:gd name="connsiteY53" fmla="*/ 282857 h 10800208"/>
                <a:gd name="connsiteX54" fmla="*/ 1334589 w 15746332"/>
                <a:gd name="connsiteY54" fmla="*/ 1087729 h 10800208"/>
                <a:gd name="connsiteX55" fmla="*/ 0 w 15746332"/>
                <a:gd name="connsiteY55" fmla="*/ 2435175 h 10800208"/>
                <a:gd name="connsiteX0" fmla="*/ 0 w 15294185"/>
                <a:gd name="connsiteY0" fmla="*/ 2435175 h 10800208"/>
                <a:gd name="connsiteX1" fmla="*/ 613837 w 15294185"/>
                <a:gd name="connsiteY1" fmla="*/ 4813533 h 10800208"/>
                <a:gd name="connsiteX2" fmla="*/ 1518338 w 15294185"/>
                <a:gd name="connsiteY2" fmla="*/ 5681683 h 10800208"/>
                <a:gd name="connsiteX3" fmla="*/ 1735898 w 15294185"/>
                <a:gd name="connsiteY3" fmla="*/ 6513607 h 10800208"/>
                <a:gd name="connsiteX4" fmla="*/ 3137400 w 15294185"/>
                <a:gd name="connsiteY4" fmla="*/ 7038167 h 10800208"/>
                <a:gd name="connsiteX5" fmla="*/ 3453963 w 15294185"/>
                <a:gd name="connsiteY5" fmla="*/ 8394658 h 10800208"/>
                <a:gd name="connsiteX6" fmla="*/ 4168520 w 15294185"/>
                <a:gd name="connsiteY6" fmla="*/ 9769227 h 10800208"/>
                <a:gd name="connsiteX7" fmla="*/ 4162343 w 15294185"/>
                <a:gd name="connsiteY7" fmla="*/ 10800208 h 10800208"/>
                <a:gd name="connsiteX8" fmla="*/ 4605215 w 15294185"/>
                <a:gd name="connsiteY8" fmla="*/ 10716044 h 10800208"/>
                <a:gd name="connsiteX9" fmla="*/ 4840336 w 15294185"/>
                <a:gd name="connsiteY9" fmla="*/ 10426662 h 10800208"/>
                <a:gd name="connsiteX10" fmla="*/ 6070201 w 15294185"/>
                <a:gd name="connsiteY10" fmla="*/ 10444754 h 10800208"/>
                <a:gd name="connsiteX11" fmla="*/ 6884082 w 15294185"/>
                <a:gd name="connsiteY11" fmla="*/ 9847902 h 10800208"/>
                <a:gd name="connsiteX12" fmla="*/ 7716051 w 15294185"/>
                <a:gd name="connsiteY12" fmla="*/ 10173461 h 10800208"/>
                <a:gd name="connsiteX13" fmla="*/ 8584189 w 15294185"/>
                <a:gd name="connsiteY13" fmla="*/ 9974509 h 10800208"/>
                <a:gd name="connsiteX14" fmla="*/ 9289552 w 15294185"/>
                <a:gd name="connsiteY14" fmla="*/ 10173461 h 10800208"/>
                <a:gd name="connsiteX15" fmla="*/ 10139605 w 15294185"/>
                <a:gd name="connsiteY15" fmla="*/ 9775561 h 10800208"/>
                <a:gd name="connsiteX16" fmla="*/ 10664108 w 15294185"/>
                <a:gd name="connsiteY16" fmla="*/ 9992597 h 10800208"/>
                <a:gd name="connsiteX17" fmla="*/ 11387555 w 15294185"/>
                <a:gd name="connsiteY17" fmla="*/ 9902167 h 10800208"/>
                <a:gd name="connsiteX18" fmla="*/ 11966315 w 15294185"/>
                <a:gd name="connsiteY18" fmla="*/ 10625622 h 10800208"/>
                <a:gd name="connsiteX19" fmla="*/ 12942975 w 15294185"/>
                <a:gd name="connsiteY19" fmla="*/ 10390493 h 10800208"/>
                <a:gd name="connsiteX20" fmla="*/ 13575992 w 15294185"/>
                <a:gd name="connsiteY20" fmla="*/ 10788393 h 10800208"/>
                <a:gd name="connsiteX21" fmla="*/ 13973888 w 15294185"/>
                <a:gd name="connsiteY21" fmla="*/ 10697960 h 10800208"/>
                <a:gd name="connsiteX22" fmla="*/ 14028146 w 15294185"/>
                <a:gd name="connsiteY22" fmla="*/ 10155369 h 10800208"/>
                <a:gd name="connsiteX23" fmla="*/ 13594073 w 15294185"/>
                <a:gd name="connsiteY23" fmla="*/ 10101112 h 10800208"/>
                <a:gd name="connsiteX24" fmla="*/ 13612161 w 15294185"/>
                <a:gd name="connsiteY24" fmla="*/ 9413833 h 10800208"/>
                <a:gd name="connsiteX25" fmla="*/ 14190925 w 15294185"/>
                <a:gd name="connsiteY25" fmla="*/ 9269146 h 10800208"/>
                <a:gd name="connsiteX26" fmla="*/ 13865366 w 15294185"/>
                <a:gd name="connsiteY26" fmla="*/ 8798901 h 10800208"/>
                <a:gd name="connsiteX27" fmla="*/ 14136664 w 15294185"/>
                <a:gd name="connsiteY27" fmla="*/ 8401005 h 10800208"/>
                <a:gd name="connsiteX28" fmla="*/ 14703435 w 15294185"/>
                <a:gd name="connsiteY28" fmla="*/ 8428101 h 10800208"/>
                <a:gd name="connsiteX29" fmla="*/ 14661163 w 15294185"/>
                <a:gd name="connsiteY29" fmla="*/ 8256317 h 10800208"/>
                <a:gd name="connsiteX30" fmla="*/ 14335608 w 15294185"/>
                <a:gd name="connsiteY30" fmla="*/ 8093542 h 10800208"/>
                <a:gd name="connsiteX31" fmla="*/ 14498387 w 15294185"/>
                <a:gd name="connsiteY31" fmla="*/ 7514778 h 10800208"/>
                <a:gd name="connsiteX32" fmla="*/ 13847278 w 15294185"/>
                <a:gd name="connsiteY32" fmla="*/ 6610464 h 10800208"/>
                <a:gd name="connsiteX33" fmla="*/ 13340864 w 15294185"/>
                <a:gd name="connsiteY33" fmla="*/ 5905101 h 10800208"/>
                <a:gd name="connsiteX34" fmla="*/ 13123831 w 15294185"/>
                <a:gd name="connsiteY34" fmla="*/ 4819923 h 10800208"/>
                <a:gd name="connsiteX35" fmla="*/ 13232349 w 15294185"/>
                <a:gd name="connsiteY35" fmla="*/ 4132649 h 10800208"/>
                <a:gd name="connsiteX36" fmla="*/ 12273778 w 15294185"/>
                <a:gd name="connsiteY36" fmla="*/ 4165810 h 10800208"/>
                <a:gd name="connsiteX37" fmla="*/ 12201432 w 15294185"/>
                <a:gd name="connsiteY37" fmla="*/ 3767910 h 10800208"/>
                <a:gd name="connsiteX38" fmla="*/ 12508887 w 15294185"/>
                <a:gd name="connsiteY38" fmla="*/ 3264515 h 10800208"/>
                <a:gd name="connsiteX39" fmla="*/ 13774933 w 15294185"/>
                <a:gd name="connsiteY39" fmla="*/ 2486799 h 10800208"/>
                <a:gd name="connsiteX40" fmla="*/ 15294184 w 15294185"/>
                <a:gd name="connsiteY40" fmla="*/ 1980384 h 10800208"/>
                <a:gd name="connsiteX41" fmla="*/ 6319261 w 15294185"/>
                <a:gd name="connsiteY41" fmla="*/ 4419497 h 10800208"/>
                <a:gd name="connsiteX42" fmla="*/ 5596373 w 15294185"/>
                <a:gd name="connsiteY42" fmla="*/ 4033059 h 10800208"/>
                <a:gd name="connsiteX43" fmla="*/ 5365184 w 15294185"/>
                <a:gd name="connsiteY43" fmla="*/ 3460880 h 10800208"/>
                <a:gd name="connsiteX44" fmla="*/ 5153802 w 15294185"/>
                <a:gd name="connsiteY44" fmla="*/ 3132314 h 10800208"/>
                <a:gd name="connsiteX45" fmla="*/ 4898441 w 15294185"/>
                <a:gd name="connsiteY45" fmla="*/ 3183022 h 10800208"/>
                <a:gd name="connsiteX46" fmla="*/ 4600673 w 15294185"/>
                <a:gd name="connsiteY46" fmla="*/ 2914551 h 10800208"/>
                <a:gd name="connsiteX47" fmla="*/ 4416749 w 15294185"/>
                <a:gd name="connsiteY47" fmla="*/ 2491544 h 10800208"/>
                <a:gd name="connsiteX48" fmla="*/ 4653822 w 15294185"/>
                <a:gd name="connsiteY48" fmla="*/ 1941377 h 10800208"/>
                <a:gd name="connsiteX49" fmla="*/ 4432864 w 15294185"/>
                <a:gd name="connsiteY49" fmla="*/ 1388142 h 10800208"/>
                <a:gd name="connsiteX50" fmla="*/ 4437471 w 15294185"/>
                <a:gd name="connsiteY50" fmla="*/ 719354 h 10800208"/>
                <a:gd name="connsiteX51" fmla="*/ 4141784 w 15294185"/>
                <a:gd name="connsiteY51" fmla="*/ 0 h 10800208"/>
                <a:gd name="connsiteX52" fmla="*/ 2314296 w 15294185"/>
                <a:gd name="connsiteY52" fmla="*/ 282857 h 10800208"/>
                <a:gd name="connsiteX53" fmla="*/ 1334589 w 15294185"/>
                <a:gd name="connsiteY53" fmla="*/ 1087729 h 10800208"/>
                <a:gd name="connsiteX54" fmla="*/ 0 w 15294185"/>
                <a:gd name="connsiteY54" fmla="*/ 2435175 h 10800208"/>
                <a:gd name="connsiteX0" fmla="*/ 0 w 14703435"/>
                <a:gd name="connsiteY0" fmla="*/ 2435175 h 10800208"/>
                <a:gd name="connsiteX1" fmla="*/ 613837 w 14703435"/>
                <a:gd name="connsiteY1" fmla="*/ 4813533 h 10800208"/>
                <a:gd name="connsiteX2" fmla="*/ 1518338 w 14703435"/>
                <a:gd name="connsiteY2" fmla="*/ 5681683 h 10800208"/>
                <a:gd name="connsiteX3" fmla="*/ 1735898 w 14703435"/>
                <a:gd name="connsiteY3" fmla="*/ 6513607 h 10800208"/>
                <a:gd name="connsiteX4" fmla="*/ 3137400 w 14703435"/>
                <a:gd name="connsiteY4" fmla="*/ 7038167 h 10800208"/>
                <a:gd name="connsiteX5" fmla="*/ 3453963 w 14703435"/>
                <a:gd name="connsiteY5" fmla="*/ 8394658 h 10800208"/>
                <a:gd name="connsiteX6" fmla="*/ 4168520 w 14703435"/>
                <a:gd name="connsiteY6" fmla="*/ 9769227 h 10800208"/>
                <a:gd name="connsiteX7" fmla="*/ 4162343 w 14703435"/>
                <a:gd name="connsiteY7" fmla="*/ 10800208 h 10800208"/>
                <a:gd name="connsiteX8" fmla="*/ 4605215 w 14703435"/>
                <a:gd name="connsiteY8" fmla="*/ 10716044 h 10800208"/>
                <a:gd name="connsiteX9" fmla="*/ 4840336 w 14703435"/>
                <a:gd name="connsiteY9" fmla="*/ 10426662 h 10800208"/>
                <a:gd name="connsiteX10" fmla="*/ 6070201 w 14703435"/>
                <a:gd name="connsiteY10" fmla="*/ 10444754 h 10800208"/>
                <a:gd name="connsiteX11" fmla="*/ 6884082 w 14703435"/>
                <a:gd name="connsiteY11" fmla="*/ 9847902 h 10800208"/>
                <a:gd name="connsiteX12" fmla="*/ 7716051 w 14703435"/>
                <a:gd name="connsiteY12" fmla="*/ 10173461 h 10800208"/>
                <a:gd name="connsiteX13" fmla="*/ 8584189 w 14703435"/>
                <a:gd name="connsiteY13" fmla="*/ 9974509 h 10800208"/>
                <a:gd name="connsiteX14" fmla="*/ 9289552 w 14703435"/>
                <a:gd name="connsiteY14" fmla="*/ 10173461 h 10800208"/>
                <a:gd name="connsiteX15" fmla="*/ 10139605 w 14703435"/>
                <a:gd name="connsiteY15" fmla="*/ 9775561 h 10800208"/>
                <a:gd name="connsiteX16" fmla="*/ 10664108 w 14703435"/>
                <a:gd name="connsiteY16" fmla="*/ 9992597 h 10800208"/>
                <a:gd name="connsiteX17" fmla="*/ 11387555 w 14703435"/>
                <a:gd name="connsiteY17" fmla="*/ 9902167 h 10800208"/>
                <a:gd name="connsiteX18" fmla="*/ 11966315 w 14703435"/>
                <a:gd name="connsiteY18" fmla="*/ 10625622 h 10800208"/>
                <a:gd name="connsiteX19" fmla="*/ 12942975 w 14703435"/>
                <a:gd name="connsiteY19" fmla="*/ 10390493 h 10800208"/>
                <a:gd name="connsiteX20" fmla="*/ 13575992 w 14703435"/>
                <a:gd name="connsiteY20" fmla="*/ 10788393 h 10800208"/>
                <a:gd name="connsiteX21" fmla="*/ 13973888 w 14703435"/>
                <a:gd name="connsiteY21" fmla="*/ 10697960 h 10800208"/>
                <a:gd name="connsiteX22" fmla="*/ 14028146 w 14703435"/>
                <a:gd name="connsiteY22" fmla="*/ 10155369 h 10800208"/>
                <a:gd name="connsiteX23" fmla="*/ 13594073 w 14703435"/>
                <a:gd name="connsiteY23" fmla="*/ 10101112 h 10800208"/>
                <a:gd name="connsiteX24" fmla="*/ 13612161 w 14703435"/>
                <a:gd name="connsiteY24" fmla="*/ 9413833 h 10800208"/>
                <a:gd name="connsiteX25" fmla="*/ 14190925 w 14703435"/>
                <a:gd name="connsiteY25" fmla="*/ 9269146 h 10800208"/>
                <a:gd name="connsiteX26" fmla="*/ 13865366 w 14703435"/>
                <a:gd name="connsiteY26" fmla="*/ 8798901 h 10800208"/>
                <a:gd name="connsiteX27" fmla="*/ 14136664 w 14703435"/>
                <a:gd name="connsiteY27" fmla="*/ 8401005 h 10800208"/>
                <a:gd name="connsiteX28" fmla="*/ 14703435 w 14703435"/>
                <a:gd name="connsiteY28" fmla="*/ 8428101 h 10800208"/>
                <a:gd name="connsiteX29" fmla="*/ 14661163 w 14703435"/>
                <a:gd name="connsiteY29" fmla="*/ 8256317 h 10800208"/>
                <a:gd name="connsiteX30" fmla="*/ 14335608 w 14703435"/>
                <a:gd name="connsiteY30" fmla="*/ 8093542 h 10800208"/>
                <a:gd name="connsiteX31" fmla="*/ 14498387 w 14703435"/>
                <a:gd name="connsiteY31" fmla="*/ 7514778 h 10800208"/>
                <a:gd name="connsiteX32" fmla="*/ 13847278 w 14703435"/>
                <a:gd name="connsiteY32" fmla="*/ 6610464 h 10800208"/>
                <a:gd name="connsiteX33" fmla="*/ 13340864 w 14703435"/>
                <a:gd name="connsiteY33" fmla="*/ 5905101 h 10800208"/>
                <a:gd name="connsiteX34" fmla="*/ 13123831 w 14703435"/>
                <a:gd name="connsiteY34" fmla="*/ 4819923 h 10800208"/>
                <a:gd name="connsiteX35" fmla="*/ 13232349 w 14703435"/>
                <a:gd name="connsiteY35" fmla="*/ 4132649 h 10800208"/>
                <a:gd name="connsiteX36" fmla="*/ 12273778 w 14703435"/>
                <a:gd name="connsiteY36" fmla="*/ 4165810 h 10800208"/>
                <a:gd name="connsiteX37" fmla="*/ 12201432 w 14703435"/>
                <a:gd name="connsiteY37" fmla="*/ 3767910 h 10800208"/>
                <a:gd name="connsiteX38" fmla="*/ 12508887 w 14703435"/>
                <a:gd name="connsiteY38" fmla="*/ 3264515 h 10800208"/>
                <a:gd name="connsiteX39" fmla="*/ 13774933 w 14703435"/>
                <a:gd name="connsiteY39" fmla="*/ 2486799 h 10800208"/>
                <a:gd name="connsiteX40" fmla="*/ 6319261 w 14703435"/>
                <a:gd name="connsiteY40" fmla="*/ 4419497 h 10800208"/>
                <a:gd name="connsiteX41" fmla="*/ 5596373 w 14703435"/>
                <a:gd name="connsiteY41" fmla="*/ 4033059 h 10800208"/>
                <a:gd name="connsiteX42" fmla="*/ 5365184 w 14703435"/>
                <a:gd name="connsiteY42" fmla="*/ 3460880 h 10800208"/>
                <a:gd name="connsiteX43" fmla="*/ 5153802 w 14703435"/>
                <a:gd name="connsiteY43" fmla="*/ 3132314 h 10800208"/>
                <a:gd name="connsiteX44" fmla="*/ 4898441 w 14703435"/>
                <a:gd name="connsiteY44" fmla="*/ 3183022 h 10800208"/>
                <a:gd name="connsiteX45" fmla="*/ 4600673 w 14703435"/>
                <a:gd name="connsiteY45" fmla="*/ 2914551 h 10800208"/>
                <a:gd name="connsiteX46" fmla="*/ 4416749 w 14703435"/>
                <a:gd name="connsiteY46" fmla="*/ 2491544 h 10800208"/>
                <a:gd name="connsiteX47" fmla="*/ 4653822 w 14703435"/>
                <a:gd name="connsiteY47" fmla="*/ 1941377 h 10800208"/>
                <a:gd name="connsiteX48" fmla="*/ 4432864 w 14703435"/>
                <a:gd name="connsiteY48" fmla="*/ 1388142 h 10800208"/>
                <a:gd name="connsiteX49" fmla="*/ 4437471 w 14703435"/>
                <a:gd name="connsiteY49" fmla="*/ 719354 h 10800208"/>
                <a:gd name="connsiteX50" fmla="*/ 4141784 w 14703435"/>
                <a:gd name="connsiteY50" fmla="*/ 0 h 10800208"/>
                <a:gd name="connsiteX51" fmla="*/ 2314296 w 14703435"/>
                <a:gd name="connsiteY51" fmla="*/ 282857 h 10800208"/>
                <a:gd name="connsiteX52" fmla="*/ 1334589 w 14703435"/>
                <a:gd name="connsiteY52" fmla="*/ 1087729 h 10800208"/>
                <a:gd name="connsiteX53" fmla="*/ 0 w 14703435"/>
                <a:gd name="connsiteY53" fmla="*/ 2435175 h 10800208"/>
                <a:gd name="connsiteX0" fmla="*/ 0 w 14703435"/>
                <a:gd name="connsiteY0" fmla="*/ 2435175 h 10800208"/>
                <a:gd name="connsiteX1" fmla="*/ 613837 w 14703435"/>
                <a:gd name="connsiteY1" fmla="*/ 4813533 h 10800208"/>
                <a:gd name="connsiteX2" fmla="*/ 1518338 w 14703435"/>
                <a:gd name="connsiteY2" fmla="*/ 5681683 h 10800208"/>
                <a:gd name="connsiteX3" fmla="*/ 1735898 w 14703435"/>
                <a:gd name="connsiteY3" fmla="*/ 6513607 h 10800208"/>
                <a:gd name="connsiteX4" fmla="*/ 3137400 w 14703435"/>
                <a:gd name="connsiteY4" fmla="*/ 7038167 h 10800208"/>
                <a:gd name="connsiteX5" fmla="*/ 3453963 w 14703435"/>
                <a:gd name="connsiteY5" fmla="*/ 8394658 h 10800208"/>
                <a:gd name="connsiteX6" fmla="*/ 4168520 w 14703435"/>
                <a:gd name="connsiteY6" fmla="*/ 9769227 h 10800208"/>
                <a:gd name="connsiteX7" fmla="*/ 4162343 w 14703435"/>
                <a:gd name="connsiteY7" fmla="*/ 10800208 h 10800208"/>
                <a:gd name="connsiteX8" fmla="*/ 4605215 w 14703435"/>
                <a:gd name="connsiteY8" fmla="*/ 10716044 h 10800208"/>
                <a:gd name="connsiteX9" fmla="*/ 4840336 w 14703435"/>
                <a:gd name="connsiteY9" fmla="*/ 10426662 h 10800208"/>
                <a:gd name="connsiteX10" fmla="*/ 6070201 w 14703435"/>
                <a:gd name="connsiteY10" fmla="*/ 10444754 h 10800208"/>
                <a:gd name="connsiteX11" fmla="*/ 6884082 w 14703435"/>
                <a:gd name="connsiteY11" fmla="*/ 9847902 h 10800208"/>
                <a:gd name="connsiteX12" fmla="*/ 7716051 w 14703435"/>
                <a:gd name="connsiteY12" fmla="*/ 10173461 h 10800208"/>
                <a:gd name="connsiteX13" fmla="*/ 8584189 w 14703435"/>
                <a:gd name="connsiteY13" fmla="*/ 9974509 h 10800208"/>
                <a:gd name="connsiteX14" fmla="*/ 9289552 w 14703435"/>
                <a:gd name="connsiteY14" fmla="*/ 10173461 h 10800208"/>
                <a:gd name="connsiteX15" fmla="*/ 10139605 w 14703435"/>
                <a:gd name="connsiteY15" fmla="*/ 9775561 h 10800208"/>
                <a:gd name="connsiteX16" fmla="*/ 10664108 w 14703435"/>
                <a:gd name="connsiteY16" fmla="*/ 9992597 h 10800208"/>
                <a:gd name="connsiteX17" fmla="*/ 11387555 w 14703435"/>
                <a:gd name="connsiteY17" fmla="*/ 9902167 h 10800208"/>
                <a:gd name="connsiteX18" fmla="*/ 11966315 w 14703435"/>
                <a:gd name="connsiteY18" fmla="*/ 10625622 h 10800208"/>
                <a:gd name="connsiteX19" fmla="*/ 12942975 w 14703435"/>
                <a:gd name="connsiteY19" fmla="*/ 10390493 h 10800208"/>
                <a:gd name="connsiteX20" fmla="*/ 13575992 w 14703435"/>
                <a:gd name="connsiteY20" fmla="*/ 10788393 h 10800208"/>
                <a:gd name="connsiteX21" fmla="*/ 13973888 w 14703435"/>
                <a:gd name="connsiteY21" fmla="*/ 10697960 h 10800208"/>
                <a:gd name="connsiteX22" fmla="*/ 14028146 w 14703435"/>
                <a:gd name="connsiteY22" fmla="*/ 10155369 h 10800208"/>
                <a:gd name="connsiteX23" fmla="*/ 13594073 w 14703435"/>
                <a:gd name="connsiteY23" fmla="*/ 10101112 h 10800208"/>
                <a:gd name="connsiteX24" fmla="*/ 13612161 w 14703435"/>
                <a:gd name="connsiteY24" fmla="*/ 9413833 h 10800208"/>
                <a:gd name="connsiteX25" fmla="*/ 14190925 w 14703435"/>
                <a:gd name="connsiteY25" fmla="*/ 9269146 h 10800208"/>
                <a:gd name="connsiteX26" fmla="*/ 13865366 w 14703435"/>
                <a:gd name="connsiteY26" fmla="*/ 8798901 h 10800208"/>
                <a:gd name="connsiteX27" fmla="*/ 14136664 w 14703435"/>
                <a:gd name="connsiteY27" fmla="*/ 8401005 h 10800208"/>
                <a:gd name="connsiteX28" fmla="*/ 14703435 w 14703435"/>
                <a:gd name="connsiteY28" fmla="*/ 8428101 h 10800208"/>
                <a:gd name="connsiteX29" fmla="*/ 14661163 w 14703435"/>
                <a:gd name="connsiteY29" fmla="*/ 8256317 h 10800208"/>
                <a:gd name="connsiteX30" fmla="*/ 14335608 w 14703435"/>
                <a:gd name="connsiteY30" fmla="*/ 8093542 h 10800208"/>
                <a:gd name="connsiteX31" fmla="*/ 14498387 w 14703435"/>
                <a:gd name="connsiteY31" fmla="*/ 7514778 h 10800208"/>
                <a:gd name="connsiteX32" fmla="*/ 13847278 w 14703435"/>
                <a:gd name="connsiteY32" fmla="*/ 6610464 h 10800208"/>
                <a:gd name="connsiteX33" fmla="*/ 13340864 w 14703435"/>
                <a:gd name="connsiteY33" fmla="*/ 5905101 h 10800208"/>
                <a:gd name="connsiteX34" fmla="*/ 13123831 w 14703435"/>
                <a:gd name="connsiteY34" fmla="*/ 4819923 h 10800208"/>
                <a:gd name="connsiteX35" fmla="*/ 13232349 w 14703435"/>
                <a:gd name="connsiteY35" fmla="*/ 4132649 h 10800208"/>
                <a:gd name="connsiteX36" fmla="*/ 12273778 w 14703435"/>
                <a:gd name="connsiteY36" fmla="*/ 4165810 h 10800208"/>
                <a:gd name="connsiteX37" fmla="*/ 12201432 w 14703435"/>
                <a:gd name="connsiteY37" fmla="*/ 3767910 h 10800208"/>
                <a:gd name="connsiteX38" fmla="*/ 12508887 w 14703435"/>
                <a:gd name="connsiteY38" fmla="*/ 3264515 h 10800208"/>
                <a:gd name="connsiteX39" fmla="*/ 6319261 w 14703435"/>
                <a:gd name="connsiteY39" fmla="*/ 4419497 h 10800208"/>
                <a:gd name="connsiteX40" fmla="*/ 5596373 w 14703435"/>
                <a:gd name="connsiteY40" fmla="*/ 4033059 h 10800208"/>
                <a:gd name="connsiteX41" fmla="*/ 5365184 w 14703435"/>
                <a:gd name="connsiteY41" fmla="*/ 3460880 h 10800208"/>
                <a:gd name="connsiteX42" fmla="*/ 5153802 w 14703435"/>
                <a:gd name="connsiteY42" fmla="*/ 3132314 h 10800208"/>
                <a:gd name="connsiteX43" fmla="*/ 4898441 w 14703435"/>
                <a:gd name="connsiteY43" fmla="*/ 3183022 h 10800208"/>
                <a:gd name="connsiteX44" fmla="*/ 4600673 w 14703435"/>
                <a:gd name="connsiteY44" fmla="*/ 2914551 h 10800208"/>
                <a:gd name="connsiteX45" fmla="*/ 4416749 w 14703435"/>
                <a:gd name="connsiteY45" fmla="*/ 2491544 h 10800208"/>
                <a:gd name="connsiteX46" fmla="*/ 4653822 w 14703435"/>
                <a:gd name="connsiteY46" fmla="*/ 1941377 h 10800208"/>
                <a:gd name="connsiteX47" fmla="*/ 4432864 w 14703435"/>
                <a:gd name="connsiteY47" fmla="*/ 1388142 h 10800208"/>
                <a:gd name="connsiteX48" fmla="*/ 4437471 w 14703435"/>
                <a:gd name="connsiteY48" fmla="*/ 719354 h 10800208"/>
                <a:gd name="connsiteX49" fmla="*/ 4141784 w 14703435"/>
                <a:gd name="connsiteY49" fmla="*/ 0 h 10800208"/>
                <a:gd name="connsiteX50" fmla="*/ 2314296 w 14703435"/>
                <a:gd name="connsiteY50" fmla="*/ 282857 h 10800208"/>
                <a:gd name="connsiteX51" fmla="*/ 1334589 w 14703435"/>
                <a:gd name="connsiteY51" fmla="*/ 1087729 h 10800208"/>
                <a:gd name="connsiteX52" fmla="*/ 0 w 14703435"/>
                <a:gd name="connsiteY52" fmla="*/ 2435175 h 10800208"/>
                <a:gd name="connsiteX0" fmla="*/ 0 w 14703435"/>
                <a:gd name="connsiteY0" fmla="*/ 2435175 h 10800208"/>
                <a:gd name="connsiteX1" fmla="*/ 613837 w 14703435"/>
                <a:gd name="connsiteY1" fmla="*/ 4813533 h 10800208"/>
                <a:gd name="connsiteX2" fmla="*/ 1518338 w 14703435"/>
                <a:gd name="connsiteY2" fmla="*/ 5681683 h 10800208"/>
                <a:gd name="connsiteX3" fmla="*/ 1735898 w 14703435"/>
                <a:gd name="connsiteY3" fmla="*/ 6513607 h 10800208"/>
                <a:gd name="connsiteX4" fmla="*/ 3137400 w 14703435"/>
                <a:gd name="connsiteY4" fmla="*/ 7038167 h 10800208"/>
                <a:gd name="connsiteX5" fmla="*/ 3453963 w 14703435"/>
                <a:gd name="connsiteY5" fmla="*/ 8394658 h 10800208"/>
                <a:gd name="connsiteX6" fmla="*/ 4168520 w 14703435"/>
                <a:gd name="connsiteY6" fmla="*/ 9769227 h 10800208"/>
                <a:gd name="connsiteX7" fmla="*/ 4162343 w 14703435"/>
                <a:gd name="connsiteY7" fmla="*/ 10800208 h 10800208"/>
                <a:gd name="connsiteX8" fmla="*/ 4605215 w 14703435"/>
                <a:gd name="connsiteY8" fmla="*/ 10716044 h 10800208"/>
                <a:gd name="connsiteX9" fmla="*/ 4840336 w 14703435"/>
                <a:gd name="connsiteY9" fmla="*/ 10426662 h 10800208"/>
                <a:gd name="connsiteX10" fmla="*/ 6070201 w 14703435"/>
                <a:gd name="connsiteY10" fmla="*/ 10444754 h 10800208"/>
                <a:gd name="connsiteX11" fmla="*/ 6884082 w 14703435"/>
                <a:gd name="connsiteY11" fmla="*/ 9847902 h 10800208"/>
                <a:gd name="connsiteX12" fmla="*/ 7716051 w 14703435"/>
                <a:gd name="connsiteY12" fmla="*/ 10173461 h 10800208"/>
                <a:gd name="connsiteX13" fmla="*/ 8584189 w 14703435"/>
                <a:gd name="connsiteY13" fmla="*/ 9974509 h 10800208"/>
                <a:gd name="connsiteX14" fmla="*/ 9289552 w 14703435"/>
                <a:gd name="connsiteY14" fmla="*/ 10173461 h 10800208"/>
                <a:gd name="connsiteX15" fmla="*/ 10139605 w 14703435"/>
                <a:gd name="connsiteY15" fmla="*/ 9775561 h 10800208"/>
                <a:gd name="connsiteX16" fmla="*/ 10664108 w 14703435"/>
                <a:gd name="connsiteY16" fmla="*/ 9992597 h 10800208"/>
                <a:gd name="connsiteX17" fmla="*/ 11387555 w 14703435"/>
                <a:gd name="connsiteY17" fmla="*/ 9902167 h 10800208"/>
                <a:gd name="connsiteX18" fmla="*/ 11966315 w 14703435"/>
                <a:gd name="connsiteY18" fmla="*/ 10625622 h 10800208"/>
                <a:gd name="connsiteX19" fmla="*/ 12942975 w 14703435"/>
                <a:gd name="connsiteY19" fmla="*/ 10390493 h 10800208"/>
                <a:gd name="connsiteX20" fmla="*/ 13575992 w 14703435"/>
                <a:gd name="connsiteY20" fmla="*/ 10788393 h 10800208"/>
                <a:gd name="connsiteX21" fmla="*/ 13973888 w 14703435"/>
                <a:gd name="connsiteY21" fmla="*/ 10697960 h 10800208"/>
                <a:gd name="connsiteX22" fmla="*/ 14028146 w 14703435"/>
                <a:gd name="connsiteY22" fmla="*/ 10155369 h 10800208"/>
                <a:gd name="connsiteX23" fmla="*/ 13594073 w 14703435"/>
                <a:gd name="connsiteY23" fmla="*/ 10101112 h 10800208"/>
                <a:gd name="connsiteX24" fmla="*/ 13612161 w 14703435"/>
                <a:gd name="connsiteY24" fmla="*/ 9413833 h 10800208"/>
                <a:gd name="connsiteX25" fmla="*/ 14190925 w 14703435"/>
                <a:gd name="connsiteY25" fmla="*/ 9269146 h 10800208"/>
                <a:gd name="connsiteX26" fmla="*/ 13865366 w 14703435"/>
                <a:gd name="connsiteY26" fmla="*/ 8798901 h 10800208"/>
                <a:gd name="connsiteX27" fmla="*/ 14136664 w 14703435"/>
                <a:gd name="connsiteY27" fmla="*/ 8401005 h 10800208"/>
                <a:gd name="connsiteX28" fmla="*/ 14703435 w 14703435"/>
                <a:gd name="connsiteY28" fmla="*/ 8428101 h 10800208"/>
                <a:gd name="connsiteX29" fmla="*/ 14661163 w 14703435"/>
                <a:gd name="connsiteY29" fmla="*/ 8256317 h 10800208"/>
                <a:gd name="connsiteX30" fmla="*/ 14335608 w 14703435"/>
                <a:gd name="connsiteY30" fmla="*/ 8093542 h 10800208"/>
                <a:gd name="connsiteX31" fmla="*/ 14498387 w 14703435"/>
                <a:gd name="connsiteY31" fmla="*/ 7514778 h 10800208"/>
                <a:gd name="connsiteX32" fmla="*/ 13847278 w 14703435"/>
                <a:gd name="connsiteY32" fmla="*/ 6610464 h 10800208"/>
                <a:gd name="connsiteX33" fmla="*/ 13340864 w 14703435"/>
                <a:gd name="connsiteY33" fmla="*/ 5905101 h 10800208"/>
                <a:gd name="connsiteX34" fmla="*/ 13123831 w 14703435"/>
                <a:gd name="connsiteY34" fmla="*/ 4819923 h 10800208"/>
                <a:gd name="connsiteX35" fmla="*/ 13232349 w 14703435"/>
                <a:gd name="connsiteY35" fmla="*/ 4132649 h 10800208"/>
                <a:gd name="connsiteX36" fmla="*/ 12273778 w 14703435"/>
                <a:gd name="connsiteY36" fmla="*/ 4165810 h 10800208"/>
                <a:gd name="connsiteX37" fmla="*/ 12201432 w 14703435"/>
                <a:gd name="connsiteY37" fmla="*/ 3767910 h 10800208"/>
                <a:gd name="connsiteX38" fmla="*/ 6336686 w 14703435"/>
                <a:gd name="connsiteY38" fmla="*/ 5221815 h 10800208"/>
                <a:gd name="connsiteX39" fmla="*/ 6319261 w 14703435"/>
                <a:gd name="connsiteY39" fmla="*/ 4419497 h 10800208"/>
                <a:gd name="connsiteX40" fmla="*/ 5596373 w 14703435"/>
                <a:gd name="connsiteY40" fmla="*/ 4033059 h 10800208"/>
                <a:gd name="connsiteX41" fmla="*/ 5365184 w 14703435"/>
                <a:gd name="connsiteY41" fmla="*/ 3460880 h 10800208"/>
                <a:gd name="connsiteX42" fmla="*/ 5153802 w 14703435"/>
                <a:gd name="connsiteY42" fmla="*/ 3132314 h 10800208"/>
                <a:gd name="connsiteX43" fmla="*/ 4898441 w 14703435"/>
                <a:gd name="connsiteY43" fmla="*/ 3183022 h 10800208"/>
                <a:gd name="connsiteX44" fmla="*/ 4600673 w 14703435"/>
                <a:gd name="connsiteY44" fmla="*/ 2914551 h 10800208"/>
                <a:gd name="connsiteX45" fmla="*/ 4416749 w 14703435"/>
                <a:gd name="connsiteY45" fmla="*/ 2491544 h 10800208"/>
                <a:gd name="connsiteX46" fmla="*/ 4653822 w 14703435"/>
                <a:gd name="connsiteY46" fmla="*/ 1941377 h 10800208"/>
                <a:gd name="connsiteX47" fmla="*/ 4432864 w 14703435"/>
                <a:gd name="connsiteY47" fmla="*/ 1388142 h 10800208"/>
                <a:gd name="connsiteX48" fmla="*/ 4437471 w 14703435"/>
                <a:gd name="connsiteY48" fmla="*/ 719354 h 10800208"/>
                <a:gd name="connsiteX49" fmla="*/ 4141784 w 14703435"/>
                <a:gd name="connsiteY49" fmla="*/ 0 h 10800208"/>
                <a:gd name="connsiteX50" fmla="*/ 2314296 w 14703435"/>
                <a:gd name="connsiteY50" fmla="*/ 282857 h 10800208"/>
                <a:gd name="connsiteX51" fmla="*/ 1334589 w 14703435"/>
                <a:gd name="connsiteY51" fmla="*/ 1087729 h 10800208"/>
                <a:gd name="connsiteX52" fmla="*/ 0 w 14703435"/>
                <a:gd name="connsiteY52" fmla="*/ 2435175 h 10800208"/>
                <a:gd name="connsiteX0" fmla="*/ 0 w 14703435"/>
                <a:gd name="connsiteY0" fmla="*/ 2435175 h 10800208"/>
                <a:gd name="connsiteX1" fmla="*/ 613837 w 14703435"/>
                <a:gd name="connsiteY1" fmla="*/ 4813533 h 10800208"/>
                <a:gd name="connsiteX2" fmla="*/ 1518338 w 14703435"/>
                <a:gd name="connsiteY2" fmla="*/ 5681683 h 10800208"/>
                <a:gd name="connsiteX3" fmla="*/ 1735898 w 14703435"/>
                <a:gd name="connsiteY3" fmla="*/ 6513607 h 10800208"/>
                <a:gd name="connsiteX4" fmla="*/ 3137400 w 14703435"/>
                <a:gd name="connsiteY4" fmla="*/ 7038167 h 10800208"/>
                <a:gd name="connsiteX5" fmla="*/ 3453963 w 14703435"/>
                <a:gd name="connsiteY5" fmla="*/ 8394658 h 10800208"/>
                <a:gd name="connsiteX6" fmla="*/ 4168520 w 14703435"/>
                <a:gd name="connsiteY6" fmla="*/ 9769227 h 10800208"/>
                <a:gd name="connsiteX7" fmla="*/ 4162343 w 14703435"/>
                <a:gd name="connsiteY7" fmla="*/ 10800208 h 10800208"/>
                <a:gd name="connsiteX8" fmla="*/ 4605215 w 14703435"/>
                <a:gd name="connsiteY8" fmla="*/ 10716044 h 10800208"/>
                <a:gd name="connsiteX9" fmla="*/ 4840336 w 14703435"/>
                <a:gd name="connsiteY9" fmla="*/ 10426662 h 10800208"/>
                <a:gd name="connsiteX10" fmla="*/ 6070201 w 14703435"/>
                <a:gd name="connsiteY10" fmla="*/ 10444754 h 10800208"/>
                <a:gd name="connsiteX11" fmla="*/ 6884082 w 14703435"/>
                <a:gd name="connsiteY11" fmla="*/ 9847902 h 10800208"/>
                <a:gd name="connsiteX12" fmla="*/ 7716051 w 14703435"/>
                <a:gd name="connsiteY12" fmla="*/ 10173461 h 10800208"/>
                <a:gd name="connsiteX13" fmla="*/ 8584189 w 14703435"/>
                <a:gd name="connsiteY13" fmla="*/ 9974509 h 10800208"/>
                <a:gd name="connsiteX14" fmla="*/ 9289552 w 14703435"/>
                <a:gd name="connsiteY14" fmla="*/ 10173461 h 10800208"/>
                <a:gd name="connsiteX15" fmla="*/ 10139605 w 14703435"/>
                <a:gd name="connsiteY15" fmla="*/ 9775561 h 10800208"/>
                <a:gd name="connsiteX16" fmla="*/ 10664108 w 14703435"/>
                <a:gd name="connsiteY16" fmla="*/ 9992597 h 10800208"/>
                <a:gd name="connsiteX17" fmla="*/ 11387555 w 14703435"/>
                <a:gd name="connsiteY17" fmla="*/ 9902167 h 10800208"/>
                <a:gd name="connsiteX18" fmla="*/ 11966315 w 14703435"/>
                <a:gd name="connsiteY18" fmla="*/ 10625622 h 10800208"/>
                <a:gd name="connsiteX19" fmla="*/ 12942975 w 14703435"/>
                <a:gd name="connsiteY19" fmla="*/ 10390493 h 10800208"/>
                <a:gd name="connsiteX20" fmla="*/ 13575992 w 14703435"/>
                <a:gd name="connsiteY20" fmla="*/ 10788393 h 10800208"/>
                <a:gd name="connsiteX21" fmla="*/ 13973888 w 14703435"/>
                <a:gd name="connsiteY21" fmla="*/ 10697960 h 10800208"/>
                <a:gd name="connsiteX22" fmla="*/ 14028146 w 14703435"/>
                <a:gd name="connsiteY22" fmla="*/ 10155369 h 10800208"/>
                <a:gd name="connsiteX23" fmla="*/ 13594073 w 14703435"/>
                <a:gd name="connsiteY23" fmla="*/ 10101112 h 10800208"/>
                <a:gd name="connsiteX24" fmla="*/ 13612161 w 14703435"/>
                <a:gd name="connsiteY24" fmla="*/ 9413833 h 10800208"/>
                <a:gd name="connsiteX25" fmla="*/ 14190925 w 14703435"/>
                <a:gd name="connsiteY25" fmla="*/ 9269146 h 10800208"/>
                <a:gd name="connsiteX26" fmla="*/ 13865366 w 14703435"/>
                <a:gd name="connsiteY26" fmla="*/ 8798901 h 10800208"/>
                <a:gd name="connsiteX27" fmla="*/ 14136664 w 14703435"/>
                <a:gd name="connsiteY27" fmla="*/ 8401005 h 10800208"/>
                <a:gd name="connsiteX28" fmla="*/ 14703435 w 14703435"/>
                <a:gd name="connsiteY28" fmla="*/ 8428101 h 10800208"/>
                <a:gd name="connsiteX29" fmla="*/ 14661163 w 14703435"/>
                <a:gd name="connsiteY29" fmla="*/ 8256317 h 10800208"/>
                <a:gd name="connsiteX30" fmla="*/ 14335608 w 14703435"/>
                <a:gd name="connsiteY30" fmla="*/ 8093542 h 10800208"/>
                <a:gd name="connsiteX31" fmla="*/ 14498387 w 14703435"/>
                <a:gd name="connsiteY31" fmla="*/ 7514778 h 10800208"/>
                <a:gd name="connsiteX32" fmla="*/ 13847278 w 14703435"/>
                <a:gd name="connsiteY32" fmla="*/ 6610464 h 10800208"/>
                <a:gd name="connsiteX33" fmla="*/ 13340864 w 14703435"/>
                <a:gd name="connsiteY33" fmla="*/ 5905101 h 10800208"/>
                <a:gd name="connsiteX34" fmla="*/ 13123831 w 14703435"/>
                <a:gd name="connsiteY34" fmla="*/ 4819923 h 10800208"/>
                <a:gd name="connsiteX35" fmla="*/ 13232349 w 14703435"/>
                <a:gd name="connsiteY35" fmla="*/ 4132649 h 10800208"/>
                <a:gd name="connsiteX36" fmla="*/ 12273778 w 14703435"/>
                <a:gd name="connsiteY36" fmla="*/ 4165810 h 10800208"/>
                <a:gd name="connsiteX37" fmla="*/ 7081852 w 14703435"/>
                <a:gd name="connsiteY37" fmla="*/ 6059383 h 10800208"/>
                <a:gd name="connsiteX38" fmla="*/ 6336686 w 14703435"/>
                <a:gd name="connsiteY38" fmla="*/ 5221815 h 10800208"/>
                <a:gd name="connsiteX39" fmla="*/ 6319261 w 14703435"/>
                <a:gd name="connsiteY39" fmla="*/ 4419497 h 10800208"/>
                <a:gd name="connsiteX40" fmla="*/ 5596373 w 14703435"/>
                <a:gd name="connsiteY40" fmla="*/ 4033059 h 10800208"/>
                <a:gd name="connsiteX41" fmla="*/ 5365184 w 14703435"/>
                <a:gd name="connsiteY41" fmla="*/ 3460880 h 10800208"/>
                <a:gd name="connsiteX42" fmla="*/ 5153802 w 14703435"/>
                <a:gd name="connsiteY42" fmla="*/ 3132314 h 10800208"/>
                <a:gd name="connsiteX43" fmla="*/ 4898441 w 14703435"/>
                <a:gd name="connsiteY43" fmla="*/ 3183022 h 10800208"/>
                <a:gd name="connsiteX44" fmla="*/ 4600673 w 14703435"/>
                <a:gd name="connsiteY44" fmla="*/ 2914551 h 10800208"/>
                <a:gd name="connsiteX45" fmla="*/ 4416749 w 14703435"/>
                <a:gd name="connsiteY45" fmla="*/ 2491544 h 10800208"/>
                <a:gd name="connsiteX46" fmla="*/ 4653822 w 14703435"/>
                <a:gd name="connsiteY46" fmla="*/ 1941377 h 10800208"/>
                <a:gd name="connsiteX47" fmla="*/ 4432864 w 14703435"/>
                <a:gd name="connsiteY47" fmla="*/ 1388142 h 10800208"/>
                <a:gd name="connsiteX48" fmla="*/ 4437471 w 14703435"/>
                <a:gd name="connsiteY48" fmla="*/ 719354 h 10800208"/>
                <a:gd name="connsiteX49" fmla="*/ 4141784 w 14703435"/>
                <a:gd name="connsiteY49" fmla="*/ 0 h 10800208"/>
                <a:gd name="connsiteX50" fmla="*/ 2314296 w 14703435"/>
                <a:gd name="connsiteY50" fmla="*/ 282857 h 10800208"/>
                <a:gd name="connsiteX51" fmla="*/ 1334589 w 14703435"/>
                <a:gd name="connsiteY51" fmla="*/ 1087729 h 10800208"/>
                <a:gd name="connsiteX52" fmla="*/ 0 w 14703435"/>
                <a:gd name="connsiteY52" fmla="*/ 2435175 h 10800208"/>
                <a:gd name="connsiteX0" fmla="*/ 0 w 14703435"/>
                <a:gd name="connsiteY0" fmla="*/ 2435175 h 10800208"/>
                <a:gd name="connsiteX1" fmla="*/ 613837 w 14703435"/>
                <a:gd name="connsiteY1" fmla="*/ 4813533 h 10800208"/>
                <a:gd name="connsiteX2" fmla="*/ 1518338 w 14703435"/>
                <a:gd name="connsiteY2" fmla="*/ 5681683 h 10800208"/>
                <a:gd name="connsiteX3" fmla="*/ 1735898 w 14703435"/>
                <a:gd name="connsiteY3" fmla="*/ 6513607 h 10800208"/>
                <a:gd name="connsiteX4" fmla="*/ 3137400 w 14703435"/>
                <a:gd name="connsiteY4" fmla="*/ 7038167 h 10800208"/>
                <a:gd name="connsiteX5" fmla="*/ 3453963 w 14703435"/>
                <a:gd name="connsiteY5" fmla="*/ 8394658 h 10800208"/>
                <a:gd name="connsiteX6" fmla="*/ 4168520 w 14703435"/>
                <a:gd name="connsiteY6" fmla="*/ 9769227 h 10800208"/>
                <a:gd name="connsiteX7" fmla="*/ 4162343 w 14703435"/>
                <a:gd name="connsiteY7" fmla="*/ 10800208 h 10800208"/>
                <a:gd name="connsiteX8" fmla="*/ 4605215 w 14703435"/>
                <a:gd name="connsiteY8" fmla="*/ 10716044 h 10800208"/>
                <a:gd name="connsiteX9" fmla="*/ 4840336 w 14703435"/>
                <a:gd name="connsiteY9" fmla="*/ 10426662 h 10800208"/>
                <a:gd name="connsiteX10" fmla="*/ 6070201 w 14703435"/>
                <a:gd name="connsiteY10" fmla="*/ 10444754 h 10800208"/>
                <a:gd name="connsiteX11" fmla="*/ 6884082 w 14703435"/>
                <a:gd name="connsiteY11" fmla="*/ 9847902 h 10800208"/>
                <a:gd name="connsiteX12" fmla="*/ 7716051 w 14703435"/>
                <a:gd name="connsiteY12" fmla="*/ 10173461 h 10800208"/>
                <a:gd name="connsiteX13" fmla="*/ 8584189 w 14703435"/>
                <a:gd name="connsiteY13" fmla="*/ 9974509 h 10800208"/>
                <a:gd name="connsiteX14" fmla="*/ 9289552 w 14703435"/>
                <a:gd name="connsiteY14" fmla="*/ 10173461 h 10800208"/>
                <a:gd name="connsiteX15" fmla="*/ 10139605 w 14703435"/>
                <a:gd name="connsiteY15" fmla="*/ 9775561 h 10800208"/>
                <a:gd name="connsiteX16" fmla="*/ 10664108 w 14703435"/>
                <a:gd name="connsiteY16" fmla="*/ 9992597 h 10800208"/>
                <a:gd name="connsiteX17" fmla="*/ 11387555 w 14703435"/>
                <a:gd name="connsiteY17" fmla="*/ 9902167 h 10800208"/>
                <a:gd name="connsiteX18" fmla="*/ 11966315 w 14703435"/>
                <a:gd name="connsiteY18" fmla="*/ 10625622 h 10800208"/>
                <a:gd name="connsiteX19" fmla="*/ 12942975 w 14703435"/>
                <a:gd name="connsiteY19" fmla="*/ 10390493 h 10800208"/>
                <a:gd name="connsiteX20" fmla="*/ 13575992 w 14703435"/>
                <a:gd name="connsiteY20" fmla="*/ 10788393 h 10800208"/>
                <a:gd name="connsiteX21" fmla="*/ 13973888 w 14703435"/>
                <a:gd name="connsiteY21" fmla="*/ 10697960 h 10800208"/>
                <a:gd name="connsiteX22" fmla="*/ 14028146 w 14703435"/>
                <a:gd name="connsiteY22" fmla="*/ 10155369 h 10800208"/>
                <a:gd name="connsiteX23" fmla="*/ 13594073 w 14703435"/>
                <a:gd name="connsiteY23" fmla="*/ 10101112 h 10800208"/>
                <a:gd name="connsiteX24" fmla="*/ 13612161 w 14703435"/>
                <a:gd name="connsiteY24" fmla="*/ 9413833 h 10800208"/>
                <a:gd name="connsiteX25" fmla="*/ 14190925 w 14703435"/>
                <a:gd name="connsiteY25" fmla="*/ 9269146 h 10800208"/>
                <a:gd name="connsiteX26" fmla="*/ 13865366 w 14703435"/>
                <a:gd name="connsiteY26" fmla="*/ 8798901 h 10800208"/>
                <a:gd name="connsiteX27" fmla="*/ 14136664 w 14703435"/>
                <a:gd name="connsiteY27" fmla="*/ 8401005 h 10800208"/>
                <a:gd name="connsiteX28" fmla="*/ 14703435 w 14703435"/>
                <a:gd name="connsiteY28" fmla="*/ 8428101 h 10800208"/>
                <a:gd name="connsiteX29" fmla="*/ 14661163 w 14703435"/>
                <a:gd name="connsiteY29" fmla="*/ 8256317 h 10800208"/>
                <a:gd name="connsiteX30" fmla="*/ 14335608 w 14703435"/>
                <a:gd name="connsiteY30" fmla="*/ 8093542 h 10800208"/>
                <a:gd name="connsiteX31" fmla="*/ 14498387 w 14703435"/>
                <a:gd name="connsiteY31" fmla="*/ 7514778 h 10800208"/>
                <a:gd name="connsiteX32" fmla="*/ 13847278 w 14703435"/>
                <a:gd name="connsiteY32" fmla="*/ 6610464 h 10800208"/>
                <a:gd name="connsiteX33" fmla="*/ 13340864 w 14703435"/>
                <a:gd name="connsiteY33" fmla="*/ 5905101 h 10800208"/>
                <a:gd name="connsiteX34" fmla="*/ 13123831 w 14703435"/>
                <a:gd name="connsiteY34" fmla="*/ 4819923 h 10800208"/>
                <a:gd name="connsiteX35" fmla="*/ 13232349 w 14703435"/>
                <a:gd name="connsiteY35" fmla="*/ 4132649 h 10800208"/>
                <a:gd name="connsiteX36" fmla="*/ 7632672 w 14703435"/>
                <a:gd name="connsiteY36" fmla="*/ 6481152 h 10800208"/>
                <a:gd name="connsiteX37" fmla="*/ 7081852 w 14703435"/>
                <a:gd name="connsiteY37" fmla="*/ 6059383 h 10800208"/>
                <a:gd name="connsiteX38" fmla="*/ 6336686 w 14703435"/>
                <a:gd name="connsiteY38" fmla="*/ 5221815 h 10800208"/>
                <a:gd name="connsiteX39" fmla="*/ 6319261 w 14703435"/>
                <a:gd name="connsiteY39" fmla="*/ 4419497 h 10800208"/>
                <a:gd name="connsiteX40" fmla="*/ 5596373 w 14703435"/>
                <a:gd name="connsiteY40" fmla="*/ 4033059 h 10800208"/>
                <a:gd name="connsiteX41" fmla="*/ 5365184 w 14703435"/>
                <a:gd name="connsiteY41" fmla="*/ 3460880 h 10800208"/>
                <a:gd name="connsiteX42" fmla="*/ 5153802 w 14703435"/>
                <a:gd name="connsiteY42" fmla="*/ 3132314 h 10800208"/>
                <a:gd name="connsiteX43" fmla="*/ 4898441 w 14703435"/>
                <a:gd name="connsiteY43" fmla="*/ 3183022 h 10800208"/>
                <a:gd name="connsiteX44" fmla="*/ 4600673 w 14703435"/>
                <a:gd name="connsiteY44" fmla="*/ 2914551 h 10800208"/>
                <a:gd name="connsiteX45" fmla="*/ 4416749 w 14703435"/>
                <a:gd name="connsiteY45" fmla="*/ 2491544 h 10800208"/>
                <a:gd name="connsiteX46" fmla="*/ 4653822 w 14703435"/>
                <a:gd name="connsiteY46" fmla="*/ 1941377 h 10800208"/>
                <a:gd name="connsiteX47" fmla="*/ 4432864 w 14703435"/>
                <a:gd name="connsiteY47" fmla="*/ 1388142 h 10800208"/>
                <a:gd name="connsiteX48" fmla="*/ 4437471 w 14703435"/>
                <a:gd name="connsiteY48" fmla="*/ 719354 h 10800208"/>
                <a:gd name="connsiteX49" fmla="*/ 4141784 w 14703435"/>
                <a:gd name="connsiteY49" fmla="*/ 0 h 10800208"/>
                <a:gd name="connsiteX50" fmla="*/ 2314296 w 14703435"/>
                <a:gd name="connsiteY50" fmla="*/ 282857 h 10800208"/>
                <a:gd name="connsiteX51" fmla="*/ 1334589 w 14703435"/>
                <a:gd name="connsiteY51" fmla="*/ 1087729 h 10800208"/>
                <a:gd name="connsiteX52" fmla="*/ 0 w 14703435"/>
                <a:gd name="connsiteY52" fmla="*/ 2435175 h 10800208"/>
                <a:gd name="connsiteX0" fmla="*/ 0 w 14703435"/>
                <a:gd name="connsiteY0" fmla="*/ 2435175 h 10800208"/>
                <a:gd name="connsiteX1" fmla="*/ 613837 w 14703435"/>
                <a:gd name="connsiteY1" fmla="*/ 4813533 h 10800208"/>
                <a:gd name="connsiteX2" fmla="*/ 1518338 w 14703435"/>
                <a:gd name="connsiteY2" fmla="*/ 5681683 h 10800208"/>
                <a:gd name="connsiteX3" fmla="*/ 1735898 w 14703435"/>
                <a:gd name="connsiteY3" fmla="*/ 6513607 h 10800208"/>
                <a:gd name="connsiteX4" fmla="*/ 3137400 w 14703435"/>
                <a:gd name="connsiteY4" fmla="*/ 7038167 h 10800208"/>
                <a:gd name="connsiteX5" fmla="*/ 3453963 w 14703435"/>
                <a:gd name="connsiteY5" fmla="*/ 8394658 h 10800208"/>
                <a:gd name="connsiteX6" fmla="*/ 4168520 w 14703435"/>
                <a:gd name="connsiteY6" fmla="*/ 9769227 h 10800208"/>
                <a:gd name="connsiteX7" fmla="*/ 4162343 w 14703435"/>
                <a:gd name="connsiteY7" fmla="*/ 10800208 h 10800208"/>
                <a:gd name="connsiteX8" fmla="*/ 4605215 w 14703435"/>
                <a:gd name="connsiteY8" fmla="*/ 10716044 h 10800208"/>
                <a:gd name="connsiteX9" fmla="*/ 4840336 w 14703435"/>
                <a:gd name="connsiteY9" fmla="*/ 10426662 h 10800208"/>
                <a:gd name="connsiteX10" fmla="*/ 6070201 w 14703435"/>
                <a:gd name="connsiteY10" fmla="*/ 10444754 h 10800208"/>
                <a:gd name="connsiteX11" fmla="*/ 6884082 w 14703435"/>
                <a:gd name="connsiteY11" fmla="*/ 9847902 h 10800208"/>
                <a:gd name="connsiteX12" fmla="*/ 7716051 w 14703435"/>
                <a:gd name="connsiteY12" fmla="*/ 10173461 h 10800208"/>
                <a:gd name="connsiteX13" fmla="*/ 8584189 w 14703435"/>
                <a:gd name="connsiteY13" fmla="*/ 9974509 h 10800208"/>
                <a:gd name="connsiteX14" fmla="*/ 9289552 w 14703435"/>
                <a:gd name="connsiteY14" fmla="*/ 10173461 h 10800208"/>
                <a:gd name="connsiteX15" fmla="*/ 10139605 w 14703435"/>
                <a:gd name="connsiteY15" fmla="*/ 9775561 h 10800208"/>
                <a:gd name="connsiteX16" fmla="*/ 10664108 w 14703435"/>
                <a:gd name="connsiteY16" fmla="*/ 9992597 h 10800208"/>
                <a:gd name="connsiteX17" fmla="*/ 11387555 w 14703435"/>
                <a:gd name="connsiteY17" fmla="*/ 9902167 h 10800208"/>
                <a:gd name="connsiteX18" fmla="*/ 11966315 w 14703435"/>
                <a:gd name="connsiteY18" fmla="*/ 10625622 h 10800208"/>
                <a:gd name="connsiteX19" fmla="*/ 12942975 w 14703435"/>
                <a:gd name="connsiteY19" fmla="*/ 10390493 h 10800208"/>
                <a:gd name="connsiteX20" fmla="*/ 13575992 w 14703435"/>
                <a:gd name="connsiteY20" fmla="*/ 10788393 h 10800208"/>
                <a:gd name="connsiteX21" fmla="*/ 13973888 w 14703435"/>
                <a:gd name="connsiteY21" fmla="*/ 10697960 h 10800208"/>
                <a:gd name="connsiteX22" fmla="*/ 14028146 w 14703435"/>
                <a:gd name="connsiteY22" fmla="*/ 10155369 h 10800208"/>
                <a:gd name="connsiteX23" fmla="*/ 13594073 w 14703435"/>
                <a:gd name="connsiteY23" fmla="*/ 10101112 h 10800208"/>
                <a:gd name="connsiteX24" fmla="*/ 13612161 w 14703435"/>
                <a:gd name="connsiteY24" fmla="*/ 9413833 h 10800208"/>
                <a:gd name="connsiteX25" fmla="*/ 14190925 w 14703435"/>
                <a:gd name="connsiteY25" fmla="*/ 9269146 h 10800208"/>
                <a:gd name="connsiteX26" fmla="*/ 13865366 w 14703435"/>
                <a:gd name="connsiteY26" fmla="*/ 8798901 h 10800208"/>
                <a:gd name="connsiteX27" fmla="*/ 14136664 w 14703435"/>
                <a:gd name="connsiteY27" fmla="*/ 8401005 h 10800208"/>
                <a:gd name="connsiteX28" fmla="*/ 14703435 w 14703435"/>
                <a:gd name="connsiteY28" fmla="*/ 8428101 h 10800208"/>
                <a:gd name="connsiteX29" fmla="*/ 14661163 w 14703435"/>
                <a:gd name="connsiteY29" fmla="*/ 8256317 h 10800208"/>
                <a:gd name="connsiteX30" fmla="*/ 14335608 w 14703435"/>
                <a:gd name="connsiteY30" fmla="*/ 8093542 h 10800208"/>
                <a:gd name="connsiteX31" fmla="*/ 14498387 w 14703435"/>
                <a:gd name="connsiteY31" fmla="*/ 7514778 h 10800208"/>
                <a:gd name="connsiteX32" fmla="*/ 13847278 w 14703435"/>
                <a:gd name="connsiteY32" fmla="*/ 6610464 h 10800208"/>
                <a:gd name="connsiteX33" fmla="*/ 13340864 w 14703435"/>
                <a:gd name="connsiteY33" fmla="*/ 5905101 h 10800208"/>
                <a:gd name="connsiteX34" fmla="*/ 13123831 w 14703435"/>
                <a:gd name="connsiteY34" fmla="*/ 4819923 h 10800208"/>
                <a:gd name="connsiteX35" fmla="*/ 8328079 w 14703435"/>
                <a:gd name="connsiteY35" fmla="*/ 6662814 h 10800208"/>
                <a:gd name="connsiteX36" fmla="*/ 7632672 w 14703435"/>
                <a:gd name="connsiteY36" fmla="*/ 6481152 h 10800208"/>
                <a:gd name="connsiteX37" fmla="*/ 7081852 w 14703435"/>
                <a:gd name="connsiteY37" fmla="*/ 6059383 h 10800208"/>
                <a:gd name="connsiteX38" fmla="*/ 6336686 w 14703435"/>
                <a:gd name="connsiteY38" fmla="*/ 5221815 h 10800208"/>
                <a:gd name="connsiteX39" fmla="*/ 6319261 w 14703435"/>
                <a:gd name="connsiteY39" fmla="*/ 4419497 h 10800208"/>
                <a:gd name="connsiteX40" fmla="*/ 5596373 w 14703435"/>
                <a:gd name="connsiteY40" fmla="*/ 4033059 h 10800208"/>
                <a:gd name="connsiteX41" fmla="*/ 5365184 w 14703435"/>
                <a:gd name="connsiteY41" fmla="*/ 3460880 h 10800208"/>
                <a:gd name="connsiteX42" fmla="*/ 5153802 w 14703435"/>
                <a:gd name="connsiteY42" fmla="*/ 3132314 h 10800208"/>
                <a:gd name="connsiteX43" fmla="*/ 4898441 w 14703435"/>
                <a:gd name="connsiteY43" fmla="*/ 3183022 h 10800208"/>
                <a:gd name="connsiteX44" fmla="*/ 4600673 w 14703435"/>
                <a:gd name="connsiteY44" fmla="*/ 2914551 h 10800208"/>
                <a:gd name="connsiteX45" fmla="*/ 4416749 w 14703435"/>
                <a:gd name="connsiteY45" fmla="*/ 2491544 h 10800208"/>
                <a:gd name="connsiteX46" fmla="*/ 4653822 w 14703435"/>
                <a:gd name="connsiteY46" fmla="*/ 1941377 h 10800208"/>
                <a:gd name="connsiteX47" fmla="*/ 4432864 w 14703435"/>
                <a:gd name="connsiteY47" fmla="*/ 1388142 h 10800208"/>
                <a:gd name="connsiteX48" fmla="*/ 4437471 w 14703435"/>
                <a:gd name="connsiteY48" fmla="*/ 719354 h 10800208"/>
                <a:gd name="connsiteX49" fmla="*/ 4141784 w 14703435"/>
                <a:gd name="connsiteY49" fmla="*/ 0 h 10800208"/>
                <a:gd name="connsiteX50" fmla="*/ 2314296 w 14703435"/>
                <a:gd name="connsiteY50" fmla="*/ 282857 h 10800208"/>
                <a:gd name="connsiteX51" fmla="*/ 1334589 w 14703435"/>
                <a:gd name="connsiteY51" fmla="*/ 1087729 h 10800208"/>
                <a:gd name="connsiteX52" fmla="*/ 0 w 14703435"/>
                <a:gd name="connsiteY52" fmla="*/ 2435175 h 10800208"/>
                <a:gd name="connsiteX0" fmla="*/ 0 w 14703435"/>
                <a:gd name="connsiteY0" fmla="*/ 2435175 h 10800208"/>
                <a:gd name="connsiteX1" fmla="*/ 613837 w 14703435"/>
                <a:gd name="connsiteY1" fmla="*/ 4813533 h 10800208"/>
                <a:gd name="connsiteX2" fmla="*/ 1518338 w 14703435"/>
                <a:gd name="connsiteY2" fmla="*/ 5681683 h 10800208"/>
                <a:gd name="connsiteX3" fmla="*/ 1735898 w 14703435"/>
                <a:gd name="connsiteY3" fmla="*/ 6513607 h 10800208"/>
                <a:gd name="connsiteX4" fmla="*/ 3137400 w 14703435"/>
                <a:gd name="connsiteY4" fmla="*/ 7038167 h 10800208"/>
                <a:gd name="connsiteX5" fmla="*/ 3453963 w 14703435"/>
                <a:gd name="connsiteY5" fmla="*/ 8394658 h 10800208"/>
                <a:gd name="connsiteX6" fmla="*/ 4168520 w 14703435"/>
                <a:gd name="connsiteY6" fmla="*/ 9769227 h 10800208"/>
                <a:gd name="connsiteX7" fmla="*/ 4162343 w 14703435"/>
                <a:gd name="connsiteY7" fmla="*/ 10800208 h 10800208"/>
                <a:gd name="connsiteX8" fmla="*/ 4605215 w 14703435"/>
                <a:gd name="connsiteY8" fmla="*/ 10716044 h 10800208"/>
                <a:gd name="connsiteX9" fmla="*/ 4840336 w 14703435"/>
                <a:gd name="connsiteY9" fmla="*/ 10426662 h 10800208"/>
                <a:gd name="connsiteX10" fmla="*/ 6070201 w 14703435"/>
                <a:gd name="connsiteY10" fmla="*/ 10444754 h 10800208"/>
                <a:gd name="connsiteX11" fmla="*/ 6884082 w 14703435"/>
                <a:gd name="connsiteY11" fmla="*/ 9847902 h 10800208"/>
                <a:gd name="connsiteX12" fmla="*/ 7716051 w 14703435"/>
                <a:gd name="connsiteY12" fmla="*/ 10173461 h 10800208"/>
                <a:gd name="connsiteX13" fmla="*/ 8584189 w 14703435"/>
                <a:gd name="connsiteY13" fmla="*/ 9974509 h 10800208"/>
                <a:gd name="connsiteX14" fmla="*/ 9289552 w 14703435"/>
                <a:gd name="connsiteY14" fmla="*/ 10173461 h 10800208"/>
                <a:gd name="connsiteX15" fmla="*/ 10139605 w 14703435"/>
                <a:gd name="connsiteY15" fmla="*/ 9775561 h 10800208"/>
                <a:gd name="connsiteX16" fmla="*/ 10664108 w 14703435"/>
                <a:gd name="connsiteY16" fmla="*/ 9992597 h 10800208"/>
                <a:gd name="connsiteX17" fmla="*/ 11387555 w 14703435"/>
                <a:gd name="connsiteY17" fmla="*/ 9902167 h 10800208"/>
                <a:gd name="connsiteX18" fmla="*/ 11966315 w 14703435"/>
                <a:gd name="connsiteY18" fmla="*/ 10625622 h 10800208"/>
                <a:gd name="connsiteX19" fmla="*/ 12942975 w 14703435"/>
                <a:gd name="connsiteY19" fmla="*/ 10390493 h 10800208"/>
                <a:gd name="connsiteX20" fmla="*/ 13575992 w 14703435"/>
                <a:gd name="connsiteY20" fmla="*/ 10788393 h 10800208"/>
                <a:gd name="connsiteX21" fmla="*/ 13973888 w 14703435"/>
                <a:gd name="connsiteY21" fmla="*/ 10697960 h 10800208"/>
                <a:gd name="connsiteX22" fmla="*/ 14028146 w 14703435"/>
                <a:gd name="connsiteY22" fmla="*/ 10155369 h 10800208"/>
                <a:gd name="connsiteX23" fmla="*/ 13594073 w 14703435"/>
                <a:gd name="connsiteY23" fmla="*/ 10101112 h 10800208"/>
                <a:gd name="connsiteX24" fmla="*/ 13612161 w 14703435"/>
                <a:gd name="connsiteY24" fmla="*/ 9413833 h 10800208"/>
                <a:gd name="connsiteX25" fmla="*/ 14190925 w 14703435"/>
                <a:gd name="connsiteY25" fmla="*/ 9269146 h 10800208"/>
                <a:gd name="connsiteX26" fmla="*/ 13865366 w 14703435"/>
                <a:gd name="connsiteY26" fmla="*/ 8798901 h 10800208"/>
                <a:gd name="connsiteX27" fmla="*/ 14136664 w 14703435"/>
                <a:gd name="connsiteY27" fmla="*/ 8401005 h 10800208"/>
                <a:gd name="connsiteX28" fmla="*/ 14703435 w 14703435"/>
                <a:gd name="connsiteY28" fmla="*/ 8428101 h 10800208"/>
                <a:gd name="connsiteX29" fmla="*/ 14661163 w 14703435"/>
                <a:gd name="connsiteY29" fmla="*/ 8256317 h 10800208"/>
                <a:gd name="connsiteX30" fmla="*/ 14335608 w 14703435"/>
                <a:gd name="connsiteY30" fmla="*/ 8093542 h 10800208"/>
                <a:gd name="connsiteX31" fmla="*/ 14498387 w 14703435"/>
                <a:gd name="connsiteY31" fmla="*/ 7514778 h 10800208"/>
                <a:gd name="connsiteX32" fmla="*/ 13847278 w 14703435"/>
                <a:gd name="connsiteY32" fmla="*/ 6610464 h 10800208"/>
                <a:gd name="connsiteX33" fmla="*/ 13340864 w 14703435"/>
                <a:gd name="connsiteY33" fmla="*/ 5905101 h 10800208"/>
                <a:gd name="connsiteX34" fmla="*/ 8482717 w 14703435"/>
                <a:gd name="connsiteY34" fmla="*/ 7087528 h 10800208"/>
                <a:gd name="connsiteX35" fmla="*/ 8328079 w 14703435"/>
                <a:gd name="connsiteY35" fmla="*/ 6662814 h 10800208"/>
                <a:gd name="connsiteX36" fmla="*/ 7632672 w 14703435"/>
                <a:gd name="connsiteY36" fmla="*/ 6481152 h 10800208"/>
                <a:gd name="connsiteX37" fmla="*/ 7081852 w 14703435"/>
                <a:gd name="connsiteY37" fmla="*/ 6059383 h 10800208"/>
                <a:gd name="connsiteX38" fmla="*/ 6336686 w 14703435"/>
                <a:gd name="connsiteY38" fmla="*/ 5221815 h 10800208"/>
                <a:gd name="connsiteX39" fmla="*/ 6319261 w 14703435"/>
                <a:gd name="connsiteY39" fmla="*/ 4419497 h 10800208"/>
                <a:gd name="connsiteX40" fmla="*/ 5596373 w 14703435"/>
                <a:gd name="connsiteY40" fmla="*/ 4033059 h 10800208"/>
                <a:gd name="connsiteX41" fmla="*/ 5365184 w 14703435"/>
                <a:gd name="connsiteY41" fmla="*/ 3460880 h 10800208"/>
                <a:gd name="connsiteX42" fmla="*/ 5153802 w 14703435"/>
                <a:gd name="connsiteY42" fmla="*/ 3132314 h 10800208"/>
                <a:gd name="connsiteX43" fmla="*/ 4898441 w 14703435"/>
                <a:gd name="connsiteY43" fmla="*/ 3183022 h 10800208"/>
                <a:gd name="connsiteX44" fmla="*/ 4600673 w 14703435"/>
                <a:gd name="connsiteY44" fmla="*/ 2914551 h 10800208"/>
                <a:gd name="connsiteX45" fmla="*/ 4416749 w 14703435"/>
                <a:gd name="connsiteY45" fmla="*/ 2491544 h 10800208"/>
                <a:gd name="connsiteX46" fmla="*/ 4653822 w 14703435"/>
                <a:gd name="connsiteY46" fmla="*/ 1941377 h 10800208"/>
                <a:gd name="connsiteX47" fmla="*/ 4432864 w 14703435"/>
                <a:gd name="connsiteY47" fmla="*/ 1388142 h 10800208"/>
                <a:gd name="connsiteX48" fmla="*/ 4437471 w 14703435"/>
                <a:gd name="connsiteY48" fmla="*/ 719354 h 10800208"/>
                <a:gd name="connsiteX49" fmla="*/ 4141784 w 14703435"/>
                <a:gd name="connsiteY49" fmla="*/ 0 h 10800208"/>
                <a:gd name="connsiteX50" fmla="*/ 2314296 w 14703435"/>
                <a:gd name="connsiteY50" fmla="*/ 282857 h 10800208"/>
                <a:gd name="connsiteX51" fmla="*/ 1334589 w 14703435"/>
                <a:gd name="connsiteY51" fmla="*/ 1087729 h 10800208"/>
                <a:gd name="connsiteX52" fmla="*/ 0 w 14703435"/>
                <a:gd name="connsiteY52" fmla="*/ 2435175 h 10800208"/>
                <a:gd name="connsiteX0" fmla="*/ 0 w 14703435"/>
                <a:gd name="connsiteY0" fmla="*/ 2435175 h 10800208"/>
                <a:gd name="connsiteX1" fmla="*/ 613837 w 14703435"/>
                <a:gd name="connsiteY1" fmla="*/ 4813533 h 10800208"/>
                <a:gd name="connsiteX2" fmla="*/ 1518338 w 14703435"/>
                <a:gd name="connsiteY2" fmla="*/ 5681683 h 10800208"/>
                <a:gd name="connsiteX3" fmla="*/ 1735898 w 14703435"/>
                <a:gd name="connsiteY3" fmla="*/ 6513607 h 10800208"/>
                <a:gd name="connsiteX4" fmla="*/ 3137400 w 14703435"/>
                <a:gd name="connsiteY4" fmla="*/ 7038167 h 10800208"/>
                <a:gd name="connsiteX5" fmla="*/ 3453963 w 14703435"/>
                <a:gd name="connsiteY5" fmla="*/ 8394658 h 10800208"/>
                <a:gd name="connsiteX6" fmla="*/ 4168520 w 14703435"/>
                <a:gd name="connsiteY6" fmla="*/ 9769227 h 10800208"/>
                <a:gd name="connsiteX7" fmla="*/ 4162343 w 14703435"/>
                <a:gd name="connsiteY7" fmla="*/ 10800208 h 10800208"/>
                <a:gd name="connsiteX8" fmla="*/ 4605215 w 14703435"/>
                <a:gd name="connsiteY8" fmla="*/ 10716044 h 10800208"/>
                <a:gd name="connsiteX9" fmla="*/ 4840336 w 14703435"/>
                <a:gd name="connsiteY9" fmla="*/ 10426662 h 10800208"/>
                <a:gd name="connsiteX10" fmla="*/ 6070201 w 14703435"/>
                <a:gd name="connsiteY10" fmla="*/ 10444754 h 10800208"/>
                <a:gd name="connsiteX11" fmla="*/ 6884082 w 14703435"/>
                <a:gd name="connsiteY11" fmla="*/ 9847902 h 10800208"/>
                <a:gd name="connsiteX12" fmla="*/ 7716051 w 14703435"/>
                <a:gd name="connsiteY12" fmla="*/ 10173461 h 10800208"/>
                <a:gd name="connsiteX13" fmla="*/ 8584189 w 14703435"/>
                <a:gd name="connsiteY13" fmla="*/ 9974509 h 10800208"/>
                <a:gd name="connsiteX14" fmla="*/ 9289552 w 14703435"/>
                <a:gd name="connsiteY14" fmla="*/ 10173461 h 10800208"/>
                <a:gd name="connsiteX15" fmla="*/ 10139605 w 14703435"/>
                <a:gd name="connsiteY15" fmla="*/ 9775561 h 10800208"/>
                <a:gd name="connsiteX16" fmla="*/ 10664108 w 14703435"/>
                <a:gd name="connsiteY16" fmla="*/ 9992597 h 10800208"/>
                <a:gd name="connsiteX17" fmla="*/ 11387555 w 14703435"/>
                <a:gd name="connsiteY17" fmla="*/ 9902167 h 10800208"/>
                <a:gd name="connsiteX18" fmla="*/ 11966315 w 14703435"/>
                <a:gd name="connsiteY18" fmla="*/ 10625622 h 10800208"/>
                <a:gd name="connsiteX19" fmla="*/ 12942975 w 14703435"/>
                <a:gd name="connsiteY19" fmla="*/ 10390493 h 10800208"/>
                <a:gd name="connsiteX20" fmla="*/ 13575992 w 14703435"/>
                <a:gd name="connsiteY20" fmla="*/ 10788393 h 10800208"/>
                <a:gd name="connsiteX21" fmla="*/ 13973888 w 14703435"/>
                <a:gd name="connsiteY21" fmla="*/ 10697960 h 10800208"/>
                <a:gd name="connsiteX22" fmla="*/ 14028146 w 14703435"/>
                <a:gd name="connsiteY22" fmla="*/ 10155369 h 10800208"/>
                <a:gd name="connsiteX23" fmla="*/ 13594073 w 14703435"/>
                <a:gd name="connsiteY23" fmla="*/ 10101112 h 10800208"/>
                <a:gd name="connsiteX24" fmla="*/ 13612161 w 14703435"/>
                <a:gd name="connsiteY24" fmla="*/ 9413833 h 10800208"/>
                <a:gd name="connsiteX25" fmla="*/ 14190925 w 14703435"/>
                <a:gd name="connsiteY25" fmla="*/ 9269146 h 10800208"/>
                <a:gd name="connsiteX26" fmla="*/ 13865366 w 14703435"/>
                <a:gd name="connsiteY26" fmla="*/ 8798901 h 10800208"/>
                <a:gd name="connsiteX27" fmla="*/ 14136664 w 14703435"/>
                <a:gd name="connsiteY27" fmla="*/ 8401005 h 10800208"/>
                <a:gd name="connsiteX28" fmla="*/ 14703435 w 14703435"/>
                <a:gd name="connsiteY28" fmla="*/ 8428101 h 10800208"/>
                <a:gd name="connsiteX29" fmla="*/ 14661163 w 14703435"/>
                <a:gd name="connsiteY29" fmla="*/ 8256317 h 10800208"/>
                <a:gd name="connsiteX30" fmla="*/ 14335608 w 14703435"/>
                <a:gd name="connsiteY30" fmla="*/ 8093542 h 10800208"/>
                <a:gd name="connsiteX31" fmla="*/ 14498387 w 14703435"/>
                <a:gd name="connsiteY31" fmla="*/ 7514778 h 10800208"/>
                <a:gd name="connsiteX32" fmla="*/ 13847278 w 14703435"/>
                <a:gd name="connsiteY32" fmla="*/ 6610464 h 10800208"/>
                <a:gd name="connsiteX33" fmla="*/ 9824147 w 14703435"/>
                <a:gd name="connsiteY33" fmla="*/ 6931488 h 10800208"/>
                <a:gd name="connsiteX34" fmla="*/ 8482717 w 14703435"/>
                <a:gd name="connsiteY34" fmla="*/ 7087528 h 10800208"/>
                <a:gd name="connsiteX35" fmla="*/ 8328079 w 14703435"/>
                <a:gd name="connsiteY35" fmla="*/ 6662814 h 10800208"/>
                <a:gd name="connsiteX36" fmla="*/ 7632672 w 14703435"/>
                <a:gd name="connsiteY36" fmla="*/ 6481152 h 10800208"/>
                <a:gd name="connsiteX37" fmla="*/ 7081852 w 14703435"/>
                <a:gd name="connsiteY37" fmla="*/ 6059383 h 10800208"/>
                <a:gd name="connsiteX38" fmla="*/ 6336686 w 14703435"/>
                <a:gd name="connsiteY38" fmla="*/ 5221815 h 10800208"/>
                <a:gd name="connsiteX39" fmla="*/ 6319261 w 14703435"/>
                <a:gd name="connsiteY39" fmla="*/ 4419497 h 10800208"/>
                <a:gd name="connsiteX40" fmla="*/ 5596373 w 14703435"/>
                <a:gd name="connsiteY40" fmla="*/ 4033059 h 10800208"/>
                <a:gd name="connsiteX41" fmla="*/ 5365184 w 14703435"/>
                <a:gd name="connsiteY41" fmla="*/ 3460880 h 10800208"/>
                <a:gd name="connsiteX42" fmla="*/ 5153802 w 14703435"/>
                <a:gd name="connsiteY42" fmla="*/ 3132314 h 10800208"/>
                <a:gd name="connsiteX43" fmla="*/ 4898441 w 14703435"/>
                <a:gd name="connsiteY43" fmla="*/ 3183022 h 10800208"/>
                <a:gd name="connsiteX44" fmla="*/ 4600673 w 14703435"/>
                <a:gd name="connsiteY44" fmla="*/ 2914551 h 10800208"/>
                <a:gd name="connsiteX45" fmla="*/ 4416749 w 14703435"/>
                <a:gd name="connsiteY45" fmla="*/ 2491544 h 10800208"/>
                <a:gd name="connsiteX46" fmla="*/ 4653822 w 14703435"/>
                <a:gd name="connsiteY46" fmla="*/ 1941377 h 10800208"/>
                <a:gd name="connsiteX47" fmla="*/ 4432864 w 14703435"/>
                <a:gd name="connsiteY47" fmla="*/ 1388142 h 10800208"/>
                <a:gd name="connsiteX48" fmla="*/ 4437471 w 14703435"/>
                <a:gd name="connsiteY48" fmla="*/ 719354 h 10800208"/>
                <a:gd name="connsiteX49" fmla="*/ 4141784 w 14703435"/>
                <a:gd name="connsiteY49" fmla="*/ 0 h 10800208"/>
                <a:gd name="connsiteX50" fmla="*/ 2314296 w 14703435"/>
                <a:gd name="connsiteY50" fmla="*/ 282857 h 10800208"/>
                <a:gd name="connsiteX51" fmla="*/ 1334589 w 14703435"/>
                <a:gd name="connsiteY51" fmla="*/ 1087729 h 10800208"/>
                <a:gd name="connsiteX52" fmla="*/ 0 w 14703435"/>
                <a:gd name="connsiteY52" fmla="*/ 2435175 h 10800208"/>
                <a:gd name="connsiteX0" fmla="*/ 0 w 14703435"/>
                <a:gd name="connsiteY0" fmla="*/ 2435175 h 10800208"/>
                <a:gd name="connsiteX1" fmla="*/ 613837 w 14703435"/>
                <a:gd name="connsiteY1" fmla="*/ 4813533 h 10800208"/>
                <a:gd name="connsiteX2" fmla="*/ 1518338 w 14703435"/>
                <a:gd name="connsiteY2" fmla="*/ 5681683 h 10800208"/>
                <a:gd name="connsiteX3" fmla="*/ 1735898 w 14703435"/>
                <a:gd name="connsiteY3" fmla="*/ 6513607 h 10800208"/>
                <a:gd name="connsiteX4" fmla="*/ 3137400 w 14703435"/>
                <a:gd name="connsiteY4" fmla="*/ 7038167 h 10800208"/>
                <a:gd name="connsiteX5" fmla="*/ 3453963 w 14703435"/>
                <a:gd name="connsiteY5" fmla="*/ 8394658 h 10800208"/>
                <a:gd name="connsiteX6" fmla="*/ 4168520 w 14703435"/>
                <a:gd name="connsiteY6" fmla="*/ 9769227 h 10800208"/>
                <a:gd name="connsiteX7" fmla="*/ 4162343 w 14703435"/>
                <a:gd name="connsiteY7" fmla="*/ 10800208 h 10800208"/>
                <a:gd name="connsiteX8" fmla="*/ 4605215 w 14703435"/>
                <a:gd name="connsiteY8" fmla="*/ 10716044 h 10800208"/>
                <a:gd name="connsiteX9" fmla="*/ 4840336 w 14703435"/>
                <a:gd name="connsiteY9" fmla="*/ 10426662 h 10800208"/>
                <a:gd name="connsiteX10" fmla="*/ 6070201 w 14703435"/>
                <a:gd name="connsiteY10" fmla="*/ 10444754 h 10800208"/>
                <a:gd name="connsiteX11" fmla="*/ 6884082 w 14703435"/>
                <a:gd name="connsiteY11" fmla="*/ 9847902 h 10800208"/>
                <a:gd name="connsiteX12" fmla="*/ 7716051 w 14703435"/>
                <a:gd name="connsiteY12" fmla="*/ 10173461 h 10800208"/>
                <a:gd name="connsiteX13" fmla="*/ 8584189 w 14703435"/>
                <a:gd name="connsiteY13" fmla="*/ 9974509 h 10800208"/>
                <a:gd name="connsiteX14" fmla="*/ 9289552 w 14703435"/>
                <a:gd name="connsiteY14" fmla="*/ 10173461 h 10800208"/>
                <a:gd name="connsiteX15" fmla="*/ 10139605 w 14703435"/>
                <a:gd name="connsiteY15" fmla="*/ 9775561 h 10800208"/>
                <a:gd name="connsiteX16" fmla="*/ 10664108 w 14703435"/>
                <a:gd name="connsiteY16" fmla="*/ 9992597 h 10800208"/>
                <a:gd name="connsiteX17" fmla="*/ 11387555 w 14703435"/>
                <a:gd name="connsiteY17" fmla="*/ 9902167 h 10800208"/>
                <a:gd name="connsiteX18" fmla="*/ 11966315 w 14703435"/>
                <a:gd name="connsiteY18" fmla="*/ 10625622 h 10800208"/>
                <a:gd name="connsiteX19" fmla="*/ 12942975 w 14703435"/>
                <a:gd name="connsiteY19" fmla="*/ 10390493 h 10800208"/>
                <a:gd name="connsiteX20" fmla="*/ 13575992 w 14703435"/>
                <a:gd name="connsiteY20" fmla="*/ 10788393 h 10800208"/>
                <a:gd name="connsiteX21" fmla="*/ 13973888 w 14703435"/>
                <a:gd name="connsiteY21" fmla="*/ 10697960 h 10800208"/>
                <a:gd name="connsiteX22" fmla="*/ 14028146 w 14703435"/>
                <a:gd name="connsiteY22" fmla="*/ 10155369 h 10800208"/>
                <a:gd name="connsiteX23" fmla="*/ 13594073 w 14703435"/>
                <a:gd name="connsiteY23" fmla="*/ 10101112 h 10800208"/>
                <a:gd name="connsiteX24" fmla="*/ 13612161 w 14703435"/>
                <a:gd name="connsiteY24" fmla="*/ 9413833 h 10800208"/>
                <a:gd name="connsiteX25" fmla="*/ 14190925 w 14703435"/>
                <a:gd name="connsiteY25" fmla="*/ 9269146 h 10800208"/>
                <a:gd name="connsiteX26" fmla="*/ 13865366 w 14703435"/>
                <a:gd name="connsiteY26" fmla="*/ 8798901 h 10800208"/>
                <a:gd name="connsiteX27" fmla="*/ 14136664 w 14703435"/>
                <a:gd name="connsiteY27" fmla="*/ 8401005 h 10800208"/>
                <a:gd name="connsiteX28" fmla="*/ 14703435 w 14703435"/>
                <a:gd name="connsiteY28" fmla="*/ 8428101 h 10800208"/>
                <a:gd name="connsiteX29" fmla="*/ 14661163 w 14703435"/>
                <a:gd name="connsiteY29" fmla="*/ 8256317 h 10800208"/>
                <a:gd name="connsiteX30" fmla="*/ 14335608 w 14703435"/>
                <a:gd name="connsiteY30" fmla="*/ 8093542 h 10800208"/>
                <a:gd name="connsiteX31" fmla="*/ 14498387 w 14703435"/>
                <a:gd name="connsiteY31" fmla="*/ 7514778 h 10800208"/>
                <a:gd name="connsiteX32" fmla="*/ 11909491 w 14703435"/>
                <a:gd name="connsiteY32" fmla="*/ 6300156 h 10800208"/>
                <a:gd name="connsiteX33" fmla="*/ 9824147 w 14703435"/>
                <a:gd name="connsiteY33" fmla="*/ 6931488 h 10800208"/>
                <a:gd name="connsiteX34" fmla="*/ 8482717 w 14703435"/>
                <a:gd name="connsiteY34" fmla="*/ 7087528 h 10800208"/>
                <a:gd name="connsiteX35" fmla="*/ 8328079 w 14703435"/>
                <a:gd name="connsiteY35" fmla="*/ 6662814 h 10800208"/>
                <a:gd name="connsiteX36" fmla="*/ 7632672 w 14703435"/>
                <a:gd name="connsiteY36" fmla="*/ 6481152 h 10800208"/>
                <a:gd name="connsiteX37" fmla="*/ 7081852 w 14703435"/>
                <a:gd name="connsiteY37" fmla="*/ 6059383 h 10800208"/>
                <a:gd name="connsiteX38" fmla="*/ 6336686 w 14703435"/>
                <a:gd name="connsiteY38" fmla="*/ 5221815 h 10800208"/>
                <a:gd name="connsiteX39" fmla="*/ 6319261 w 14703435"/>
                <a:gd name="connsiteY39" fmla="*/ 4419497 h 10800208"/>
                <a:gd name="connsiteX40" fmla="*/ 5596373 w 14703435"/>
                <a:gd name="connsiteY40" fmla="*/ 4033059 h 10800208"/>
                <a:gd name="connsiteX41" fmla="*/ 5365184 w 14703435"/>
                <a:gd name="connsiteY41" fmla="*/ 3460880 h 10800208"/>
                <a:gd name="connsiteX42" fmla="*/ 5153802 w 14703435"/>
                <a:gd name="connsiteY42" fmla="*/ 3132314 h 10800208"/>
                <a:gd name="connsiteX43" fmla="*/ 4898441 w 14703435"/>
                <a:gd name="connsiteY43" fmla="*/ 3183022 h 10800208"/>
                <a:gd name="connsiteX44" fmla="*/ 4600673 w 14703435"/>
                <a:gd name="connsiteY44" fmla="*/ 2914551 h 10800208"/>
                <a:gd name="connsiteX45" fmla="*/ 4416749 w 14703435"/>
                <a:gd name="connsiteY45" fmla="*/ 2491544 h 10800208"/>
                <a:gd name="connsiteX46" fmla="*/ 4653822 w 14703435"/>
                <a:gd name="connsiteY46" fmla="*/ 1941377 h 10800208"/>
                <a:gd name="connsiteX47" fmla="*/ 4432864 w 14703435"/>
                <a:gd name="connsiteY47" fmla="*/ 1388142 h 10800208"/>
                <a:gd name="connsiteX48" fmla="*/ 4437471 w 14703435"/>
                <a:gd name="connsiteY48" fmla="*/ 719354 h 10800208"/>
                <a:gd name="connsiteX49" fmla="*/ 4141784 w 14703435"/>
                <a:gd name="connsiteY49" fmla="*/ 0 h 10800208"/>
                <a:gd name="connsiteX50" fmla="*/ 2314296 w 14703435"/>
                <a:gd name="connsiteY50" fmla="*/ 282857 h 10800208"/>
                <a:gd name="connsiteX51" fmla="*/ 1334589 w 14703435"/>
                <a:gd name="connsiteY51" fmla="*/ 1087729 h 10800208"/>
                <a:gd name="connsiteX52" fmla="*/ 0 w 14703435"/>
                <a:gd name="connsiteY52" fmla="*/ 2435175 h 10800208"/>
                <a:gd name="connsiteX0" fmla="*/ 0 w 14703435"/>
                <a:gd name="connsiteY0" fmla="*/ 2435175 h 10800208"/>
                <a:gd name="connsiteX1" fmla="*/ 613837 w 14703435"/>
                <a:gd name="connsiteY1" fmla="*/ 4813533 h 10800208"/>
                <a:gd name="connsiteX2" fmla="*/ 1518338 w 14703435"/>
                <a:gd name="connsiteY2" fmla="*/ 5681683 h 10800208"/>
                <a:gd name="connsiteX3" fmla="*/ 1735898 w 14703435"/>
                <a:gd name="connsiteY3" fmla="*/ 6513607 h 10800208"/>
                <a:gd name="connsiteX4" fmla="*/ 3137400 w 14703435"/>
                <a:gd name="connsiteY4" fmla="*/ 7038167 h 10800208"/>
                <a:gd name="connsiteX5" fmla="*/ 3453963 w 14703435"/>
                <a:gd name="connsiteY5" fmla="*/ 8394658 h 10800208"/>
                <a:gd name="connsiteX6" fmla="*/ 4168520 w 14703435"/>
                <a:gd name="connsiteY6" fmla="*/ 9769227 h 10800208"/>
                <a:gd name="connsiteX7" fmla="*/ 4162343 w 14703435"/>
                <a:gd name="connsiteY7" fmla="*/ 10800208 h 10800208"/>
                <a:gd name="connsiteX8" fmla="*/ 4605215 w 14703435"/>
                <a:gd name="connsiteY8" fmla="*/ 10716044 h 10800208"/>
                <a:gd name="connsiteX9" fmla="*/ 4840336 w 14703435"/>
                <a:gd name="connsiteY9" fmla="*/ 10426662 h 10800208"/>
                <a:gd name="connsiteX10" fmla="*/ 6070201 w 14703435"/>
                <a:gd name="connsiteY10" fmla="*/ 10444754 h 10800208"/>
                <a:gd name="connsiteX11" fmla="*/ 6884082 w 14703435"/>
                <a:gd name="connsiteY11" fmla="*/ 9847902 h 10800208"/>
                <a:gd name="connsiteX12" fmla="*/ 7716051 w 14703435"/>
                <a:gd name="connsiteY12" fmla="*/ 10173461 h 10800208"/>
                <a:gd name="connsiteX13" fmla="*/ 8584189 w 14703435"/>
                <a:gd name="connsiteY13" fmla="*/ 9974509 h 10800208"/>
                <a:gd name="connsiteX14" fmla="*/ 9289552 w 14703435"/>
                <a:gd name="connsiteY14" fmla="*/ 10173461 h 10800208"/>
                <a:gd name="connsiteX15" fmla="*/ 10139605 w 14703435"/>
                <a:gd name="connsiteY15" fmla="*/ 9775561 h 10800208"/>
                <a:gd name="connsiteX16" fmla="*/ 10664108 w 14703435"/>
                <a:gd name="connsiteY16" fmla="*/ 9992597 h 10800208"/>
                <a:gd name="connsiteX17" fmla="*/ 11387555 w 14703435"/>
                <a:gd name="connsiteY17" fmla="*/ 9902167 h 10800208"/>
                <a:gd name="connsiteX18" fmla="*/ 11966315 w 14703435"/>
                <a:gd name="connsiteY18" fmla="*/ 10625622 h 10800208"/>
                <a:gd name="connsiteX19" fmla="*/ 12942975 w 14703435"/>
                <a:gd name="connsiteY19" fmla="*/ 10390493 h 10800208"/>
                <a:gd name="connsiteX20" fmla="*/ 13575992 w 14703435"/>
                <a:gd name="connsiteY20" fmla="*/ 10788393 h 10800208"/>
                <a:gd name="connsiteX21" fmla="*/ 13973888 w 14703435"/>
                <a:gd name="connsiteY21" fmla="*/ 10697960 h 10800208"/>
                <a:gd name="connsiteX22" fmla="*/ 14028146 w 14703435"/>
                <a:gd name="connsiteY22" fmla="*/ 10155369 h 10800208"/>
                <a:gd name="connsiteX23" fmla="*/ 13594073 w 14703435"/>
                <a:gd name="connsiteY23" fmla="*/ 10101112 h 10800208"/>
                <a:gd name="connsiteX24" fmla="*/ 13612161 w 14703435"/>
                <a:gd name="connsiteY24" fmla="*/ 9413833 h 10800208"/>
                <a:gd name="connsiteX25" fmla="*/ 14190925 w 14703435"/>
                <a:gd name="connsiteY25" fmla="*/ 9269146 h 10800208"/>
                <a:gd name="connsiteX26" fmla="*/ 13865366 w 14703435"/>
                <a:gd name="connsiteY26" fmla="*/ 8798901 h 10800208"/>
                <a:gd name="connsiteX27" fmla="*/ 14136664 w 14703435"/>
                <a:gd name="connsiteY27" fmla="*/ 8401005 h 10800208"/>
                <a:gd name="connsiteX28" fmla="*/ 14703435 w 14703435"/>
                <a:gd name="connsiteY28" fmla="*/ 8428101 h 10800208"/>
                <a:gd name="connsiteX29" fmla="*/ 14661163 w 14703435"/>
                <a:gd name="connsiteY29" fmla="*/ 8256317 h 10800208"/>
                <a:gd name="connsiteX30" fmla="*/ 14335608 w 14703435"/>
                <a:gd name="connsiteY30" fmla="*/ 8093542 h 10800208"/>
                <a:gd name="connsiteX31" fmla="*/ 13924235 w 14703435"/>
                <a:gd name="connsiteY31" fmla="*/ 6560001 h 10800208"/>
                <a:gd name="connsiteX32" fmla="*/ 11909491 w 14703435"/>
                <a:gd name="connsiteY32" fmla="*/ 6300156 h 10800208"/>
                <a:gd name="connsiteX33" fmla="*/ 9824147 w 14703435"/>
                <a:gd name="connsiteY33" fmla="*/ 6931488 h 10800208"/>
                <a:gd name="connsiteX34" fmla="*/ 8482717 w 14703435"/>
                <a:gd name="connsiteY34" fmla="*/ 7087528 h 10800208"/>
                <a:gd name="connsiteX35" fmla="*/ 8328079 w 14703435"/>
                <a:gd name="connsiteY35" fmla="*/ 6662814 h 10800208"/>
                <a:gd name="connsiteX36" fmla="*/ 7632672 w 14703435"/>
                <a:gd name="connsiteY36" fmla="*/ 6481152 h 10800208"/>
                <a:gd name="connsiteX37" fmla="*/ 7081852 w 14703435"/>
                <a:gd name="connsiteY37" fmla="*/ 6059383 h 10800208"/>
                <a:gd name="connsiteX38" fmla="*/ 6336686 w 14703435"/>
                <a:gd name="connsiteY38" fmla="*/ 5221815 h 10800208"/>
                <a:gd name="connsiteX39" fmla="*/ 6319261 w 14703435"/>
                <a:gd name="connsiteY39" fmla="*/ 4419497 h 10800208"/>
                <a:gd name="connsiteX40" fmla="*/ 5596373 w 14703435"/>
                <a:gd name="connsiteY40" fmla="*/ 4033059 h 10800208"/>
                <a:gd name="connsiteX41" fmla="*/ 5365184 w 14703435"/>
                <a:gd name="connsiteY41" fmla="*/ 3460880 h 10800208"/>
                <a:gd name="connsiteX42" fmla="*/ 5153802 w 14703435"/>
                <a:gd name="connsiteY42" fmla="*/ 3132314 h 10800208"/>
                <a:gd name="connsiteX43" fmla="*/ 4898441 w 14703435"/>
                <a:gd name="connsiteY43" fmla="*/ 3183022 h 10800208"/>
                <a:gd name="connsiteX44" fmla="*/ 4600673 w 14703435"/>
                <a:gd name="connsiteY44" fmla="*/ 2914551 h 10800208"/>
                <a:gd name="connsiteX45" fmla="*/ 4416749 w 14703435"/>
                <a:gd name="connsiteY45" fmla="*/ 2491544 h 10800208"/>
                <a:gd name="connsiteX46" fmla="*/ 4653822 w 14703435"/>
                <a:gd name="connsiteY46" fmla="*/ 1941377 h 10800208"/>
                <a:gd name="connsiteX47" fmla="*/ 4432864 w 14703435"/>
                <a:gd name="connsiteY47" fmla="*/ 1388142 h 10800208"/>
                <a:gd name="connsiteX48" fmla="*/ 4437471 w 14703435"/>
                <a:gd name="connsiteY48" fmla="*/ 719354 h 10800208"/>
                <a:gd name="connsiteX49" fmla="*/ 4141784 w 14703435"/>
                <a:gd name="connsiteY49" fmla="*/ 0 h 10800208"/>
                <a:gd name="connsiteX50" fmla="*/ 2314296 w 14703435"/>
                <a:gd name="connsiteY50" fmla="*/ 282857 h 10800208"/>
                <a:gd name="connsiteX51" fmla="*/ 1334589 w 14703435"/>
                <a:gd name="connsiteY51" fmla="*/ 1087729 h 10800208"/>
                <a:gd name="connsiteX52" fmla="*/ 0 w 14703435"/>
                <a:gd name="connsiteY52" fmla="*/ 2435175 h 10800208"/>
                <a:gd name="connsiteX0" fmla="*/ 0 w 14703435"/>
                <a:gd name="connsiteY0" fmla="*/ 2435175 h 10800208"/>
                <a:gd name="connsiteX1" fmla="*/ 613837 w 14703435"/>
                <a:gd name="connsiteY1" fmla="*/ 4813533 h 10800208"/>
                <a:gd name="connsiteX2" fmla="*/ 1518338 w 14703435"/>
                <a:gd name="connsiteY2" fmla="*/ 5681683 h 10800208"/>
                <a:gd name="connsiteX3" fmla="*/ 1735898 w 14703435"/>
                <a:gd name="connsiteY3" fmla="*/ 6513607 h 10800208"/>
                <a:gd name="connsiteX4" fmla="*/ 3137400 w 14703435"/>
                <a:gd name="connsiteY4" fmla="*/ 7038167 h 10800208"/>
                <a:gd name="connsiteX5" fmla="*/ 3453963 w 14703435"/>
                <a:gd name="connsiteY5" fmla="*/ 8394658 h 10800208"/>
                <a:gd name="connsiteX6" fmla="*/ 4168520 w 14703435"/>
                <a:gd name="connsiteY6" fmla="*/ 9769227 h 10800208"/>
                <a:gd name="connsiteX7" fmla="*/ 4162343 w 14703435"/>
                <a:gd name="connsiteY7" fmla="*/ 10800208 h 10800208"/>
                <a:gd name="connsiteX8" fmla="*/ 4605215 w 14703435"/>
                <a:gd name="connsiteY8" fmla="*/ 10716044 h 10800208"/>
                <a:gd name="connsiteX9" fmla="*/ 4840336 w 14703435"/>
                <a:gd name="connsiteY9" fmla="*/ 10426662 h 10800208"/>
                <a:gd name="connsiteX10" fmla="*/ 6070201 w 14703435"/>
                <a:gd name="connsiteY10" fmla="*/ 10444754 h 10800208"/>
                <a:gd name="connsiteX11" fmla="*/ 6884082 w 14703435"/>
                <a:gd name="connsiteY11" fmla="*/ 9847902 h 10800208"/>
                <a:gd name="connsiteX12" fmla="*/ 7716051 w 14703435"/>
                <a:gd name="connsiteY12" fmla="*/ 10173461 h 10800208"/>
                <a:gd name="connsiteX13" fmla="*/ 8584189 w 14703435"/>
                <a:gd name="connsiteY13" fmla="*/ 9974509 h 10800208"/>
                <a:gd name="connsiteX14" fmla="*/ 9289552 w 14703435"/>
                <a:gd name="connsiteY14" fmla="*/ 10173461 h 10800208"/>
                <a:gd name="connsiteX15" fmla="*/ 10139605 w 14703435"/>
                <a:gd name="connsiteY15" fmla="*/ 9775561 h 10800208"/>
                <a:gd name="connsiteX16" fmla="*/ 10664108 w 14703435"/>
                <a:gd name="connsiteY16" fmla="*/ 9992597 h 10800208"/>
                <a:gd name="connsiteX17" fmla="*/ 11387555 w 14703435"/>
                <a:gd name="connsiteY17" fmla="*/ 9902167 h 10800208"/>
                <a:gd name="connsiteX18" fmla="*/ 11966315 w 14703435"/>
                <a:gd name="connsiteY18" fmla="*/ 10625622 h 10800208"/>
                <a:gd name="connsiteX19" fmla="*/ 12942975 w 14703435"/>
                <a:gd name="connsiteY19" fmla="*/ 10390493 h 10800208"/>
                <a:gd name="connsiteX20" fmla="*/ 13575992 w 14703435"/>
                <a:gd name="connsiteY20" fmla="*/ 10788393 h 10800208"/>
                <a:gd name="connsiteX21" fmla="*/ 13973888 w 14703435"/>
                <a:gd name="connsiteY21" fmla="*/ 10697960 h 10800208"/>
                <a:gd name="connsiteX22" fmla="*/ 14028146 w 14703435"/>
                <a:gd name="connsiteY22" fmla="*/ 10155369 h 10800208"/>
                <a:gd name="connsiteX23" fmla="*/ 13594073 w 14703435"/>
                <a:gd name="connsiteY23" fmla="*/ 10101112 h 10800208"/>
                <a:gd name="connsiteX24" fmla="*/ 13612161 w 14703435"/>
                <a:gd name="connsiteY24" fmla="*/ 9413833 h 10800208"/>
                <a:gd name="connsiteX25" fmla="*/ 14190925 w 14703435"/>
                <a:gd name="connsiteY25" fmla="*/ 9269146 h 10800208"/>
                <a:gd name="connsiteX26" fmla="*/ 13865366 w 14703435"/>
                <a:gd name="connsiteY26" fmla="*/ 8798901 h 10800208"/>
                <a:gd name="connsiteX27" fmla="*/ 14136664 w 14703435"/>
                <a:gd name="connsiteY27" fmla="*/ 8401005 h 10800208"/>
                <a:gd name="connsiteX28" fmla="*/ 14703435 w 14703435"/>
                <a:gd name="connsiteY28" fmla="*/ 8428101 h 10800208"/>
                <a:gd name="connsiteX29" fmla="*/ 14661163 w 14703435"/>
                <a:gd name="connsiteY29" fmla="*/ 8256317 h 10800208"/>
                <a:gd name="connsiteX30" fmla="*/ 14407378 w 14703435"/>
                <a:gd name="connsiteY30" fmla="*/ 7544542 h 10800208"/>
                <a:gd name="connsiteX31" fmla="*/ 13924235 w 14703435"/>
                <a:gd name="connsiteY31" fmla="*/ 6560001 h 10800208"/>
                <a:gd name="connsiteX32" fmla="*/ 11909491 w 14703435"/>
                <a:gd name="connsiteY32" fmla="*/ 6300156 h 10800208"/>
                <a:gd name="connsiteX33" fmla="*/ 9824147 w 14703435"/>
                <a:gd name="connsiteY33" fmla="*/ 6931488 h 10800208"/>
                <a:gd name="connsiteX34" fmla="*/ 8482717 w 14703435"/>
                <a:gd name="connsiteY34" fmla="*/ 7087528 h 10800208"/>
                <a:gd name="connsiteX35" fmla="*/ 8328079 w 14703435"/>
                <a:gd name="connsiteY35" fmla="*/ 6662814 h 10800208"/>
                <a:gd name="connsiteX36" fmla="*/ 7632672 w 14703435"/>
                <a:gd name="connsiteY36" fmla="*/ 6481152 h 10800208"/>
                <a:gd name="connsiteX37" fmla="*/ 7081852 w 14703435"/>
                <a:gd name="connsiteY37" fmla="*/ 6059383 h 10800208"/>
                <a:gd name="connsiteX38" fmla="*/ 6336686 w 14703435"/>
                <a:gd name="connsiteY38" fmla="*/ 5221815 h 10800208"/>
                <a:gd name="connsiteX39" fmla="*/ 6319261 w 14703435"/>
                <a:gd name="connsiteY39" fmla="*/ 4419497 h 10800208"/>
                <a:gd name="connsiteX40" fmla="*/ 5596373 w 14703435"/>
                <a:gd name="connsiteY40" fmla="*/ 4033059 h 10800208"/>
                <a:gd name="connsiteX41" fmla="*/ 5365184 w 14703435"/>
                <a:gd name="connsiteY41" fmla="*/ 3460880 h 10800208"/>
                <a:gd name="connsiteX42" fmla="*/ 5153802 w 14703435"/>
                <a:gd name="connsiteY42" fmla="*/ 3132314 h 10800208"/>
                <a:gd name="connsiteX43" fmla="*/ 4898441 w 14703435"/>
                <a:gd name="connsiteY43" fmla="*/ 3183022 h 10800208"/>
                <a:gd name="connsiteX44" fmla="*/ 4600673 w 14703435"/>
                <a:gd name="connsiteY44" fmla="*/ 2914551 h 10800208"/>
                <a:gd name="connsiteX45" fmla="*/ 4416749 w 14703435"/>
                <a:gd name="connsiteY45" fmla="*/ 2491544 h 10800208"/>
                <a:gd name="connsiteX46" fmla="*/ 4653822 w 14703435"/>
                <a:gd name="connsiteY46" fmla="*/ 1941377 h 10800208"/>
                <a:gd name="connsiteX47" fmla="*/ 4432864 w 14703435"/>
                <a:gd name="connsiteY47" fmla="*/ 1388142 h 10800208"/>
                <a:gd name="connsiteX48" fmla="*/ 4437471 w 14703435"/>
                <a:gd name="connsiteY48" fmla="*/ 719354 h 10800208"/>
                <a:gd name="connsiteX49" fmla="*/ 4141784 w 14703435"/>
                <a:gd name="connsiteY49" fmla="*/ 0 h 10800208"/>
                <a:gd name="connsiteX50" fmla="*/ 2314296 w 14703435"/>
                <a:gd name="connsiteY50" fmla="*/ 282857 h 10800208"/>
                <a:gd name="connsiteX51" fmla="*/ 1334589 w 14703435"/>
                <a:gd name="connsiteY51" fmla="*/ 1087729 h 10800208"/>
                <a:gd name="connsiteX52" fmla="*/ 0 w 14703435"/>
                <a:gd name="connsiteY52" fmla="*/ 2435175 h 10800208"/>
                <a:gd name="connsiteX0" fmla="*/ 0 w 14703435"/>
                <a:gd name="connsiteY0" fmla="*/ 2341812 h 10706845"/>
                <a:gd name="connsiteX1" fmla="*/ 613837 w 14703435"/>
                <a:gd name="connsiteY1" fmla="*/ 4720170 h 10706845"/>
                <a:gd name="connsiteX2" fmla="*/ 1518338 w 14703435"/>
                <a:gd name="connsiteY2" fmla="*/ 5588320 h 10706845"/>
                <a:gd name="connsiteX3" fmla="*/ 1735898 w 14703435"/>
                <a:gd name="connsiteY3" fmla="*/ 6420244 h 10706845"/>
                <a:gd name="connsiteX4" fmla="*/ 3137400 w 14703435"/>
                <a:gd name="connsiteY4" fmla="*/ 6944804 h 10706845"/>
                <a:gd name="connsiteX5" fmla="*/ 3453963 w 14703435"/>
                <a:gd name="connsiteY5" fmla="*/ 8301295 h 10706845"/>
                <a:gd name="connsiteX6" fmla="*/ 4168520 w 14703435"/>
                <a:gd name="connsiteY6" fmla="*/ 9675864 h 10706845"/>
                <a:gd name="connsiteX7" fmla="*/ 4162343 w 14703435"/>
                <a:gd name="connsiteY7" fmla="*/ 10706845 h 10706845"/>
                <a:gd name="connsiteX8" fmla="*/ 4605215 w 14703435"/>
                <a:gd name="connsiteY8" fmla="*/ 10622681 h 10706845"/>
                <a:gd name="connsiteX9" fmla="*/ 4840336 w 14703435"/>
                <a:gd name="connsiteY9" fmla="*/ 10333299 h 10706845"/>
                <a:gd name="connsiteX10" fmla="*/ 6070201 w 14703435"/>
                <a:gd name="connsiteY10" fmla="*/ 10351391 h 10706845"/>
                <a:gd name="connsiteX11" fmla="*/ 6884082 w 14703435"/>
                <a:gd name="connsiteY11" fmla="*/ 9754539 h 10706845"/>
                <a:gd name="connsiteX12" fmla="*/ 7716051 w 14703435"/>
                <a:gd name="connsiteY12" fmla="*/ 10080098 h 10706845"/>
                <a:gd name="connsiteX13" fmla="*/ 8584189 w 14703435"/>
                <a:gd name="connsiteY13" fmla="*/ 9881146 h 10706845"/>
                <a:gd name="connsiteX14" fmla="*/ 9289552 w 14703435"/>
                <a:gd name="connsiteY14" fmla="*/ 10080098 h 10706845"/>
                <a:gd name="connsiteX15" fmla="*/ 10139605 w 14703435"/>
                <a:gd name="connsiteY15" fmla="*/ 9682198 h 10706845"/>
                <a:gd name="connsiteX16" fmla="*/ 10664108 w 14703435"/>
                <a:gd name="connsiteY16" fmla="*/ 9899234 h 10706845"/>
                <a:gd name="connsiteX17" fmla="*/ 11387555 w 14703435"/>
                <a:gd name="connsiteY17" fmla="*/ 9808804 h 10706845"/>
                <a:gd name="connsiteX18" fmla="*/ 11966315 w 14703435"/>
                <a:gd name="connsiteY18" fmla="*/ 10532259 h 10706845"/>
                <a:gd name="connsiteX19" fmla="*/ 12942975 w 14703435"/>
                <a:gd name="connsiteY19" fmla="*/ 10297130 h 10706845"/>
                <a:gd name="connsiteX20" fmla="*/ 13575992 w 14703435"/>
                <a:gd name="connsiteY20" fmla="*/ 10695030 h 10706845"/>
                <a:gd name="connsiteX21" fmla="*/ 13973888 w 14703435"/>
                <a:gd name="connsiteY21" fmla="*/ 10604597 h 10706845"/>
                <a:gd name="connsiteX22" fmla="*/ 14028146 w 14703435"/>
                <a:gd name="connsiteY22" fmla="*/ 10062006 h 10706845"/>
                <a:gd name="connsiteX23" fmla="*/ 13594073 w 14703435"/>
                <a:gd name="connsiteY23" fmla="*/ 10007749 h 10706845"/>
                <a:gd name="connsiteX24" fmla="*/ 13612161 w 14703435"/>
                <a:gd name="connsiteY24" fmla="*/ 9320470 h 10706845"/>
                <a:gd name="connsiteX25" fmla="*/ 14190925 w 14703435"/>
                <a:gd name="connsiteY25" fmla="*/ 9175783 h 10706845"/>
                <a:gd name="connsiteX26" fmla="*/ 13865366 w 14703435"/>
                <a:gd name="connsiteY26" fmla="*/ 8705538 h 10706845"/>
                <a:gd name="connsiteX27" fmla="*/ 14136664 w 14703435"/>
                <a:gd name="connsiteY27" fmla="*/ 8307642 h 10706845"/>
                <a:gd name="connsiteX28" fmla="*/ 14703435 w 14703435"/>
                <a:gd name="connsiteY28" fmla="*/ 8334738 h 10706845"/>
                <a:gd name="connsiteX29" fmla="*/ 14661163 w 14703435"/>
                <a:gd name="connsiteY29" fmla="*/ 8162954 h 10706845"/>
                <a:gd name="connsiteX30" fmla="*/ 14407378 w 14703435"/>
                <a:gd name="connsiteY30" fmla="*/ 7451179 h 10706845"/>
                <a:gd name="connsiteX31" fmla="*/ 13924235 w 14703435"/>
                <a:gd name="connsiteY31" fmla="*/ 6466638 h 10706845"/>
                <a:gd name="connsiteX32" fmla="*/ 11909491 w 14703435"/>
                <a:gd name="connsiteY32" fmla="*/ 6206793 h 10706845"/>
                <a:gd name="connsiteX33" fmla="*/ 9824147 w 14703435"/>
                <a:gd name="connsiteY33" fmla="*/ 6838125 h 10706845"/>
                <a:gd name="connsiteX34" fmla="*/ 8482717 w 14703435"/>
                <a:gd name="connsiteY34" fmla="*/ 6994165 h 10706845"/>
                <a:gd name="connsiteX35" fmla="*/ 8328079 w 14703435"/>
                <a:gd name="connsiteY35" fmla="*/ 6569451 h 10706845"/>
                <a:gd name="connsiteX36" fmla="*/ 7632672 w 14703435"/>
                <a:gd name="connsiteY36" fmla="*/ 6387789 h 10706845"/>
                <a:gd name="connsiteX37" fmla="*/ 7081852 w 14703435"/>
                <a:gd name="connsiteY37" fmla="*/ 5966020 h 10706845"/>
                <a:gd name="connsiteX38" fmla="*/ 6336686 w 14703435"/>
                <a:gd name="connsiteY38" fmla="*/ 5128452 h 10706845"/>
                <a:gd name="connsiteX39" fmla="*/ 6319261 w 14703435"/>
                <a:gd name="connsiteY39" fmla="*/ 4326134 h 10706845"/>
                <a:gd name="connsiteX40" fmla="*/ 5596373 w 14703435"/>
                <a:gd name="connsiteY40" fmla="*/ 3939696 h 10706845"/>
                <a:gd name="connsiteX41" fmla="*/ 5365184 w 14703435"/>
                <a:gd name="connsiteY41" fmla="*/ 3367517 h 10706845"/>
                <a:gd name="connsiteX42" fmla="*/ 5153802 w 14703435"/>
                <a:gd name="connsiteY42" fmla="*/ 3038951 h 10706845"/>
                <a:gd name="connsiteX43" fmla="*/ 4898441 w 14703435"/>
                <a:gd name="connsiteY43" fmla="*/ 3089659 h 10706845"/>
                <a:gd name="connsiteX44" fmla="*/ 4600673 w 14703435"/>
                <a:gd name="connsiteY44" fmla="*/ 2821188 h 10706845"/>
                <a:gd name="connsiteX45" fmla="*/ 4416749 w 14703435"/>
                <a:gd name="connsiteY45" fmla="*/ 2398181 h 10706845"/>
                <a:gd name="connsiteX46" fmla="*/ 4653822 w 14703435"/>
                <a:gd name="connsiteY46" fmla="*/ 1848014 h 10706845"/>
                <a:gd name="connsiteX47" fmla="*/ 4432864 w 14703435"/>
                <a:gd name="connsiteY47" fmla="*/ 1294779 h 10706845"/>
                <a:gd name="connsiteX48" fmla="*/ 4437471 w 14703435"/>
                <a:gd name="connsiteY48" fmla="*/ 625991 h 10706845"/>
                <a:gd name="connsiteX49" fmla="*/ 4141784 w 14703435"/>
                <a:gd name="connsiteY49" fmla="*/ 0 h 10706845"/>
                <a:gd name="connsiteX50" fmla="*/ 2314296 w 14703435"/>
                <a:gd name="connsiteY50" fmla="*/ 189494 h 10706845"/>
                <a:gd name="connsiteX51" fmla="*/ 1334589 w 14703435"/>
                <a:gd name="connsiteY51" fmla="*/ 994366 h 10706845"/>
                <a:gd name="connsiteX52" fmla="*/ 0 w 14703435"/>
                <a:gd name="connsiteY52" fmla="*/ 2341812 h 10706845"/>
                <a:gd name="connsiteX0" fmla="*/ 0 w 14703435"/>
                <a:gd name="connsiteY0" fmla="*/ 2341812 h 10706845"/>
                <a:gd name="connsiteX1" fmla="*/ 613837 w 14703435"/>
                <a:gd name="connsiteY1" fmla="*/ 4720170 h 10706845"/>
                <a:gd name="connsiteX2" fmla="*/ 1518338 w 14703435"/>
                <a:gd name="connsiteY2" fmla="*/ 5588320 h 10706845"/>
                <a:gd name="connsiteX3" fmla="*/ 1735898 w 14703435"/>
                <a:gd name="connsiteY3" fmla="*/ 6420244 h 10706845"/>
                <a:gd name="connsiteX4" fmla="*/ 3137400 w 14703435"/>
                <a:gd name="connsiteY4" fmla="*/ 6944804 h 10706845"/>
                <a:gd name="connsiteX5" fmla="*/ 3453963 w 14703435"/>
                <a:gd name="connsiteY5" fmla="*/ 8301295 h 10706845"/>
                <a:gd name="connsiteX6" fmla="*/ 4168520 w 14703435"/>
                <a:gd name="connsiteY6" fmla="*/ 9675864 h 10706845"/>
                <a:gd name="connsiteX7" fmla="*/ 4162343 w 14703435"/>
                <a:gd name="connsiteY7" fmla="*/ 10706845 h 10706845"/>
                <a:gd name="connsiteX8" fmla="*/ 4605215 w 14703435"/>
                <a:gd name="connsiteY8" fmla="*/ 10622681 h 10706845"/>
                <a:gd name="connsiteX9" fmla="*/ 4840336 w 14703435"/>
                <a:gd name="connsiteY9" fmla="*/ 10333299 h 10706845"/>
                <a:gd name="connsiteX10" fmla="*/ 6070201 w 14703435"/>
                <a:gd name="connsiteY10" fmla="*/ 10351391 h 10706845"/>
                <a:gd name="connsiteX11" fmla="*/ 6884082 w 14703435"/>
                <a:gd name="connsiteY11" fmla="*/ 9754539 h 10706845"/>
                <a:gd name="connsiteX12" fmla="*/ 7716051 w 14703435"/>
                <a:gd name="connsiteY12" fmla="*/ 10080098 h 10706845"/>
                <a:gd name="connsiteX13" fmla="*/ 8584189 w 14703435"/>
                <a:gd name="connsiteY13" fmla="*/ 9881146 h 10706845"/>
                <a:gd name="connsiteX14" fmla="*/ 9289552 w 14703435"/>
                <a:gd name="connsiteY14" fmla="*/ 10080098 h 10706845"/>
                <a:gd name="connsiteX15" fmla="*/ 10139605 w 14703435"/>
                <a:gd name="connsiteY15" fmla="*/ 9682198 h 10706845"/>
                <a:gd name="connsiteX16" fmla="*/ 10664108 w 14703435"/>
                <a:gd name="connsiteY16" fmla="*/ 9899234 h 10706845"/>
                <a:gd name="connsiteX17" fmla="*/ 11387555 w 14703435"/>
                <a:gd name="connsiteY17" fmla="*/ 9808804 h 10706845"/>
                <a:gd name="connsiteX18" fmla="*/ 11966315 w 14703435"/>
                <a:gd name="connsiteY18" fmla="*/ 10532259 h 10706845"/>
                <a:gd name="connsiteX19" fmla="*/ 12942975 w 14703435"/>
                <a:gd name="connsiteY19" fmla="*/ 10297130 h 10706845"/>
                <a:gd name="connsiteX20" fmla="*/ 13575992 w 14703435"/>
                <a:gd name="connsiteY20" fmla="*/ 10695030 h 10706845"/>
                <a:gd name="connsiteX21" fmla="*/ 13973888 w 14703435"/>
                <a:gd name="connsiteY21" fmla="*/ 10604597 h 10706845"/>
                <a:gd name="connsiteX22" fmla="*/ 14028146 w 14703435"/>
                <a:gd name="connsiteY22" fmla="*/ 10062006 h 10706845"/>
                <a:gd name="connsiteX23" fmla="*/ 13594073 w 14703435"/>
                <a:gd name="connsiteY23" fmla="*/ 10007749 h 10706845"/>
                <a:gd name="connsiteX24" fmla="*/ 13612161 w 14703435"/>
                <a:gd name="connsiteY24" fmla="*/ 9320470 h 10706845"/>
                <a:gd name="connsiteX25" fmla="*/ 14190925 w 14703435"/>
                <a:gd name="connsiteY25" fmla="*/ 9175783 h 10706845"/>
                <a:gd name="connsiteX26" fmla="*/ 13865366 w 14703435"/>
                <a:gd name="connsiteY26" fmla="*/ 8705538 h 10706845"/>
                <a:gd name="connsiteX27" fmla="*/ 14136664 w 14703435"/>
                <a:gd name="connsiteY27" fmla="*/ 8307642 h 10706845"/>
                <a:gd name="connsiteX28" fmla="*/ 14703435 w 14703435"/>
                <a:gd name="connsiteY28" fmla="*/ 8334738 h 10706845"/>
                <a:gd name="connsiteX29" fmla="*/ 14255660 w 14703435"/>
                <a:gd name="connsiteY29" fmla="*/ 8007340 h 10706845"/>
                <a:gd name="connsiteX30" fmla="*/ 14407378 w 14703435"/>
                <a:gd name="connsiteY30" fmla="*/ 7451179 h 10706845"/>
                <a:gd name="connsiteX31" fmla="*/ 13924235 w 14703435"/>
                <a:gd name="connsiteY31" fmla="*/ 6466638 h 10706845"/>
                <a:gd name="connsiteX32" fmla="*/ 11909491 w 14703435"/>
                <a:gd name="connsiteY32" fmla="*/ 6206793 h 10706845"/>
                <a:gd name="connsiteX33" fmla="*/ 9824147 w 14703435"/>
                <a:gd name="connsiteY33" fmla="*/ 6838125 h 10706845"/>
                <a:gd name="connsiteX34" fmla="*/ 8482717 w 14703435"/>
                <a:gd name="connsiteY34" fmla="*/ 6994165 h 10706845"/>
                <a:gd name="connsiteX35" fmla="*/ 8328079 w 14703435"/>
                <a:gd name="connsiteY35" fmla="*/ 6569451 h 10706845"/>
                <a:gd name="connsiteX36" fmla="*/ 7632672 w 14703435"/>
                <a:gd name="connsiteY36" fmla="*/ 6387789 h 10706845"/>
                <a:gd name="connsiteX37" fmla="*/ 7081852 w 14703435"/>
                <a:gd name="connsiteY37" fmla="*/ 5966020 h 10706845"/>
                <a:gd name="connsiteX38" fmla="*/ 6336686 w 14703435"/>
                <a:gd name="connsiteY38" fmla="*/ 5128452 h 10706845"/>
                <a:gd name="connsiteX39" fmla="*/ 6319261 w 14703435"/>
                <a:gd name="connsiteY39" fmla="*/ 4326134 h 10706845"/>
                <a:gd name="connsiteX40" fmla="*/ 5596373 w 14703435"/>
                <a:gd name="connsiteY40" fmla="*/ 3939696 h 10706845"/>
                <a:gd name="connsiteX41" fmla="*/ 5365184 w 14703435"/>
                <a:gd name="connsiteY41" fmla="*/ 3367517 h 10706845"/>
                <a:gd name="connsiteX42" fmla="*/ 5153802 w 14703435"/>
                <a:gd name="connsiteY42" fmla="*/ 3038951 h 10706845"/>
                <a:gd name="connsiteX43" fmla="*/ 4898441 w 14703435"/>
                <a:gd name="connsiteY43" fmla="*/ 3089659 h 10706845"/>
                <a:gd name="connsiteX44" fmla="*/ 4600673 w 14703435"/>
                <a:gd name="connsiteY44" fmla="*/ 2821188 h 10706845"/>
                <a:gd name="connsiteX45" fmla="*/ 4416749 w 14703435"/>
                <a:gd name="connsiteY45" fmla="*/ 2398181 h 10706845"/>
                <a:gd name="connsiteX46" fmla="*/ 4653822 w 14703435"/>
                <a:gd name="connsiteY46" fmla="*/ 1848014 h 10706845"/>
                <a:gd name="connsiteX47" fmla="*/ 4432864 w 14703435"/>
                <a:gd name="connsiteY47" fmla="*/ 1294779 h 10706845"/>
                <a:gd name="connsiteX48" fmla="*/ 4437471 w 14703435"/>
                <a:gd name="connsiteY48" fmla="*/ 625991 h 10706845"/>
                <a:gd name="connsiteX49" fmla="*/ 4141784 w 14703435"/>
                <a:gd name="connsiteY49" fmla="*/ 0 h 10706845"/>
                <a:gd name="connsiteX50" fmla="*/ 2314296 w 14703435"/>
                <a:gd name="connsiteY50" fmla="*/ 189494 h 10706845"/>
                <a:gd name="connsiteX51" fmla="*/ 1334589 w 14703435"/>
                <a:gd name="connsiteY51" fmla="*/ 994366 h 10706845"/>
                <a:gd name="connsiteX52" fmla="*/ 0 w 14703435"/>
                <a:gd name="connsiteY52" fmla="*/ 2341812 h 107068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4703435" h="10706845">
                  <a:moveTo>
                    <a:pt x="0" y="2341812"/>
                  </a:moveTo>
                  <a:lnTo>
                    <a:pt x="613837" y="4720170"/>
                  </a:lnTo>
                  <a:lnTo>
                    <a:pt x="1518338" y="5588320"/>
                  </a:lnTo>
                  <a:lnTo>
                    <a:pt x="1735898" y="6420244"/>
                  </a:lnTo>
                  <a:lnTo>
                    <a:pt x="3137400" y="6944804"/>
                  </a:lnTo>
                  <a:lnTo>
                    <a:pt x="3453963" y="8301295"/>
                  </a:lnTo>
                  <a:lnTo>
                    <a:pt x="4168520" y="9675864"/>
                  </a:lnTo>
                  <a:lnTo>
                    <a:pt x="4162343" y="10706845"/>
                  </a:lnTo>
                  <a:lnTo>
                    <a:pt x="4605215" y="10622681"/>
                  </a:lnTo>
                  <a:lnTo>
                    <a:pt x="4840336" y="10333299"/>
                  </a:lnTo>
                  <a:lnTo>
                    <a:pt x="6070201" y="10351391"/>
                  </a:lnTo>
                  <a:lnTo>
                    <a:pt x="6884082" y="9754539"/>
                  </a:lnTo>
                  <a:lnTo>
                    <a:pt x="7716051" y="10080098"/>
                  </a:lnTo>
                  <a:lnTo>
                    <a:pt x="8584189" y="9881146"/>
                  </a:lnTo>
                  <a:lnTo>
                    <a:pt x="9289552" y="10080098"/>
                  </a:lnTo>
                  <a:lnTo>
                    <a:pt x="10139605" y="9682198"/>
                  </a:lnTo>
                  <a:lnTo>
                    <a:pt x="10664108" y="9899234"/>
                  </a:lnTo>
                  <a:lnTo>
                    <a:pt x="11387555" y="9808804"/>
                  </a:lnTo>
                  <a:lnTo>
                    <a:pt x="11966315" y="10532259"/>
                  </a:lnTo>
                  <a:lnTo>
                    <a:pt x="12942975" y="10297130"/>
                  </a:lnTo>
                  <a:lnTo>
                    <a:pt x="13575992" y="10695030"/>
                  </a:lnTo>
                  <a:lnTo>
                    <a:pt x="13973888" y="10604597"/>
                  </a:lnTo>
                  <a:lnTo>
                    <a:pt x="14028146" y="10062006"/>
                  </a:lnTo>
                  <a:lnTo>
                    <a:pt x="13594073" y="10007749"/>
                  </a:lnTo>
                  <a:lnTo>
                    <a:pt x="13612161" y="9320470"/>
                  </a:lnTo>
                  <a:lnTo>
                    <a:pt x="14190925" y="9175783"/>
                  </a:lnTo>
                  <a:lnTo>
                    <a:pt x="13865366" y="8705538"/>
                  </a:lnTo>
                  <a:lnTo>
                    <a:pt x="14136664" y="8307642"/>
                  </a:lnTo>
                  <a:lnTo>
                    <a:pt x="14703435" y="8334738"/>
                  </a:lnTo>
                  <a:lnTo>
                    <a:pt x="14255660" y="8007340"/>
                  </a:lnTo>
                  <a:lnTo>
                    <a:pt x="14407378" y="7451179"/>
                  </a:lnTo>
                  <a:lnTo>
                    <a:pt x="13924235" y="6466638"/>
                  </a:lnTo>
                  <a:lnTo>
                    <a:pt x="11909491" y="6206793"/>
                  </a:lnTo>
                  <a:lnTo>
                    <a:pt x="9824147" y="6838125"/>
                  </a:lnTo>
                  <a:lnTo>
                    <a:pt x="8482717" y="6994165"/>
                  </a:lnTo>
                  <a:lnTo>
                    <a:pt x="8328079" y="6569451"/>
                  </a:lnTo>
                  <a:lnTo>
                    <a:pt x="7632672" y="6387789"/>
                  </a:lnTo>
                  <a:lnTo>
                    <a:pt x="7081852" y="5966020"/>
                  </a:lnTo>
                  <a:lnTo>
                    <a:pt x="6336686" y="5128452"/>
                  </a:lnTo>
                  <a:lnTo>
                    <a:pt x="6319261" y="4326134"/>
                  </a:lnTo>
                  <a:lnTo>
                    <a:pt x="5596373" y="3939696"/>
                  </a:lnTo>
                  <a:lnTo>
                    <a:pt x="5365184" y="3367517"/>
                  </a:lnTo>
                  <a:lnTo>
                    <a:pt x="5153802" y="3038951"/>
                  </a:lnTo>
                  <a:lnTo>
                    <a:pt x="4898441" y="3089659"/>
                  </a:lnTo>
                  <a:lnTo>
                    <a:pt x="4600673" y="2821188"/>
                  </a:lnTo>
                  <a:lnTo>
                    <a:pt x="4416749" y="2398181"/>
                  </a:lnTo>
                  <a:lnTo>
                    <a:pt x="4653822" y="1848014"/>
                  </a:lnTo>
                  <a:lnTo>
                    <a:pt x="4432864" y="1294779"/>
                  </a:lnTo>
                  <a:cubicBezTo>
                    <a:pt x="4434400" y="1071850"/>
                    <a:pt x="4435935" y="848920"/>
                    <a:pt x="4437471" y="625991"/>
                  </a:cubicBezTo>
                  <a:lnTo>
                    <a:pt x="4141784" y="0"/>
                  </a:lnTo>
                  <a:lnTo>
                    <a:pt x="2314296" y="189494"/>
                  </a:lnTo>
                  <a:lnTo>
                    <a:pt x="1334589" y="994366"/>
                  </a:lnTo>
                  <a:lnTo>
                    <a:pt x="0" y="2341812"/>
                  </a:lnTo>
                  <a:close/>
                </a:path>
              </a:pathLst>
            </a:custGeom>
            <a:grpFill/>
            <a:ln w="19050" cmpd="sng">
              <a:solidFill>
                <a:srgbClr val="FFFFFF"/>
              </a:solidFill>
              <a:prstDash val="solid"/>
              <a:round/>
              <a:headEnd/>
              <a:tailEnd/>
            </a:ln>
            <a:effectLst>
              <a:outerShdw dist="28398" dir="6993903" algn="ctr" rotWithShape="0">
                <a:srgbClr val="B2B2B2">
                  <a:alpha val="50000"/>
                </a:srgbClr>
              </a:outerShdw>
            </a:effectLst>
          </p:spPr>
          <p:txBody>
            <a:bodyPr/>
            <a:lstStyle/>
            <a:p>
              <a:endParaRPr lang="zh-CN" altLang="en-US" sz="120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3" name="Овал 32" hidden="1"/>
          <p:cNvSpPr/>
          <p:nvPr/>
        </p:nvSpPr>
        <p:spPr>
          <a:xfrm>
            <a:off x="1974775" y="3017800"/>
            <a:ext cx="123784" cy="123255"/>
          </a:xfrm>
          <a:prstGeom prst="ellipse">
            <a:avLst/>
          </a:prstGeom>
          <a:blipFill>
            <a:blip r:embed="rId2" cstate="print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5" name="Foreign investors may invest in Special Economic Zones of Kazakhstan. Within 11 special economic zones the following preferences are provided:">
            <a:extLst>
              <a:ext uri="{FF2B5EF4-FFF2-40B4-BE49-F238E27FC236}">
                <a16:creationId xmlns:a16="http://schemas.microsoft.com/office/drawing/2014/main" xmlns="" id="{D69DE00F-375F-4B91-8B7B-3CEB047CD586}"/>
              </a:ext>
            </a:extLst>
          </p:cNvPr>
          <p:cNvSpPr txBox="1"/>
          <p:nvPr/>
        </p:nvSpPr>
        <p:spPr>
          <a:xfrm>
            <a:off x="6241677" y="686165"/>
            <a:ext cx="1311637" cy="10532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3867" tIns="33867" rIns="33867" bIns="33867" anchor="ctr">
            <a:spAutoFit/>
          </a:bodyPr>
          <a:lstStyle/>
          <a:p>
            <a:pPr algn="ctr" defTabSz="609585" hangingPunct="0">
              <a:spcBef>
                <a:spcPts val="267"/>
              </a:spcBef>
              <a:defRPr sz="3500">
                <a:solidFill>
                  <a:srgbClr val="4FB6E8"/>
                </a:solidFill>
                <a:latin typeface="Fira Sans Regular"/>
                <a:ea typeface="Fira Sans Regular"/>
                <a:cs typeface="Fira Sans Regular"/>
                <a:sym typeface="Fira Sans Regular"/>
              </a:defRPr>
            </a:pPr>
            <a:r>
              <a:rPr lang="ru-RU" sz="6400" b="1" dirty="0">
                <a:solidFill>
                  <a:srgbClr val="4BB5E8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Fira Sans Regular"/>
              </a:rPr>
              <a:t>1</a:t>
            </a:r>
            <a:r>
              <a:rPr lang="en-US" sz="6400" b="1" dirty="0">
                <a:solidFill>
                  <a:srgbClr val="4BB5E8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Fira Sans Regular"/>
              </a:rPr>
              <a:t>4</a:t>
            </a:r>
            <a:r>
              <a:rPr lang="ru-RU" sz="6400" dirty="0">
                <a:solidFill>
                  <a:srgbClr val="00000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Fira Sans Regular"/>
              </a:rPr>
              <a:t> 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7403948" y="1125524"/>
            <a:ext cx="3195604" cy="3103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lnSpc>
                <a:spcPts val="1733"/>
              </a:lnSpc>
            </a:pPr>
            <a:r>
              <a:rPr lang="en-US" sz="1867" b="1" dirty="0" err="1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Fira Sans Regular"/>
              </a:rPr>
              <a:t>zvláštní</a:t>
            </a:r>
            <a:r>
              <a:rPr lang="en-US" sz="1867" b="1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Fira Sans Regular"/>
              </a:rPr>
              <a:t> </a:t>
            </a:r>
            <a:r>
              <a:rPr lang="en-US" sz="1867" b="1" dirty="0" err="1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Fira Sans Regular"/>
              </a:rPr>
              <a:t>ekonomické</a:t>
            </a:r>
            <a:r>
              <a:rPr lang="en-US" sz="1867" b="1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Fira Sans Regular"/>
              </a:rPr>
              <a:t> </a:t>
            </a:r>
            <a:r>
              <a:rPr lang="en-US" sz="1867" b="1" dirty="0" err="1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Fira Sans Regular"/>
              </a:rPr>
              <a:t>zóny</a:t>
            </a:r>
            <a:r>
              <a:rPr lang="en-US" sz="1867" b="1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Fira Sans Regular"/>
              </a:rPr>
              <a:t> </a:t>
            </a:r>
          </a:p>
        </p:txBody>
      </p:sp>
      <p:sp>
        <p:nvSpPr>
          <p:cNvPr id="11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318542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BC0DC2-9AC7-4AF2-ABC3-6798633670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7844953" y="2886698"/>
            <a:ext cx="9427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stanay</a:t>
            </a:r>
            <a:endParaRPr lang="ru-RU" sz="1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10179503" y="4369113"/>
            <a:ext cx="10156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maty</a:t>
            </a:r>
            <a:endParaRPr lang="ru-RU" sz="1000" b="1" i="1" u="sn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TextBox 130"/>
          <p:cNvSpPr txBox="1"/>
          <p:nvPr/>
        </p:nvSpPr>
        <p:spPr>
          <a:xfrm>
            <a:off x="9231358" y="3308864"/>
            <a:ext cx="92877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raganda</a:t>
            </a:r>
            <a:endParaRPr lang="ru-RU" sz="1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10282037" y="3107863"/>
            <a:ext cx="4885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ai</a:t>
            </a:r>
            <a:endParaRPr lang="ru-RU" sz="1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10792199" y="3396548"/>
            <a:ext cx="10834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i="1" dirty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 </a:t>
            </a:r>
            <a:endParaRPr lang="ru-RU" sz="1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8520883" y="4845302"/>
            <a:ext cx="8088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i="1" u="sng" dirty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Shymkent</a:t>
            </a:r>
            <a:endParaRPr lang="ru-RU" sz="1000" b="1" i="1" u="sn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10088188" y="3832241"/>
            <a:ext cx="8660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hetysu</a:t>
            </a:r>
            <a:endParaRPr lang="ru-RU" sz="1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0" name="Группа 139"/>
          <p:cNvGrpSpPr/>
          <p:nvPr/>
        </p:nvGrpSpPr>
        <p:grpSpPr>
          <a:xfrm>
            <a:off x="8514940" y="5272752"/>
            <a:ext cx="1268666" cy="338554"/>
            <a:chOff x="4843171" y="4746284"/>
            <a:chExt cx="1321118" cy="351357"/>
          </a:xfrm>
        </p:grpSpPr>
        <p:sp>
          <p:nvSpPr>
            <p:cNvPr id="201" name="TextBox 200"/>
            <p:cNvSpPr txBox="1"/>
            <p:nvPr/>
          </p:nvSpPr>
          <p:spPr>
            <a:xfrm>
              <a:off x="4843171" y="4746284"/>
              <a:ext cx="1321118" cy="351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SEZ 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«</a:t>
              </a:r>
              <a:r>
                <a:rPr lang="en-US" sz="800" b="1" i="1" dirty="0" err="1">
                  <a:solidFill>
                    <a:schemeClr val="accent5">
                      <a:lumMod val="75000"/>
                    </a:schemeClr>
                  </a:solidFill>
                </a:rPr>
                <a:t>Ontustik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»</a:t>
              </a:r>
            </a:p>
            <a:p>
              <a:pPr algn="ctr"/>
              <a:r>
                <a:rPr lang="en-US" sz="800" i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Textil</a:t>
              </a:r>
              <a:r>
                <a:rPr lang="en-US" sz="800" i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800" i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trochemie</a:t>
              </a:r>
              <a:endParaRPr lang="ru-RU" sz="800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2" name="Скругленный прямоугольник 201"/>
            <p:cNvSpPr/>
            <p:nvPr/>
          </p:nvSpPr>
          <p:spPr>
            <a:xfrm>
              <a:off x="4991389" y="4770844"/>
              <a:ext cx="1002954" cy="326795"/>
            </a:xfrm>
            <a:prstGeom prst="roundRect">
              <a:avLst/>
            </a:prstGeom>
            <a:noFill/>
            <a:ln w="6350">
              <a:solidFill>
                <a:schemeClr val="accent4">
                  <a:lumMod val="7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1" name="Группа 140"/>
          <p:cNvGrpSpPr/>
          <p:nvPr/>
        </p:nvGrpSpPr>
        <p:grpSpPr>
          <a:xfrm>
            <a:off x="8065151" y="3805399"/>
            <a:ext cx="1415225" cy="308359"/>
            <a:chOff x="5806179" y="3713172"/>
            <a:chExt cx="1321118" cy="427028"/>
          </a:xfrm>
        </p:grpSpPr>
        <p:sp>
          <p:nvSpPr>
            <p:cNvPr id="199" name="TextBox 198"/>
            <p:cNvSpPr txBox="1"/>
            <p:nvPr/>
          </p:nvSpPr>
          <p:spPr>
            <a:xfrm>
              <a:off x="5806179" y="3713172"/>
              <a:ext cx="1321118" cy="2983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SEZ 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«</a:t>
              </a:r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Chemical Park </a:t>
              </a:r>
              <a:r>
                <a:rPr lang="en-US" sz="800" b="1" i="1" dirty="0" err="1">
                  <a:solidFill>
                    <a:schemeClr val="accent5">
                      <a:lumMod val="75000"/>
                    </a:schemeClr>
                  </a:solidFill>
                </a:rPr>
                <a:t>Taraz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»</a:t>
              </a:r>
              <a:endParaRPr lang="en-US" sz="800" b="1" i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00" name="Скругленный прямоугольник 199"/>
            <p:cNvSpPr/>
            <p:nvPr/>
          </p:nvSpPr>
          <p:spPr>
            <a:xfrm>
              <a:off x="5894857" y="3720787"/>
              <a:ext cx="1145228" cy="419413"/>
            </a:xfrm>
            <a:prstGeom prst="roundRect">
              <a:avLst/>
            </a:prstGeom>
            <a:noFill/>
            <a:ln w="6350">
              <a:solidFill>
                <a:schemeClr val="accent4">
                  <a:lumMod val="7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2" name="Группа 141"/>
          <p:cNvGrpSpPr/>
          <p:nvPr/>
        </p:nvGrpSpPr>
        <p:grpSpPr>
          <a:xfrm>
            <a:off x="7266666" y="4411089"/>
            <a:ext cx="1349614" cy="215444"/>
            <a:chOff x="6139970" y="5255097"/>
            <a:chExt cx="1321118" cy="247141"/>
          </a:xfrm>
        </p:grpSpPr>
        <p:sp>
          <p:nvSpPr>
            <p:cNvPr id="197" name="TextBox 196"/>
            <p:cNvSpPr txBox="1"/>
            <p:nvPr/>
          </p:nvSpPr>
          <p:spPr>
            <a:xfrm>
              <a:off x="6139970" y="5255097"/>
              <a:ext cx="1321118" cy="2471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SEZ 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«</a:t>
              </a:r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Turkistan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»</a:t>
              </a:r>
            </a:p>
          </p:txBody>
        </p:sp>
        <p:sp>
          <p:nvSpPr>
            <p:cNvPr id="198" name="Скругленный прямоугольник 197"/>
            <p:cNvSpPr/>
            <p:nvPr/>
          </p:nvSpPr>
          <p:spPr>
            <a:xfrm>
              <a:off x="6317550" y="5285505"/>
              <a:ext cx="955859" cy="196434"/>
            </a:xfrm>
            <a:prstGeom prst="roundRect">
              <a:avLst/>
            </a:prstGeom>
            <a:noFill/>
            <a:ln w="6350">
              <a:solidFill>
                <a:schemeClr val="accent4">
                  <a:lumMod val="7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3" name="Группа 142"/>
          <p:cNvGrpSpPr/>
          <p:nvPr/>
        </p:nvGrpSpPr>
        <p:grpSpPr>
          <a:xfrm>
            <a:off x="7474353" y="2410820"/>
            <a:ext cx="1309498" cy="281921"/>
            <a:chOff x="4983164" y="2216907"/>
            <a:chExt cx="1373293" cy="540694"/>
          </a:xfrm>
        </p:grpSpPr>
        <p:sp>
          <p:nvSpPr>
            <p:cNvPr id="195" name="TextBox 194"/>
            <p:cNvSpPr txBox="1"/>
            <p:nvPr/>
          </p:nvSpPr>
          <p:spPr>
            <a:xfrm>
              <a:off x="4983164" y="2256184"/>
              <a:ext cx="1373293" cy="2471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SEZ 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«</a:t>
              </a:r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Astana-New City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»</a:t>
              </a:r>
              <a:endParaRPr lang="ru-RU" sz="800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6" name="Скругленный прямоугольник 195"/>
            <p:cNvSpPr/>
            <p:nvPr/>
          </p:nvSpPr>
          <p:spPr>
            <a:xfrm>
              <a:off x="5150151" y="2216907"/>
              <a:ext cx="1074474" cy="540694"/>
            </a:xfrm>
            <a:prstGeom prst="roundRect">
              <a:avLst/>
            </a:prstGeom>
            <a:noFill/>
            <a:ln w="6350">
              <a:solidFill>
                <a:schemeClr val="accent4">
                  <a:lumMod val="7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4" name="Группа 143"/>
          <p:cNvGrpSpPr/>
          <p:nvPr/>
        </p:nvGrpSpPr>
        <p:grpSpPr>
          <a:xfrm>
            <a:off x="8711070" y="2887710"/>
            <a:ext cx="1506688" cy="217734"/>
            <a:chOff x="5932190" y="2207047"/>
            <a:chExt cx="1219136" cy="459445"/>
          </a:xfrm>
        </p:grpSpPr>
        <p:sp>
          <p:nvSpPr>
            <p:cNvPr id="193" name="TextBox 192"/>
            <p:cNvSpPr txBox="1"/>
            <p:nvPr/>
          </p:nvSpPr>
          <p:spPr>
            <a:xfrm>
              <a:off x="5932190" y="2207047"/>
              <a:ext cx="1219136" cy="3202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SEZ 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«</a:t>
              </a:r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Astana-</a:t>
              </a:r>
              <a:r>
                <a:rPr lang="en-US" sz="800" b="1" i="1" dirty="0" err="1">
                  <a:solidFill>
                    <a:schemeClr val="accent5">
                      <a:lumMod val="75000"/>
                    </a:schemeClr>
                  </a:solidFill>
                </a:rPr>
                <a:t>Technopolis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»</a:t>
              </a:r>
              <a:endParaRPr lang="ru-RU" sz="800" i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94" name="Скругленный прямоугольник 193"/>
            <p:cNvSpPr/>
            <p:nvPr/>
          </p:nvSpPr>
          <p:spPr>
            <a:xfrm>
              <a:off x="6065372" y="2217119"/>
              <a:ext cx="924497" cy="449373"/>
            </a:xfrm>
            <a:prstGeom prst="roundRect">
              <a:avLst/>
            </a:prstGeom>
            <a:noFill/>
            <a:ln w="6350">
              <a:solidFill>
                <a:schemeClr val="accent4">
                  <a:lumMod val="7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5" name="Группа 144"/>
          <p:cNvGrpSpPr/>
          <p:nvPr/>
        </p:nvGrpSpPr>
        <p:grpSpPr>
          <a:xfrm>
            <a:off x="8904624" y="1818511"/>
            <a:ext cx="1128522" cy="231510"/>
            <a:chOff x="6184007" y="800167"/>
            <a:chExt cx="1321118" cy="374437"/>
          </a:xfrm>
        </p:grpSpPr>
        <p:sp>
          <p:nvSpPr>
            <p:cNvPr id="191" name="TextBox 190"/>
            <p:cNvSpPr txBox="1"/>
            <p:nvPr/>
          </p:nvSpPr>
          <p:spPr>
            <a:xfrm>
              <a:off x="6184007" y="800167"/>
              <a:ext cx="1321118" cy="2471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SEZ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 «</a:t>
              </a:r>
              <a:r>
                <a:rPr lang="en-US" sz="800" b="1" i="1" dirty="0" err="1">
                  <a:solidFill>
                    <a:schemeClr val="accent5">
                      <a:lumMod val="75000"/>
                    </a:schemeClr>
                  </a:solidFill>
                </a:rPr>
                <a:t>Qyzyljar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»</a:t>
              </a:r>
            </a:p>
          </p:txBody>
        </p:sp>
        <p:sp>
          <p:nvSpPr>
            <p:cNvPr id="192" name="Скругленный прямоугольник 191"/>
            <p:cNvSpPr/>
            <p:nvPr/>
          </p:nvSpPr>
          <p:spPr>
            <a:xfrm>
              <a:off x="6354228" y="811548"/>
              <a:ext cx="983899" cy="363056"/>
            </a:xfrm>
            <a:prstGeom prst="roundRect">
              <a:avLst/>
            </a:prstGeom>
            <a:noFill/>
            <a:ln w="6350">
              <a:solidFill>
                <a:schemeClr val="accent4">
                  <a:lumMod val="7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6" name="Группа 145"/>
          <p:cNvGrpSpPr/>
          <p:nvPr/>
        </p:nvGrpSpPr>
        <p:grpSpPr>
          <a:xfrm>
            <a:off x="10102540" y="1874680"/>
            <a:ext cx="1221610" cy="461665"/>
            <a:chOff x="7644057" y="1313554"/>
            <a:chExt cx="1321118" cy="563764"/>
          </a:xfrm>
        </p:grpSpPr>
        <p:sp>
          <p:nvSpPr>
            <p:cNvPr id="189" name="TextBox 188"/>
            <p:cNvSpPr txBox="1"/>
            <p:nvPr/>
          </p:nvSpPr>
          <p:spPr>
            <a:xfrm>
              <a:off x="7644057" y="1313554"/>
              <a:ext cx="1321118" cy="5637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SEZ 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«</a:t>
              </a:r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Pavlodar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»</a:t>
              </a:r>
              <a:endParaRPr lang="en-US" sz="800" b="1" i="1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algn="ctr"/>
              <a:r>
                <a:rPr lang="en-US" sz="800" i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hemie</a:t>
              </a:r>
              <a:r>
                <a:rPr lang="en-US" sz="800" i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800" i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trochemie</a:t>
              </a:r>
              <a:r>
                <a:rPr lang="en-US" sz="800" i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a </a:t>
              </a:r>
              <a:r>
                <a:rPr lang="en-US" sz="800" i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etalurgie</a:t>
              </a:r>
              <a:endParaRPr lang="en-US" sz="800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90" name="Скругленный прямоугольник 189"/>
            <p:cNvSpPr/>
            <p:nvPr/>
          </p:nvSpPr>
          <p:spPr>
            <a:xfrm>
              <a:off x="7755790" y="1339153"/>
              <a:ext cx="1096383" cy="521124"/>
            </a:xfrm>
            <a:prstGeom prst="roundRect">
              <a:avLst/>
            </a:prstGeom>
            <a:noFill/>
            <a:ln w="6350">
              <a:solidFill>
                <a:schemeClr val="accent4">
                  <a:lumMod val="7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7" name="Группа 146"/>
          <p:cNvGrpSpPr/>
          <p:nvPr/>
        </p:nvGrpSpPr>
        <p:grpSpPr>
          <a:xfrm>
            <a:off x="10728613" y="4049357"/>
            <a:ext cx="1365030" cy="193989"/>
            <a:chOff x="8717478" y="4217109"/>
            <a:chExt cx="1321118" cy="402252"/>
          </a:xfrm>
        </p:grpSpPr>
        <p:sp>
          <p:nvSpPr>
            <p:cNvPr id="187" name="TextBox 186"/>
            <p:cNvSpPr txBox="1"/>
            <p:nvPr/>
          </p:nvSpPr>
          <p:spPr>
            <a:xfrm>
              <a:off x="8717478" y="4220381"/>
              <a:ext cx="1321118" cy="2736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SEZ 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«</a:t>
              </a:r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ICBC 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«</a:t>
              </a:r>
              <a:r>
                <a:rPr lang="en-US" sz="800" b="1" i="1" dirty="0" err="1">
                  <a:solidFill>
                    <a:schemeClr val="accent5">
                      <a:lumMod val="75000"/>
                    </a:schemeClr>
                  </a:solidFill>
                </a:rPr>
                <a:t>Khorgos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»</a:t>
              </a:r>
            </a:p>
          </p:txBody>
        </p:sp>
        <p:sp>
          <p:nvSpPr>
            <p:cNvPr id="188" name="Скругленный прямоугольник 187"/>
            <p:cNvSpPr/>
            <p:nvPr/>
          </p:nvSpPr>
          <p:spPr>
            <a:xfrm>
              <a:off x="8849398" y="4217109"/>
              <a:ext cx="1039254" cy="402252"/>
            </a:xfrm>
            <a:prstGeom prst="roundRect">
              <a:avLst/>
            </a:prstGeom>
            <a:noFill/>
            <a:ln w="6350">
              <a:solidFill>
                <a:schemeClr val="accent4">
                  <a:lumMod val="7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8" name="Группа 147"/>
          <p:cNvGrpSpPr/>
          <p:nvPr/>
        </p:nvGrpSpPr>
        <p:grpSpPr>
          <a:xfrm>
            <a:off x="10818427" y="4593518"/>
            <a:ext cx="1351985" cy="328537"/>
            <a:chOff x="8727863" y="4126087"/>
            <a:chExt cx="1321118" cy="513658"/>
          </a:xfrm>
        </p:grpSpPr>
        <p:sp>
          <p:nvSpPr>
            <p:cNvPr id="185" name="TextBox 184"/>
            <p:cNvSpPr txBox="1"/>
            <p:nvPr/>
          </p:nvSpPr>
          <p:spPr>
            <a:xfrm>
              <a:off x="8727863" y="4126087"/>
              <a:ext cx="1321118" cy="4074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SEZ 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«</a:t>
              </a:r>
              <a:r>
                <a:rPr lang="en-US" sz="800" b="1" i="1" dirty="0" err="1">
                  <a:solidFill>
                    <a:schemeClr val="accent5">
                      <a:lumMod val="75000"/>
                    </a:schemeClr>
                  </a:solidFill>
                </a:rPr>
                <a:t>Khorgos</a:t>
              </a:r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-Eastern Gates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»</a:t>
              </a:r>
            </a:p>
          </p:txBody>
        </p:sp>
        <p:sp>
          <p:nvSpPr>
            <p:cNvPr id="186" name="Скругленный прямоугольник 185"/>
            <p:cNvSpPr/>
            <p:nvPr/>
          </p:nvSpPr>
          <p:spPr>
            <a:xfrm>
              <a:off x="8804276" y="4161251"/>
              <a:ext cx="1172478" cy="478494"/>
            </a:xfrm>
            <a:prstGeom prst="roundRect">
              <a:avLst/>
            </a:prstGeom>
            <a:noFill/>
            <a:ln w="6350">
              <a:solidFill>
                <a:schemeClr val="accent4">
                  <a:lumMod val="7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9" name="Группа 148"/>
          <p:cNvGrpSpPr/>
          <p:nvPr/>
        </p:nvGrpSpPr>
        <p:grpSpPr>
          <a:xfrm>
            <a:off x="9563496" y="4860208"/>
            <a:ext cx="1069837" cy="338554"/>
            <a:chOff x="7435169" y="4058011"/>
            <a:chExt cx="1252418" cy="328680"/>
          </a:xfrm>
        </p:grpSpPr>
        <p:sp>
          <p:nvSpPr>
            <p:cNvPr id="183" name="TextBox 182"/>
            <p:cNvSpPr txBox="1"/>
            <p:nvPr/>
          </p:nvSpPr>
          <p:spPr>
            <a:xfrm>
              <a:off x="7435169" y="4058011"/>
              <a:ext cx="1252418" cy="3286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800" b="1" i="1" dirty="0">
                  <a:solidFill>
                    <a:schemeClr val="accent5">
                      <a:lumMod val="75000"/>
                    </a:schemeClr>
                  </a:solidFill>
                </a:rPr>
                <a:t>SEZ 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«</a:t>
              </a:r>
              <a:r>
                <a:rPr lang="pt-BR" sz="800" b="1" i="1" dirty="0">
                  <a:solidFill>
                    <a:schemeClr val="accent5">
                      <a:lumMod val="75000"/>
                    </a:schemeClr>
                  </a:solidFill>
                </a:rPr>
                <a:t>PIT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»</a:t>
              </a:r>
            </a:p>
            <a:p>
              <a:pPr algn="ctr"/>
              <a:r>
                <a:rPr lang="pt-BR" sz="800" i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CT, Výzkum a vývoj</a:t>
              </a:r>
            </a:p>
          </p:txBody>
        </p:sp>
        <p:sp>
          <p:nvSpPr>
            <p:cNvPr id="184" name="Скругленный прямоугольник 183"/>
            <p:cNvSpPr/>
            <p:nvPr/>
          </p:nvSpPr>
          <p:spPr>
            <a:xfrm>
              <a:off x="7522135" y="4088542"/>
              <a:ext cx="1039366" cy="269469"/>
            </a:xfrm>
            <a:prstGeom prst="roundRect">
              <a:avLst/>
            </a:prstGeom>
            <a:noFill/>
            <a:ln w="6350">
              <a:solidFill>
                <a:schemeClr val="accent4">
                  <a:lumMod val="7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50" name="Группа 149"/>
          <p:cNvGrpSpPr/>
          <p:nvPr/>
        </p:nvGrpSpPr>
        <p:grpSpPr>
          <a:xfrm>
            <a:off x="7941087" y="3132753"/>
            <a:ext cx="1582566" cy="219863"/>
            <a:chOff x="6957448" y="2805894"/>
            <a:chExt cx="1321118" cy="620388"/>
          </a:xfrm>
        </p:grpSpPr>
        <p:sp>
          <p:nvSpPr>
            <p:cNvPr id="181" name="TextBox 180"/>
            <p:cNvSpPr txBox="1"/>
            <p:nvPr/>
          </p:nvSpPr>
          <p:spPr>
            <a:xfrm>
              <a:off x="6957448" y="2805894"/>
              <a:ext cx="1321118" cy="2974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SEZ 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«</a:t>
              </a:r>
              <a:r>
                <a:rPr lang="en-US" sz="800" b="1" i="1" dirty="0" err="1">
                  <a:solidFill>
                    <a:schemeClr val="accent5">
                      <a:lumMod val="75000"/>
                    </a:schemeClr>
                  </a:solidFill>
                </a:rPr>
                <a:t>Saryarka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»</a:t>
              </a:r>
            </a:p>
          </p:txBody>
        </p:sp>
        <p:sp>
          <p:nvSpPr>
            <p:cNvPr id="182" name="Скругленный прямоугольник 181"/>
            <p:cNvSpPr/>
            <p:nvPr/>
          </p:nvSpPr>
          <p:spPr>
            <a:xfrm>
              <a:off x="7023903" y="2828119"/>
              <a:ext cx="1190625" cy="598163"/>
            </a:xfrm>
            <a:prstGeom prst="roundRect">
              <a:avLst/>
            </a:prstGeom>
            <a:noFill/>
            <a:ln w="6350">
              <a:solidFill>
                <a:schemeClr val="accent4">
                  <a:lumMod val="7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51" name="Блок-схема: узел 150"/>
          <p:cNvSpPr/>
          <p:nvPr/>
        </p:nvSpPr>
        <p:spPr>
          <a:xfrm>
            <a:off x="6160413" y="3557409"/>
            <a:ext cx="60370" cy="57491"/>
          </a:xfrm>
          <a:prstGeom prst="flowChartConnector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52" name="Прямая со стрелкой 151"/>
          <p:cNvCxnSpPr>
            <a:stCxn id="153" idx="7"/>
          </p:cNvCxnSpPr>
          <p:nvPr/>
        </p:nvCxnSpPr>
        <p:spPr>
          <a:xfrm>
            <a:off x="5976340" y="4239889"/>
            <a:ext cx="264250" cy="226453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Блок-схема: узел 152"/>
          <p:cNvSpPr/>
          <p:nvPr/>
        </p:nvSpPr>
        <p:spPr>
          <a:xfrm>
            <a:off x="5924811" y="4231470"/>
            <a:ext cx="60370" cy="57491"/>
          </a:xfrm>
          <a:prstGeom prst="flowChartConnector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54" name="Прямая со стрелкой 153"/>
          <p:cNvCxnSpPr>
            <a:stCxn id="151" idx="0"/>
            <a:endCxn id="180" idx="2"/>
          </p:cNvCxnSpPr>
          <p:nvPr/>
        </p:nvCxnSpPr>
        <p:spPr>
          <a:xfrm flipH="1" flipV="1">
            <a:off x="6123326" y="3375133"/>
            <a:ext cx="67272" cy="182276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Блок-схема: узел 154"/>
          <p:cNvSpPr/>
          <p:nvPr/>
        </p:nvSpPr>
        <p:spPr>
          <a:xfrm>
            <a:off x="8697727" y="4504200"/>
            <a:ext cx="60370" cy="57491"/>
          </a:xfrm>
          <a:prstGeom prst="flowChartConnector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56" name="Прямая со стрелкой 155"/>
          <p:cNvCxnSpPr>
            <a:stCxn id="155" idx="4"/>
          </p:cNvCxnSpPr>
          <p:nvPr/>
        </p:nvCxnSpPr>
        <p:spPr>
          <a:xfrm flipH="1" flipV="1">
            <a:off x="8430000" y="4524763"/>
            <a:ext cx="297912" cy="36928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Блок-схема: узел 156"/>
          <p:cNvSpPr/>
          <p:nvPr/>
        </p:nvSpPr>
        <p:spPr>
          <a:xfrm>
            <a:off x="8827696" y="5064793"/>
            <a:ext cx="60370" cy="57491"/>
          </a:xfrm>
          <a:prstGeom prst="flowChartConnector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58" name="Прямая со стрелкой 157"/>
          <p:cNvCxnSpPr>
            <a:stCxn id="157" idx="5"/>
            <a:endCxn id="202" idx="0"/>
          </p:cNvCxnSpPr>
          <p:nvPr/>
        </p:nvCxnSpPr>
        <p:spPr>
          <a:xfrm>
            <a:off x="8879225" y="5113865"/>
            <a:ext cx="259615" cy="182552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Блок-схема: узел 158"/>
          <p:cNvSpPr/>
          <p:nvPr/>
        </p:nvSpPr>
        <p:spPr>
          <a:xfrm flipH="1">
            <a:off x="9617215" y="4357654"/>
            <a:ext cx="55686" cy="51201"/>
          </a:xfrm>
          <a:prstGeom prst="flowChartConnector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60" name="Прямая со стрелкой 159"/>
          <p:cNvCxnSpPr>
            <a:stCxn id="159" idx="7"/>
          </p:cNvCxnSpPr>
          <p:nvPr/>
        </p:nvCxnSpPr>
        <p:spPr>
          <a:xfrm flipH="1" flipV="1">
            <a:off x="9276203" y="4117101"/>
            <a:ext cx="349167" cy="248051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Блок-схема: узел 160"/>
          <p:cNvSpPr/>
          <p:nvPr/>
        </p:nvSpPr>
        <p:spPr>
          <a:xfrm>
            <a:off x="9607610" y="3174970"/>
            <a:ext cx="60370" cy="57491"/>
          </a:xfrm>
          <a:prstGeom prst="flowChartConnector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62" name="Прямая со стрелкой 161"/>
          <p:cNvCxnSpPr/>
          <p:nvPr/>
        </p:nvCxnSpPr>
        <p:spPr>
          <a:xfrm flipH="1">
            <a:off x="9404656" y="3217833"/>
            <a:ext cx="199912" cy="6753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Блок-схема: узел 162"/>
          <p:cNvSpPr/>
          <p:nvPr/>
        </p:nvSpPr>
        <p:spPr>
          <a:xfrm>
            <a:off x="9022999" y="2778211"/>
            <a:ext cx="60370" cy="57491"/>
          </a:xfrm>
          <a:prstGeom prst="flowChartConnector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64" name="Прямая со стрелкой 163"/>
          <p:cNvCxnSpPr/>
          <p:nvPr/>
        </p:nvCxnSpPr>
        <p:spPr>
          <a:xfrm>
            <a:off x="9056853" y="2800291"/>
            <a:ext cx="226504" cy="94706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Прямая со стрелкой 164"/>
          <p:cNvCxnSpPr>
            <a:stCxn id="163" idx="2"/>
            <a:endCxn id="196" idx="3"/>
          </p:cNvCxnSpPr>
          <p:nvPr/>
        </p:nvCxnSpPr>
        <p:spPr>
          <a:xfrm flipH="1" flipV="1">
            <a:off x="8658143" y="2551781"/>
            <a:ext cx="364856" cy="255176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Блок-схема: узел 165"/>
          <p:cNvSpPr/>
          <p:nvPr/>
        </p:nvSpPr>
        <p:spPr>
          <a:xfrm>
            <a:off x="8786741" y="2060523"/>
            <a:ext cx="60370" cy="57491"/>
          </a:xfrm>
          <a:prstGeom prst="flowChartConnector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67" name="Прямая со стрелкой 166"/>
          <p:cNvCxnSpPr/>
          <p:nvPr/>
        </p:nvCxnSpPr>
        <p:spPr>
          <a:xfrm flipV="1">
            <a:off x="8840571" y="2060548"/>
            <a:ext cx="176292" cy="17852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Блок-схема: узел 167"/>
          <p:cNvSpPr/>
          <p:nvPr/>
        </p:nvSpPr>
        <p:spPr>
          <a:xfrm>
            <a:off x="10029878" y="2512280"/>
            <a:ext cx="60370" cy="57491"/>
          </a:xfrm>
          <a:prstGeom prst="flowChartConnector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69" name="Прямая со стрелкой 168"/>
          <p:cNvCxnSpPr>
            <a:stCxn id="168" idx="7"/>
          </p:cNvCxnSpPr>
          <p:nvPr/>
        </p:nvCxnSpPr>
        <p:spPr>
          <a:xfrm flipV="1">
            <a:off x="10081407" y="2318458"/>
            <a:ext cx="439121" cy="202241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Блок-схема: узел 169"/>
          <p:cNvSpPr/>
          <p:nvPr/>
        </p:nvSpPr>
        <p:spPr>
          <a:xfrm>
            <a:off x="10238340" y="4549823"/>
            <a:ext cx="60370" cy="57491"/>
          </a:xfrm>
          <a:prstGeom prst="flowChartConnector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71" name="Прямая со стрелкой 170"/>
          <p:cNvCxnSpPr>
            <a:stCxn id="173" idx="0"/>
          </p:cNvCxnSpPr>
          <p:nvPr/>
        </p:nvCxnSpPr>
        <p:spPr>
          <a:xfrm flipV="1">
            <a:off x="10751255" y="4204369"/>
            <a:ext cx="87213" cy="204482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Прямая со стрелкой 171"/>
          <p:cNvCxnSpPr>
            <a:stCxn id="173" idx="4"/>
          </p:cNvCxnSpPr>
          <p:nvPr/>
        </p:nvCxnSpPr>
        <p:spPr>
          <a:xfrm>
            <a:off x="10751255" y="4466342"/>
            <a:ext cx="117975" cy="160877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Блок-схема: узел 172"/>
          <p:cNvSpPr/>
          <p:nvPr/>
        </p:nvSpPr>
        <p:spPr>
          <a:xfrm>
            <a:off x="10721070" y="4408851"/>
            <a:ext cx="60370" cy="57491"/>
          </a:xfrm>
          <a:prstGeom prst="flowChartConnector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74" name="Прямая со стрелкой 173"/>
          <p:cNvCxnSpPr>
            <a:stCxn id="170" idx="6"/>
            <a:endCxn id="183" idx="0"/>
          </p:cNvCxnSpPr>
          <p:nvPr/>
        </p:nvCxnSpPr>
        <p:spPr>
          <a:xfrm flipH="1">
            <a:off x="10098415" y="4578569"/>
            <a:ext cx="200295" cy="281639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Группа 174"/>
          <p:cNvGrpSpPr/>
          <p:nvPr/>
        </p:nvGrpSpPr>
        <p:grpSpPr>
          <a:xfrm>
            <a:off x="5426175" y="3032357"/>
            <a:ext cx="1374966" cy="342776"/>
            <a:chOff x="-407090" y="2150753"/>
            <a:chExt cx="1326514" cy="422706"/>
          </a:xfrm>
        </p:grpSpPr>
        <p:sp>
          <p:nvSpPr>
            <p:cNvPr id="179" name="TextBox 178"/>
            <p:cNvSpPr txBox="1"/>
            <p:nvPr/>
          </p:nvSpPr>
          <p:spPr>
            <a:xfrm>
              <a:off x="-407090" y="2150753"/>
              <a:ext cx="1326514" cy="417499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SEZ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 «</a:t>
              </a:r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NIPT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»</a:t>
              </a:r>
            </a:p>
            <a:p>
              <a:pPr algn="ctr"/>
              <a:r>
                <a:rPr lang="en-US" sz="800" i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hemie</a:t>
              </a:r>
              <a:r>
                <a:rPr lang="en-US" sz="800" i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800" i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etrochemie</a:t>
              </a:r>
              <a:endParaRPr lang="ru-RU" sz="800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0" name="Скругленный прямоугольник 179"/>
            <p:cNvSpPr/>
            <p:nvPr/>
          </p:nvSpPr>
          <p:spPr>
            <a:xfrm>
              <a:off x="-307687" y="2190042"/>
              <a:ext cx="1146362" cy="383417"/>
            </a:xfrm>
            <a:prstGeom prst="roundRect">
              <a:avLst/>
            </a:prstGeom>
            <a:noFill/>
            <a:ln w="6350">
              <a:solidFill>
                <a:schemeClr val="accent4">
                  <a:lumMod val="7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76" name="Группа 175"/>
          <p:cNvGrpSpPr/>
          <p:nvPr/>
        </p:nvGrpSpPr>
        <p:grpSpPr>
          <a:xfrm>
            <a:off x="6083602" y="4444832"/>
            <a:ext cx="1459797" cy="369966"/>
            <a:chOff x="1893970" y="6945298"/>
            <a:chExt cx="1235715" cy="487446"/>
          </a:xfrm>
        </p:grpSpPr>
        <p:sp>
          <p:nvSpPr>
            <p:cNvPr id="177" name="TextBox 176"/>
            <p:cNvSpPr txBox="1"/>
            <p:nvPr/>
          </p:nvSpPr>
          <p:spPr>
            <a:xfrm>
              <a:off x="1893970" y="6945298"/>
              <a:ext cx="1235715" cy="4460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SEZ 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«</a:t>
              </a:r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Seaport Aktau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»</a:t>
              </a:r>
              <a:endParaRPr lang="en-US" sz="800" b="1" i="1" dirty="0">
                <a:solidFill>
                  <a:schemeClr val="accent5">
                    <a:lumMod val="75000"/>
                  </a:schemeClr>
                </a:solidFill>
              </a:endParaRPr>
            </a:p>
            <a:p>
              <a:pPr algn="ctr"/>
              <a:r>
                <a:rPr lang="en-US" sz="800" i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gistika</a:t>
              </a:r>
              <a:r>
                <a:rPr lang="en-US" sz="800" i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US" sz="800" i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opná</a:t>
              </a:r>
              <a:r>
                <a:rPr lang="en-US" sz="800" i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US" sz="800" i="1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zařízení</a:t>
              </a:r>
              <a:endParaRPr lang="en-US" sz="800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78" name="Скругленный прямоугольник 177"/>
            <p:cNvSpPr/>
            <p:nvPr/>
          </p:nvSpPr>
          <p:spPr>
            <a:xfrm>
              <a:off x="1984542" y="6947396"/>
              <a:ext cx="1040606" cy="485348"/>
            </a:xfrm>
            <a:prstGeom prst="roundRect">
              <a:avLst/>
            </a:prstGeom>
            <a:noFill/>
            <a:ln w="6350">
              <a:solidFill>
                <a:schemeClr val="accent4">
                  <a:lumMod val="7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-456728" y="953494"/>
            <a:ext cx="5984565" cy="5839171"/>
            <a:chOff x="-1070216" y="825854"/>
            <a:chExt cx="6324817" cy="6023855"/>
          </a:xfrm>
        </p:grpSpPr>
        <p:sp>
          <p:nvSpPr>
            <p:cNvPr id="5" name="TextBox 4"/>
            <p:cNvSpPr txBox="1"/>
            <p:nvPr/>
          </p:nvSpPr>
          <p:spPr>
            <a:xfrm>
              <a:off x="3468171" y="2997899"/>
              <a:ext cx="95751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yrau</a:t>
              </a:r>
              <a:endParaRPr lang="ru-RU" sz="10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AutoShape 2" descr="https://st2.depositphotos.com/19702458/43141/v/600/depositphotos_431411942-stock-illustration-location-point-logo-template-vector.jpg"/>
            <p:cNvSpPr>
              <a:spLocks noChangeAspect="1" noChangeArrowheads="1"/>
            </p:cNvSpPr>
            <p:nvPr/>
          </p:nvSpPr>
          <p:spPr bwMode="auto">
            <a:xfrm>
              <a:off x="600782" y="825854"/>
              <a:ext cx="304800" cy="3048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3652728" y="3186232"/>
              <a:ext cx="95751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yrau</a:t>
              </a:r>
              <a:endParaRPr lang="ru-RU" sz="10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Овал 112"/>
            <p:cNvSpPr/>
            <p:nvPr/>
          </p:nvSpPr>
          <p:spPr>
            <a:xfrm>
              <a:off x="2396042" y="5193700"/>
              <a:ext cx="1093751" cy="924760"/>
            </a:xfrm>
            <a:prstGeom prst="ellipse">
              <a:avLst/>
            </a:prstGeom>
            <a:solidFill>
              <a:srgbClr val="23A2DB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2400">
                <a:solidFill>
                  <a:prstClr val="white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4" name="Овал 113"/>
            <p:cNvSpPr/>
            <p:nvPr/>
          </p:nvSpPr>
          <p:spPr>
            <a:xfrm>
              <a:off x="559412" y="5176027"/>
              <a:ext cx="1085722" cy="960107"/>
            </a:xfrm>
            <a:prstGeom prst="ellipse">
              <a:avLst/>
            </a:prstGeom>
            <a:solidFill>
              <a:srgbClr val="23A2DB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/>
              <a:endParaRPr lang="ru-RU" sz="2400">
                <a:solidFill>
                  <a:prstClr val="white"/>
                </a:solidFill>
                <a:latin typeface="Century Gothic" panose="020B0502020202020204" pitchFamily="34" charset="0"/>
              </a:endParaRPr>
            </a:p>
          </p:txBody>
        </p:sp>
        <p:graphicFrame>
          <p:nvGraphicFramePr>
            <p:cNvPr id="116" name="Схема 115"/>
            <p:cNvGraphicFramePr/>
            <p:nvPr>
              <p:extLst>
                <p:ext uri="{D42A27DB-BD31-4B8C-83A1-F6EECF244321}">
                  <p14:modId xmlns:p14="http://schemas.microsoft.com/office/powerpoint/2010/main" xmlns="" val="3730345299"/>
                </p:ext>
              </p:extLst>
            </p:nvPr>
          </p:nvGraphicFramePr>
          <p:xfrm>
            <a:off x="-1070216" y="1105709"/>
            <a:ext cx="6324817" cy="394404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119" name="TextBox 118"/>
            <p:cNvSpPr txBox="1"/>
            <p:nvPr/>
          </p:nvSpPr>
          <p:spPr>
            <a:xfrm flipH="1">
              <a:off x="471912" y="6347811"/>
              <a:ext cx="1189160" cy="326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67733" tIns="67733" rIns="67733" bIns="67733" numCol="1" spcCol="38100" rtlCol="0" anchor="ctr">
              <a:spAutoFit/>
            </a:bodyPr>
            <a:lstStyle/>
            <a:p>
              <a:pPr algn="ctr" defTabSz="609585" hangingPunct="0">
                <a:lnSpc>
                  <a:spcPts val="933"/>
                </a:lnSpc>
                <a:spcAft>
                  <a:spcPts val="533"/>
                </a:spcAft>
                <a:defRPr sz="2500">
                  <a:solidFill>
                    <a:srgbClr val="262626"/>
                  </a:solidFill>
                  <a:latin typeface="Fira Sans Bold"/>
                  <a:ea typeface="Fira Sans Bold"/>
                  <a:cs typeface="Fira Sans Bold"/>
                  <a:sym typeface="Fira Sans Bold"/>
                </a:defRPr>
              </a:pPr>
              <a:r>
                <a:rPr lang="en-US" sz="933" b="1" dirty="0">
                  <a:solidFill>
                    <a:prstClr val="white">
                      <a:lumMod val="50000"/>
                    </a:prstClr>
                  </a:solidFill>
                  <a:latin typeface="Century Gothic" panose="020B0502020202020204" pitchFamily="34" charset="0"/>
                  <a:ea typeface="Tahoma" panose="020B0604030504040204" pitchFamily="34" charset="0"/>
                  <a:cs typeface="Arial" pitchFamily="34" charset="0"/>
                  <a:sym typeface="Fira Sans Bold"/>
                </a:rPr>
                <a:t>INFRASTRUKTURA</a:t>
              </a:r>
              <a:endParaRPr lang="ru-RU" sz="933" b="1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Fira Sans Bold"/>
              </a:endParaRPr>
            </a:p>
          </p:txBody>
        </p:sp>
        <p:sp>
          <p:nvSpPr>
            <p:cNvPr id="120" name="TextBox 119"/>
            <p:cNvSpPr txBox="1"/>
            <p:nvPr/>
          </p:nvSpPr>
          <p:spPr>
            <a:xfrm flipH="1">
              <a:off x="2118645" y="6219097"/>
              <a:ext cx="1729357" cy="63061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67733" tIns="67733" rIns="67733" bIns="67733" numCol="1" spcCol="38100" rtlCol="0" anchor="ctr">
              <a:spAutoFit/>
            </a:bodyPr>
            <a:lstStyle/>
            <a:p>
              <a:pPr algn="ctr" defTabSz="609585" hangingPunct="0">
                <a:lnSpc>
                  <a:spcPts val="933"/>
                </a:lnSpc>
                <a:spcAft>
                  <a:spcPts val="133"/>
                </a:spcAft>
                <a:defRPr sz="2500">
                  <a:solidFill>
                    <a:srgbClr val="262626"/>
                  </a:solidFill>
                  <a:latin typeface="Fira Sans Bold"/>
                  <a:ea typeface="Fira Sans Bold"/>
                  <a:cs typeface="Fira Sans Bold"/>
                  <a:sym typeface="Fira Sans Bold"/>
                </a:defRPr>
              </a:pPr>
              <a:r>
                <a:rPr lang="en-US" sz="933" b="1" dirty="0">
                  <a:solidFill>
                    <a:prstClr val="white">
                      <a:lumMod val="50000"/>
                    </a:prstClr>
                  </a:solidFill>
                  <a:latin typeface="Century Gothic" panose="020B0502020202020204" pitchFamily="34" charset="0"/>
                  <a:ea typeface="Tahoma" panose="020B0604030504040204" pitchFamily="34" charset="0"/>
                  <a:cs typeface="Arial" pitchFamily="34" charset="0"/>
                  <a:sym typeface="Fira Sans Bold"/>
                </a:rPr>
                <a:t>ZJEDNODUŠENÝ POSTUP PŘI NAJÍMÁNÍ ZAHRANIČNÍ PRACOVNÍ SÍLY</a:t>
              </a:r>
            </a:p>
          </p:txBody>
        </p:sp>
        <p:pic>
          <p:nvPicPr>
            <p:cNvPr id="124" name="Picture 4" descr="C:\Users\Андрей\Desktop\88888.png"/>
            <p:cNvPicPr>
              <a:picLocks noChangeAspect="1" noChangeArrowheads="1"/>
            </p:cNvPicPr>
            <p:nvPr/>
          </p:nvPicPr>
          <p:blipFill rotWithShape="1"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67925" t="88323" r="26353" b="278"/>
            <a:stretch/>
          </p:blipFill>
          <p:spPr bwMode="auto">
            <a:xfrm flipH="1">
              <a:off x="2658963" y="5279628"/>
              <a:ext cx="542733" cy="7039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6" name="Picture 4" descr="C:\Users\Андрей\Desktop\88888.png"/>
            <p:cNvPicPr>
              <a:picLocks noChangeAspect="1" noChangeArrowheads="1"/>
            </p:cNvPicPr>
            <p:nvPr/>
          </p:nvPicPr>
          <p:blipFill rotWithShape="1"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40268" t="70124" r="52103" b="21927"/>
            <a:stretch/>
          </p:blipFill>
          <p:spPr bwMode="auto">
            <a:xfrm>
              <a:off x="188227" y="2655821"/>
              <a:ext cx="747076" cy="5445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7" name="Picture 4" descr="C:\Users\Андрей\Desktop\88888.png"/>
            <p:cNvPicPr>
              <a:picLocks noChangeAspect="1" noChangeArrowheads="1"/>
            </p:cNvPicPr>
            <p:nvPr/>
          </p:nvPicPr>
          <p:blipFill rotWithShape="1">
            <a:blip r:embed="rId10" cstate="print"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51903" t="70124" r="39132" b="22199"/>
            <a:stretch/>
          </p:blipFill>
          <p:spPr bwMode="auto">
            <a:xfrm>
              <a:off x="1650693" y="1164720"/>
              <a:ext cx="806856" cy="4833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0" name="Picture 4" descr="C:\Users\Андрей\Desktop\88888.pn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66209" t="70124" r="26925" b="19373"/>
            <a:stretch/>
          </p:blipFill>
          <p:spPr bwMode="auto">
            <a:xfrm>
              <a:off x="3324512" y="2636802"/>
              <a:ext cx="628004" cy="6720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" name="Picture 4" descr="C:\Users\Андрей\Desktop\88888.png"/>
            <p:cNvPicPr>
              <a:picLocks noChangeAspect="1" noChangeArrowheads="1"/>
            </p:cNvPicPr>
            <p:nvPr/>
          </p:nvPicPr>
          <p:blipFill rotWithShape="1">
            <a:blip r:embed="rId12" cstate="print"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79179" t="68732" r="14640" b="22199"/>
            <a:stretch/>
          </p:blipFill>
          <p:spPr bwMode="auto">
            <a:xfrm>
              <a:off x="1781258" y="4006016"/>
              <a:ext cx="614785" cy="631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7" name="Picture 2" descr="C:\Users\Андрей\Desktop\782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9167" y="5303036"/>
              <a:ext cx="768085" cy="7211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6" name="Группа 225"/>
          <p:cNvGrpSpPr/>
          <p:nvPr/>
        </p:nvGrpSpPr>
        <p:grpSpPr>
          <a:xfrm>
            <a:off x="9466277" y="3879159"/>
            <a:ext cx="1002591" cy="270512"/>
            <a:chOff x="5569147" y="4189399"/>
            <a:chExt cx="1136411" cy="279466"/>
          </a:xfrm>
        </p:grpSpPr>
        <p:sp>
          <p:nvSpPr>
            <p:cNvPr id="227" name="TextBox 226"/>
            <p:cNvSpPr txBox="1"/>
            <p:nvPr/>
          </p:nvSpPr>
          <p:spPr>
            <a:xfrm>
              <a:off x="5569147" y="4227578"/>
              <a:ext cx="1136411" cy="222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b="1" i="1" dirty="0">
                  <a:solidFill>
                    <a:schemeClr val="accent5">
                      <a:lumMod val="75000"/>
                    </a:schemeClr>
                  </a:solidFill>
                </a:rPr>
                <a:t>SEZ 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«</a:t>
              </a:r>
              <a:r>
                <a:rPr lang="en-US" sz="800" b="1" i="1" dirty="0" err="1">
                  <a:solidFill>
                    <a:schemeClr val="accent5">
                      <a:lumMod val="75000"/>
                    </a:schemeClr>
                  </a:solidFill>
                </a:rPr>
                <a:t>Alatau</a:t>
              </a:r>
              <a:r>
                <a:rPr lang="ru-RU" sz="800" b="1" i="1" dirty="0">
                  <a:solidFill>
                    <a:schemeClr val="accent5">
                      <a:lumMod val="75000"/>
                    </a:schemeClr>
                  </a:solidFill>
                </a:rPr>
                <a:t>»</a:t>
              </a:r>
              <a:endParaRPr lang="en-US" sz="800" b="1" i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228" name="Скругленный прямоугольник 227"/>
            <p:cNvSpPr/>
            <p:nvPr/>
          </p:nvSpPr>
          <p:spPr>
            <a:xfrm>
              <a:off x="5621694" y="4189399"/>
              <a:ext cx="1004320" cy="279466"/>
            </a:xfrm>
            <a:prstGeom prst="roundRect">
              <a:avLst/>
            </a:prstGeom>
            <a:noFill/>
            <a:ln w="6350">
              <a:solidFill>
                <a:schemeClr val="accent4">
                  <a:lumMod val="75000"/>
                </a:schemeClr>
              </a:solidFill>
              <a:prstDash val="sysDot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29" name="Блок-схема: узел 228"/>
          <p:cNvSpPr/>
          <p:nvPr/>
        </p:nvSpPr>
        <p:spPr>
          <a:xfrm flipH="1">
            <a:off x="10260370" y="4379665"/>
            <a:ext cx="55686" cy="51201"/>
          </a:xfrm>
          <a:prstGeom prst="flowChartConnector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31" name="Прямая со стрелкой 230"/>
          <p:cNvCxnSpPr>
            <a:stCxn id="229" idx="7"/>
          </p:cNvCxnSpPr>
          <p:nvPr/>
        </p:nvCxnSpPr>
        <p:spPr>
          <a:xfrm flipH="1" flipV="1">
            <a:off x="10051749" y="4093271"/>
            <a:ext cx="216776" cy="293892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299735" y="62752"/>
            <a:ext cx="524053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ln>
                  <a:solidFill>
                    <a:schemeClr val="tx1">
                      <a:alpha val="16000"/>
                    </a:schemeClr>
                  </a:solidFill>
                </a:ln>
                <a:solidFill>
                  <a:srgbClr val="47BAF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KOMPLEXNÍ STÁTNÍ PODPORA</a:t>
            </a:r>
            <a:endParaRPr lang="ru-RU" sz="2800" b="1" dirty="0">
              <a:ln>
                <a:solidFill>
                  <a:schemeClr val="tx1">
                    <a:alpha val="16000"/>
                  </a:schemeClr>
                </a:solidFill>
              </a:ln>
              <a:solidFill>
                <a:srgbClr val="47BAF1"/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  <p:cxnSp>
        <p:nvCxnSpPr>
          <p:cNvPr id="233" name="Прямая соединительная линия 232"/>
          <p:cNvCxnSpPr/>
          <p:nvPr/>
        </p:nvCxnSpPr>
        <p:spPr>
          <a:xfrm>
            <a:off x="4923342" y="913481"/>
            <a:ext cx="92538" cy="5827883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" name="TextBox 238"/>
          <p:cNvSpPr txBox="1"/>
          <p:nvPr/>
        </p:nvSpPr>
        <p:spPr>
          <a:xfrm>
            <a:off x="8491165" y="4679790"/>
            <a:ext cx="8088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i="1" dirty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Turkistan</a:t>
            </a:r>
            <a:endParaRPr lang="ru-RU" sz="1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0" name="TextBox 239"/>
          <p:cNvSpPr txBox="1"/>
          <p:nvPr/>
        </p:nvSpPr>
        <p:spPr>
          <a:xfrm>
            <a:off x="10751255" y="2730348"/>
            <a:ext cx="9694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i="1" dirty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East- Kazakhstan</a:t>
            </a:r>
            <a:endParaRPr lang="ru-RU" sz="1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1" name="TextBox 240"/>
          <p:cNvSpPr txBox="1"/>
          <p:nvPr/>
        </p:nvSpPr>
        <p:spPr>
          <a:xfrm>
            <a:off x="8284890" y="3451969"/>
            <a:ext cx="9694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i="1" dirty="0" err="1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Ulytau</a:t>
            </a:r>
            <a:endParaRPr lang="ru-RU" sz="1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2" name="TextBox 241"/>
          <p:cNvSpPr txBox="1"/>
          <p:nvPr/>
        </p:nvSpPr>
        <p:spPr>
          <a:xfrm>
            <a:off x="7656111" y="4099921"/>
            <a:ext cx="9427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yzylorda</a:t>
            </a:r>
            <a:endParaRPr lang="ru-RU" sz="1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3" name="TextBox 242"/>
          <p:cNvSpPr txBox="1"/>
          <p:nvPr/>
        </p:nvSpPr>
        <p:spPr>
          <a:xfrm>
            <a:off x="9523525" y="2288777"/>
            <a:ext cx="9694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i="1" dirty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Pavlodar</a:t>
            </a:r>
            <a:endParaRPr lang="ru-RU" sz="1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4" name="TextBox 243"/>
          <p:cNvSpPr txBox="1"/>
          <p:nvPr/>
        </p:nvSpPr>
        <p:spPr>
          <a:xfrm>
            <a:off x="8369321" y="1994981"/>
            <a:ext cx="9694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i="1" dirty="0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North-Kazakhstan</a:t>
            </a:r>
            <a:endParaRPr lang="ru-RU" sz="1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5" name="TextBox 244"/>
          <p:cNvSpPr txBox="1"/>
          <p:nvPr/>
        </p:nvSpPr>
        <p:spPr>
          <a:xfrm>
            <a:off x="5978390" y="4138281"/>
            <a:ext cx="9694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i="1" dirty="0" err="1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Mangystau</a:t>
            </a:r>
            <a:endParaRPr lang="ru-RU" sz="1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TextBox 245"/>
          <p:cNvSpPr txBox="1"/>
          <p:nvPr/>
        </p:nvSpPr>
        <p:spPr>
          <a:xfrm>
            <a:off x="6162932" y="3401087"/>
            <a:ext cx="9694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i="1" dirty="0" err="1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Atyrau</a:t>
            </a:r>
            <a:endParaRPr lang="ru-RU" sz="1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7" name="TextBox 246"/>
          <p:cNvSpPr txBox="1"/>
          <p:nvPr/>
        </p:nvSpPr>
        <p:spPr>
          <a:xfrm>
            <a:off x="7035195" y="3239959"/>
            <a:ext cx="96946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 i="1" dirty="0" err="1">
                <a:solidFill>
                  <a:schemeClr val="bg1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Aktobe</a:t>
            </a:r>
            <a:endParaRPr lang="ru-RU" sz="1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8" name="TextBox 247"/>
          <p:cNvSpPr txBox="1"/>
          <p:nvPr/>
        </p:nvSpPr>
        <p:spPr>
          <a:xfrm>
            <a:off x="8385636" y="2709989"/>
            <a:ext cx="6602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mola</a:t>
            </a:r>
            <a:endParaRPr lang="ru-RU" sz="10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object 153"/>
          <p:cNvSpPr txBox="1"/>
          <p:nvPr/>
        </p:nvSpPr>
        <p:spPr>
          <a:xfrm>
            <a:off x="5935925" y="2742305"/>
            <a:ext cx="663575" cy="302260"/>
          </a:xfrm>
          <a:prstGeom prst="rect">
            <a:avLst/>
          </a:prstGeom>
        </p:spPr>
        <p:txBody>
          <a:bodyPr vert="horz" wrap="square" lIns="0" tIns="146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5"/>
              </a:spcBef>
            </a:pPr>
            <a:r>
              <a:rPr sz="900" b="1" i="1" spc="-10" dirty="0">
                <a:solidFill>
                  <a:srgbClr val="FFFFFF"/>
                </a:solidFill>
                <a:latin typeface="Arial"/>
                <a:cs typeface="Arial"/>
              </a:rPr>
              <a:t>West-</a:t>
            </a:r>
            <a:endParaRPr sz="900" dirty="0">
              <a:latin typeface="Arial"/>
              <a:cs typeface="Arial"/>
            </a:endParaRPr>
          </a:p>
          <a:p>
            <a:pPr marL="12700">
              <a:lnSpc>
                <a:spcPct val="100000"/>
              </a:lnSpc>
            </a:pPr>
            <a:r>
              <a:rPr sz="900" b="1" i="1" spc="-10" dirty="0">
                <a:solidFill>
                  <a:srgbClr val="FFFFFF"/>
                </a:solidFill>
                <a:latin typeface="Arial"/>
                <a:cs typeface="Arial"/>
              </a:rPr>
              <a:t>Kazakhstan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137" name="object 152"/>
          <p:cNvSpPr txBox="1"/>
          <p:nvPr/>
        </p:nvSpPr>
        <p:spPr>
          <a:xfrm>
            <a:off x="8981692" y="2595521"/>
            <a:ext cx="407034" cy="164465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900" b="1" i="1" u="sng" spc="-10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  <a:cs typeface="Arial"/>
              </a:rPr>
              <a:t>Astana</a:t>
            </a:r>
            <a:endParaRPr sz="900" dirty="0">
              <a:latin typeface="Arial"/>
              <a:cs typeface="Arial"/>
            </a:endParaRPr>
          </a:p>
        </p:txBody>
      </p:sp>
      <p:sp>
        <p:nvSpPr>
          <p:cNvPr id="203" name="object 154"/>
          <p:cNvSpPr txBox="1"/>
          <p:nvPr/>
        </p:nvSpPr>
        <p:spPr>
          <a:xfrm>
            <a:off x="9138036" y="4456227"/>
            <a:ext cx="551815" cy="1790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000" b="1" i="1" spc="-10" dirty="0">
                <a:solidFill>
                  <a:srgbClr val="FFFFFF"/>
                </a:solidFill>
                <a:latin typeface="Arial"/>
                <a:cs typeface="Arial"/>
              </a:rPr>
              <a:t>Zhambyl</a:t>
            </a:r>
            <a:endParaRPr sz="1000" dirty="0">
              <a:latin typeface="Arial"/>
              <a:cs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461478" y="6191978"/>
            <a:ext cx="2382734" cy="5283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lnSpc>
                <a:spcPts val="1733"/>
              </a:lnSpc>
            </a:pPr>
            <a:r>
              <a:rPr lang="en-US" sz="1500" b="1" i="1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</a:rPr>
              <a:t>more at: </a:t>
            </a:r>
            <a:r>
              <a:rPr lang="ru-RU" sz="1500" b="1" i="1" dirty="0">
                <a:solidFill>
                  <a:prstClr val="white">
                    <a:lumMod val="50000"/>
                  </a:prst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</a:rPr>
              <a:t>sez.qazindustry.gov.kz</a:t>
            </a:r>
          </a:p>
        </p:txBody>
      </p:sp>
    </p:spTree>
    <p:extLst>
      <p:ext uri="{BB962C8B-B14F-4D97-AF65-F5344CB8AC3E}">
        <p14:creationId xmlns:p14="http://schemas.microsoft.com/office/powerpoint/2010/main" xmlns="" val="12134136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Прямоугольник 52"/>
          <p:cNvSpPr/>
          <p:nvPr/>
        </p:nvSpPr>
        <p:spPr>
          <a:xfrm>
            <a:off x="386213" y="5428113"/>
            <a:ext cx="2216890" cy="824089"/>
          </a:xfrm>
          <a:prstGeom prst="rect">
            <a:avLst/>
          </a:prstGeom>
          <a:solidFill>
            <a:srgbClr val="EDF6F9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rgbClr val="FBDD76"/>
            </a:outerShdw>
          </a:effectLst>
        </p:spPr>
        <p:txBody>
          <a:bodyPr anchor="ctr"/>
          <a:lstStyle/>
          <a:p>
            <a:pPr algn="ctr"/>
            <a:endParaRPr lang="ru-RU" sz="1100">
              <a:solidFill>
                <a:schemeClr val="tx1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32910" y="3402612"/>
            <a:ext cx="2164411" cy="824089"/>
          </a:xfrm>
          <a:prstGeom prst="rect">
            <a:avLst/>
          </a:prstGeom>
          <a:solidFill>
            <a:srgbClr val="EDF6F9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rgbClr val="FBDD76"/>
            </a:outerShdw>
          </a:effectLst>
        </p:spPr>
        <p:txBody>
          <a:bodyPr anchor="ctr"/>
          <a:lstStyle/>
          <a:p>
            <a:pPr algn="ctr"/>
            <a:endParaRPr lang="ru-RU" sz="110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386213" y="1460897"/>
            <a:ext cx="2216890" cy="824089"/>
          </a:xfrm>
          <a:prstGeom prst="rect">
            <a:avLst/>
          </a:prstGeom>
          <a:solidFill>
            <a:srgbClr val="EDF6F9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rgbClr val="FBDD76"/>
            </a:outerShdw>
          </a:effectLst>
        </p:spPr>
        <p:txBody>
          <a:bodyPr anchor="ctr"/>
          <a:lstStyle/>
          <a:p>
            <a:pPr algn="ctr"/>
            <a:endParaRPr lang="ru-RU" sz="1100">
              <a:solidFill>
                <a:schemeClr val="tx1"/>
              </a:solidFill>
            </a:endParaRPr>
          </a:p>
        </p:txBody>
      </p:sp>
      <p:sp>
        <p:nvSpPr>
          <p:cNvPr id="50" name="Rectangle 28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143672" y="4959386"/>
            <a:ext cx="8818182" cy="1628793"/>
          </a:xfrm>
          <a:prstGeom prst="roundRect">
            <a:avLst>
              <a:gd name="adj" fmla="val 0"/>
            </a:avLst>
          </a:prstGeom>
          <a:solidFill>
            <a:srgbClr val="EDF6F9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rgbClr val="FBDD76"/>
            </a:outerShdw>
          </a:effectLst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49" name="Rectangle 28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143672" y="3006061"/>
            <a:ext cx="8818182" cy="1628793"/>
          </a:xfrm>
          <a:prstGeom prst="roundRect">
            <a:avLst>
              <a:gd name="adj" fmla="val 0"/>
            </a:avLst>
          </a:prstGeom>
          <a:solidFill>
            <a:srgbClr val="EDF6F9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rgbClr val="FBDD76"/>
            </a:outerShdw>
          </a:effectLst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46" name="Rectangle 28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143672" y="1052736"/>
            <a:ext cx="8818182" cy="1628793"/>
          </a:xfrm>
          <a:prstGeom prst="roundRect">
            <a:avLst>
              <a:gd name="adj" fmla="val 0"/>
            </a:avLst>
          </a:prstGeom>
          <a:solidFill>
            <a:srgbClr val="EDF6F9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rgbClr val="FBDD76"/>
            </a:outerShdw>
          </a:effectLst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4822" b="18028"/>
          <a:stretch/>
        </p:blipFill>
        <p:spPr>
          <a:xfrm>
            <a:off x="3719736" y="3231094"/>
            <a:ext cx="1478314" cy="516298"/>
          </a:xfrm>
          <a:prstGeom prst="rect">
            <a:avLst/>
          </a:prstGeom>
        </p:spPr>
      </p:pic>
      <p:pic>
        <p:nvPicPr>
          <p:cNvPr id="9" name="object 2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731977" y="1223090"/>
            <a:ext cx="1289402" cy="644702"/>
          </a:xfrm>
          <a:prstGeom prst="rect">
            <a:avLst/>
          </a:prstGeom>
        </p:spPr>
      </p:pic>
      <p:sp>
        <p:nvSpPr>
          <p:cNvPr id="20" name="object 14"/>
          <p:cNvSpPr txBox="1"/>
          <p:nvPr/>
        </p:nvSpPr>
        <p:spPr>
          <a:xfrm>
            <a:off x="366695" y="1572823"/>
            <a:ext cx="2212756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en-US" sz="2000" b="1" kern="0" spc="-105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APITÁLOVÉ FINANCOVÁNÍ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585600" y="1401977"/>
            <a:ext cx="1302488" cy="494538"/>
          </a:xfrm>
          <a:prstGeom prst="rect">
            <a:avLst/>
          </a:prstGeom>
        </p:spPr>
      </p:pic>
      <p:sp>
        <p:nvSpPr>
          <p:cNvPr id="24" name="object 16"/>
          <p:cNvSpPr txBox="1"/>
          <p:nvPr/>
        </p:nvSpPr>
        <p:spPr>
          <a:xfrm>
            <a:off x="301876" y="3515501"/>
            <a:ext cx="2333969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spcBef>
                <a:spcPts val="100"/>
              </a:spcBef>
            </a:pPr>
            <a:r>
              <a:rPr lang="en-US" sz="2000" b="1" kern="0" spc="-105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LUHOVÉ FINANCOVÁNÍ</a:t>
            </a:r>
          </a:p>
        </p:txBody>
      </p:sp>
      <p:sp>
        <p:nvSpPr>
          <p:cNvPr id="36" name="object 16"/>
          <p:cNvSpPr txBox="1"/>
          <p:nvPr/>
        </p:nvSpPr>
        <p:spPr>
          <a:xfrm>
            <a:off x="263352" y="5479950"/>
            <a:ext cx="2209150" cy="6412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spcBef>
                <a:spcPts val="100"/>
              </a:spcBef>
            </a:pPr>
            <a:r>
              <a:rPr lang="en-US" sz="2000" b="1" kern="0" spc="-105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OZVOJ</a:t>
            </a:r>
          </a:p>
          <a:p>
            <a:pPr algn="ctr">
              <a:spcBef>
                <a:spcPts val="100"/>
              </a:spcBef>
            </a:pPr>
            <a:r>
              <a:rPr lang="en-US" sz="2000" b="1" kern="0" spc="-105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STITUC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372843" y="2009039"/>
            <a:ext cx="20838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/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Investiční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období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-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až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7 let s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příspěvkem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až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49 % (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až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150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milionů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$)</a:t>
            </a:r>
            <a:endParaRPr lang="ru-RU" sz="1100" b="1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456645" y="2002366"/>
            <a:ext cx="17194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Doba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leasingu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–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až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10 let,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sazba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– 8 %</a:t>
            </a:r>
            <a:endParaRPr lang="ru-RU" sz="1100" b="1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052813" y="2003798"/>
            <a:ext cx="24993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algn="ctr"/>
            <a:r>
              <a:rPr lang="pl-PL" dirty="0"/>
              <a:t>Doba leasingu – až 20 let,</a:t>
            </a:r>
            <a:endParaRPr lang="en-US" dirty="0"/>
          </a:p>
          <a:p>
            <a:pPr algn="ctr"/>
            <a:r>
              <a:rPr lang="pl-PL" dirty="0"/>
              <a:t>limit 20 % z ceny projektu</a:t>
            </a:r>
            <a:endParaRPr lang="ru-RU" dirty="0"/>
          </a:p>
        </p:txBody>
      </p:sp>
      <p:pic>
        <p:nvPicPr>
          <p:cNvPr id="1038" name="Picture 14" descr="Asentus Logo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51674" y="1248443"/>
            <a:ext cx="808622" cy="645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/>
          <p:cNvSpPr txBox="1"/>
          <p:nvPr/>
        </p:nvSpPr>
        <p:spPr>
          <a:xfrm>
            <a:off x="3392052" y="3888639"/>
            <a:ext cx="223605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Výše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vlastní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spoluúčasti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je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minimálně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29 %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nákladů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projektu</a:t>
            </a:r>
            <a:endParaRPr lang="ru-RU" sz="1100" b="1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663952" y="3888639"/>
            <a:ext cx="176435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Doba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leasingu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–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až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20 let,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sazba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– 5 %</a:t>
            </a:r>
            <a:endParaRPr lang="ru-RU" sz="1100" b="1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788032" y="3879034"/>
            <a:ext cx="176435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Financování leasingu až na 10 let</a:t>
            </a:r>
            <a:endParaRPr lang="ru-RU" sz="1100" b="1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1042" name="Picture 18" descr="Головной офис компании | Экспортная страховая компания «KazakhExport»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80038" y="5375386"/>
            <a:ext cx="1008050" cy="449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/>
          <p:cNvSpPr txBox="1"/>
          <p:nvPr/>
        </p:nvSpPr>
        <p:spPr>
          <a:xfrm>
            <a:off x="5744961" y="6014762"/>
            <a:ext cx="1503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Exportní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pojištění</a:t>
            </a:r>
            <a:endParaRPr lang="ru-RU" sz="1100" b="1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1044" name="Picture 20" descr="О QazTrade - QazTrad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09396" y="5417362"/>
            <a:ext cx="1306652" cy="365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44"/>
          <p:cNvSpPr txBox="1"/>
          <p:nvPr/>
        </p:nvSpPr>
        <p:spPr>
          <a:xfrm>
            <a:off x="7464152" y="5877818"/>
            <a:ext cx="193186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Částečná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úhrada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vývozních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nákladů</a:t>
            </a:r>
            <a:endParaRPr lang="ru-RU" sz="1100" b="1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892156" y="3222055"/>
            <a:ext cx="1427980" cy="53437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46800" y="3214107"/>
            <a:ext cx="929520" cy="49332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2" name="TextBox 31"/>
          <p:cNvSpPr txBox="1"/>
          <p:nvPr/>
        </p:nvSpPr>
        <p:spPr>
          <a:xfrm>
            <a:off x="9404564" y="2012540"/>
            <a:ext cx="24993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Příspěvek až 35 %,</a:t>
            </a:r>
          </a:p>
          <a:p>
            <a:pPr algn="ctr"/>
            <a:r>
              <a:rPr lang="it-IT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investice mezi 10-200 miliony EUR</a:t>
            </a:r>
            <a:endParaRPr lang="ru-RU" sz="1100" b="1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AutoShape 4" descr="Аграрная кредитная корпорация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3086" name="Picture 14" descr="КазАгроФинанс присоединят к Аграрной кредитной корпорации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2416" t="33118" r="25497" b="42044"/>
          <a:stretch/>
        </p:blipFill>
        <p:spPr bwMode="auto">
          <a:xfrm>
            <a:off x="9802802" y="3222055"/>
            <a:ext cx="1632344" cy="529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/>
          <p:cNvSpPr txBox="1"/>
          <p:nvPr/>
        </p:nvSpPr>
        <p:spPr>
          <a:xfrm>
            <a:off x="9660342" y="3840448"/>
            <a:ext cx="197868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algn="ctr"/>
            <a:r>
              <a:rPr lang="en-US" dirty="0" err="1"/>
              <a:t>Finanční</a:t>
            </a:r>
            <a:r>
              <a:rPr lang="en-US" dirty="0"/>
              <a:t> </a:t>
            </a:r>
            <a:r>
              <a:rPr lang="en-US" dirty="0" err="1"/>
              <a:t>operátor</a:t>
            </a:r>
            <a:r>
              <a:rPr lang="en-US" dirty="0"/>
              <a:t> </a:t>
            </a:r>
            <a:r>
              <a:rPr lang="en-US" dirty="0" err="1"/>
              <a:t>rozvojových</a:t>
            </a:r>
            <a:r>
              <a:rPr lang="en-US" dirty="0"/>
              <a:t> </a:t>
            </a:r>
            <a:r>
              <a:rPr lang="en-US" dirty="0" err="1"/>
              <a:t>programů</a:t>
            </a:r>
            <a:r>
              <a:rPr lang="en-US" dirty="0"/>
              <a:t> </a:t>
            </a:r>
            <a:r>
              <a:rPr lang="en-US" dirty="0" err="1"/>
              <a:t>agroprůmyslového</a:t>
            </a:r>
            <a:r>
              <a:rPr lang="en-US" dirty="0"/>
              <a:t> </a:t>
            </a:r>
            <a:r>
              <a:rPr lang="en-US" dirty="0" err="1"/>
              <a:t>komplexu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896486" y="5442678"/>
            <a:ext cx="1444976" cy="208844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9480376" y="5686740"/>
            <a:ext cx="227719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100" b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pPr algn="ctr"/>
            <a:r>
              <a:rPr lang="en-US" dirty="0" err="1"/>
              <a:t>Vývoj</a:t>
            </a:r>
            <a:r>
              <a:rPr lang="en-US" dirty="0"/>
              <a:t> </a:t>
            </a:r>
            <a:r>
              <a:rPr lang="en-US" dirty="0" err="1"/>
              <a:t>odvětví</a:t>
            </a:r>
            <a:r>
              <a:rPr lang="en-US" dirty="0"/>
              <a:t> a </a:t>
            </a:r>
            <a:r>
              <a:rPr lang="en-US" dirty="0" err="1"/>
              <a:t>ekonomických</a:t>
            </a:r>
            <a:r>
              <a:rPr lang="en-US" dirty="0"/>
              <a:t> </a:t>
            </a:r>
            <a:r>
              <a:rPr lang="en-US" dirty="0" err="1"/>
              <a:t>sfér</a:t>
            </a:r>
            <a:r>
              <a:rPr lang="en-US" dirty="0"/>
              <a:t> </a:t>
            </a:r>
            <a:r>
              <a:rPr lang="en-US" dirty="0" err="1"/>
              <a:t>souvisejících</a:t>
            </a:r>
            <a:r>
              <a:rPr lang="en-US" dirty="0"/>
              <a:t> se </a:t>
            </a:r>
            <a:r>
              <a:rPr lang="en-US" dirty="0" err="1"/>
              <a:t>zpracovatelským</a:t>
            </a:r>
            <a:r>
              <a:rPr lang="en-US" dirty="0"/>
              <a:t> </a:t>
            </a:r>
            <a:r>
              <a:rPr lang="en-US" dirty="0" err="1"/>
              <a:t>průmyslem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 flipH="1">
            <a:off x="351343" y="1444701"/>
            <a:ext cx="45720" cy="82961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547586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50" name="Picture 2" descr="European Bank for Reconstruction and Development (EBRD) | Green Climate Fund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062350" y="1259370"/>
            <a:ext cx="1279112" cy="657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Прямоугольник 53"/>
          <p:cNvSpPr/>
          <p:nvPr/>
        </p:nvSpPr>
        <p:spPr>
          <a:xfrm flipH="1">
            <a:off x="361648" y="3386954"/>
            <a:ext cx="45720" cy="82961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 54"/>
          <p:cNvSpPr/>
          <p:nvPr/>
        </p:nvSpPr>
        <p:spPr>
          <a:xfrm flipH="1">
            <a:off x="351343" y="5417362"/>
            <a:ext cx="45720" cy="82961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xmlns="" id="{D742657C-030D-4679-8F25-D351127F3F62}"/>
              </a:ext>
            </a:extLst>
          </p:cNvPr>
          <p:cNvSpPr/>
          <p:nvPr/>
        </p:nvSpPr>
        <p:spPr>
          <a:xfrm>
            <a:off x="-6" y="-8"/>
            <a:ext cx="6888094" cy="6240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  <a:defRPr/>
            </a:pPr>
            <a:r>
              <a:rPr lang="en-US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DŮVOD 5: OPATŘENÍ PODPORY</a:t>
            </a:r>
            <a:endParaRPr lang="ru-RU" sz="2400" b="1" dirty="0">
              <a:solidFill>
                <a:schemeClr val="bg1"/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4201718" y="5192075"/>
            <a:ext cx="514350" cy="51435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322711" y="5800550"/>
            <a:ext cx="218406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Národní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komora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podnikatelů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Kazachstánu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 „</a:t>
            </a:r>
            <a:r>
              <a:rPr lang="en-US" sz="11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Atameken</a:t>
            </a:r>
            <a:r>
              <a:rPr lang="en-US" sz="11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“</a:t>
            </a:r>
            <a:endParaRPr lang="ru-RU" sz="1100" b="1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117849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Группа 34"/>
          <p:cNvGrpSpPr/>
          <p:nvPr/>
        </p:nvGrpSpPr>
        <p:grpSpPr>
          <a:xfrm>
            <a:off x="191344" y="5760726"/>
            <a:ext cx="11543238" cy="1012208"/>
            <a:chOff x="2226445" y="863363"/>
            <a:chExt cx="2846297" cy="691351"/>
          </a:xfrm>
        </p:grpSpPr>
        <p:sp>
          <p:nvSpPr>
            <p:cNvPr id="37" name="Rectangle 350"/>
            <p:cNvSpPr>
              <a:spLocks/>
            </p:cNvSpPr>
            <p:nvPr/>
          </p:nvSpPr>
          <p:spPr bwMode="gray">
            <a:xfrm>
              <a:off x="2226445" y="1513151"/>
              <a:ext cx="2841304" cy="41563"/>
            </a:xfrm>
            <a:prstGeom prst="rect">
              <a:avLst/>
            </a:prstGeom>
            <a:solidFill>
              <a:srgbClr val="F9C61B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38" name="Rectangle 286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2240171" y="863439"/>
              <a:ext cx="2832571" cy="656781"/>
            </a:xfrm>
            <a:prstGeom prst="roundRect">
              <a:avLst>
                <a:gd name="adj" fmla="val 0"/>
              </a:avLst>
            </a:prstGeom>
            <a:pattFill prst="ltDnDiag">
              <a:fgClr>
                <a:srgbClr val="F9C61B">
                  <a:lumMod val="40000"/>
                  <a:lumOff val="60000"/>
                </a:srgbClr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en-US"/>
              </a:defPPr>
              <a:lvl1pPr algn="ctr">
                <a:defRPr sz="1100">
                  <a:latin typeface="+mn-lt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457200" lvl="1" indent="0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500" kern="0" dirty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  <a:cs typeface="+mn-cs"/>
              </a:endParaRPr>
            </a:p>
          </p:txBody>
        </p:sp>
        <p:sp>
          <p:nvSpPr>
            <p:cNvPr id="43" name="Rectangle 351"/>
            <p:cNvSpPr>
              <a:spLocks/>
            </p:cNvSpPr>
            <p:nvPr/>
          </p:nvSpPr>
          <p:spPr bwMode="gray">
            <a:xfrm>
              <a:off x="2240171" y="863363"/>
              <a:ext cx="2832571" cy="58137"/>
            </a:xfrm>
            <a:prstGeom prst="rect">
              <a:avLst/>
            </a:prstGeom>
            <a:solidFill>
              <a:srgbClr val="F9C61B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500" kern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+mn-cs"/>
              </a:endParaRPr>
            </a:p>
          </p:txBody>
        </p:sp>
      </p:grpSp>
      <p:sp>
        <p:nvSpPr>
          <p:cNvPr id="31" name="Rectangle 28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9326714" y="3717032"/>
            <a:ext cx="2407868" cy="18405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32" name="Rectangle 28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299692" y="3717032"/>
            <a:ext cx="2407868" cy="18405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33" name="Rectangle 28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72670" y="3717032"/>
            <a:ext cx="2407868" cy="18405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34" name="Rectangle 28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45648" y="3717032"/>
            <a:ext cx="2407868" cy="18405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30" name="Rectangle 28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9326714" y="1357528"/>
            <a:ext cx="2407868" cy="18405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29" name="Rectangle 28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299692" y="1357528"/>
            <a:ext cx="2407868" cy="18405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28" name="Rectangle 28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272670" y="1357528"/>
            <a:ext cx="2407868" cy="18405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26" name="Rectangle 286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45648" y="1357528"/>
            <a:ext cx="2407868" cy="184052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A81ABCC0-BF50-5C40-B94F-211BF683F9BC}"/>
              </a:ext>
            </a:extLst>
          </p:cNvPr>
          <p:cNvSpPr/>
          <p:nvPr/>
        </p:nvSpPr>
        <p:spPr>
          <a:xfrm>
            <a:off x="348155" y="2497157"/>
            <a:ext cx="2407868" cy="510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Agropodnikání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Arial Unicode MS" pitchFamily="34" charset="-128"/>
              <a:cs typeface="Arial" pitchFamily="34" charset="0"/>
              <a:sym typeface="Helvetica Neue Medium"/>
            </a:endParaRPr>
          </a:p>
          <a:p>
            <a:pPr marL="0" marR="0" lvl="0" indent="0" algn="ctr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009473"/>
                </a:solidFill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67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projektů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9473"/>
              </a:solidFill>
              <a:effectLst/>
              <a:uLnTx/>
              <a:uFillTx/>
              <a:latin typeface="Century Gothic" panose="020B0502020202020204" pitchFamily="34" charset="0"/>
              <a:ea typeface="Arial Unicode MS" pitchFamily="34" charset="-128"/>
              <a:cs typeface="Arial" pitchFamily="34" charset="0"/>
              <a:sym typeface="Helvetica Neue Medium"/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9DF3530C-21CC-0F41-84A8-2536B222AF94}"/>
              </a:ext>
            </a:extLst>
          </p:cNvPr>
          <p:cNvSpPr/>
          <p:nvPr/>
        </p:nvSpPr>
        <p:spPr>
          <a:xfrm>
            <a:off x="3194649" y="2497158"/>
            <a:ext cx="2623731" cy="510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Hornictví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 a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hutnictví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Arial Unicode MS" pitchFamily="34" charset="-128"/>
              <a:cs typeface="Arial" pitchFamily="34" charset="0"/>
              <a:sym typeface="Helvetica Neue Medium"/>
            </a:endParaRPr>
          </a:p>
          <a:p>
            <a:pPr marL="0" marR="0" lvl="0" indent="0" algn="ctr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4</a:t>
            </a:r>
            <a:r>
              <a:rPr lang="en-US" sz="1600" b="1" dirty="0">
                <a:solidFill>
                  <a:srgbClr val="009473"/>
                </a:solidFill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8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projektů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9473"/>
              </a:solidFill>
              <a:effectLst/>
              <a:uLnTx/>
              <a:uFillTx/>
              <a:latin typeface="Century Gothic" panose="020B0502020202020204" pitchFamily="34" charset="0"/>
              <a:ea typeface="Arial Unicode MS" pitchFamily="34" charset="-128"/>
              <a:cs typeface="Arial" pitchFamily="34" charset="0"/>
              <a:sym typeface="Helvetica Neue Medium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58BF4142-7AA0-4018-9EFD-40547B3B9216}"/>
              </a:ext>
            </a:extLst>
          </p:cNvPr>
          <p:cNvSpPr/>
          <p:nvPr/>
        </p:nvSpPr>
        <p:spPr>
          <a:xfrm>
            <a:off x="273244" y="4840178"/>
            <a:ext cx="2352676" cy="510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Strojní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výroba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Arial Unicode MS" pitchFamily="34" charset="-128"/>
              <a:cs typeface="Arial" pitchFamily="34" charset="0"/>
              <a:sym typeface="Helvetica Neue Medium"/>
            </a:endParaRPr>
          </a:p>
          <a:p>
            <a:pPr marL="0" marR="0" lvl="0" indent="0" algn="ctr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13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projektů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9473"/>
              </a:solidFill>
              <a:effectLst/>
              <a:uLnTx/>
              <a:uFillTx/>
              <a:latin typeface="Century Gothic" panose="020B0502020202020204" pitchFamily="34" charset="0"/>
              <a:ea typeface="Arial Unicode MS" pitchFamily="34" charset="-128"/>
              <a:cs typeface="Arial" pitchFamily="34" charset="0"/>
              <a:sym typeface="Helvetica Neue Medium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xmlns="" id="{C4E507C5-B2B6-4B6A-B81A-0C484A7AE47E}"/>
              </a:ext>
            </a:extLst>
          </p:cNvPr>
          <p:cNvSpPr/>
          <p:nvPr/>
        </p:nvSpPr>
        <p:spPr>
          <a:xfrm>
            <a:off x="6215871" y="2477853"/>
            <a:ext cx="2575509" cy="7201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Chemický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 a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petrochemický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průmysl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Arial Unicode MS" pitchFamily="34" charset="-128"/>
              <a:cs typeface="Arial" pitchFamily="34" charset="0"/>
              <a:sym typeface="Helvetica Neue Medium"/>
            </a:endParaRPr>
          </a:p>
          <a:p>
            <a:pPr marL="0" marR="0" lvl="0" indent="0" algn="ctr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009473"/>
                </a:solidFill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24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projektů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9473"/>
              </a:solidFill>
              <a:effectLst/>
              <a:uLnTx/>
              <a:uFillTx/>
              <a:latin typeface="Century Gothic" panose="020B0502020202020204" pitchFamily="34" charset="0"/>
              <a:ea typeface="Arial Unicode MS" pitchFamily="34" charset="-128"/>
              <a:cs typeface="Arial" pitchFamily="34" charset="0"/>
              <a:sym typeface="Helvetica Neue Medium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CAC23456-AAE9-4110-9E31-035732A3038F}"/>
              </a:ext>
            </a:extLst>
          </p:cNvPr>
          <p:cNvSpPr/>
          <p:nvPr/>
        </p:nvSpPr>
        <p:spPr>
          <a:xfrm>
            <a:off x="3064262" y="4841893"/>
            <a:ext cx="2824683" cy="510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Konstrukční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materiály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Arial Unicode MS" pitchFamily="34" charset="-128"/>
              <a:cs typeface="Arial" pitchFamily="34" charset="0"/>
              <a:sym typeface="Helvetica Neue Medium"/>
            </a:endParaRPr>
          </a:p>
          <a:p>
            <a:pPr marL="0" marR="0" lvl="0" indent="0" algn="ctr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9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projektů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9473"/>
              </a:solidFill>
              <a:effectLst/>
              <a:uLnTx/>
              <a:uFillTx/>
              <a:latin typeface="Century Gothic" panose="020B0502020202020204" pitchFamily="34" charset="0"/>
              <a:ea typeface="Arial Unicode MS" pitchFamily="34" charset="-128"/>
              <a:cs typeface="Arial" pitchFamily="34" charset="0"/>
              <a:sym typeface="Helvetica Neue Medium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419FE1AF-9A96-4129-8614-48C9FD7CA58F}"/>
              </a:ext>
            </a:extLst>
          </p:cNvPr>
          <p:cNvSpPr/>
          <p:nvPr/>
        </p:nvSpPr>
        <p:spPr>
          <a:xfrm>
            <a:off x="6486795" y="4835331"/>
            <a:ext cx="1937137" cy="510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Cestovní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ruch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Arial Unicode MS" pitchFamily="34" charset="-128"/>
              <a:cs typeface="Arial" pitchFamily="34" charset="0"/>
              <a:sym typeface="Helvetica Neue Medium"/>
            </a:endParaRPr>
          </a:p>
          <a:p>
            <a:pPr marL="0" marR="0" lvl="0" indent="0" algn="ctr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009473"/>
                </a:solidFill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9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projektů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9473"/>
              </a:solidFill>
              <a:effectLst/>
              <a:uLnTx/>
              <a:uFillTx/>
              <a:latin typeface="Century Gothic" panose="020B0502020202020204" pitchFamily="34" charset="0"/>
              <a:ea typeface="Arial Unicode MS" pitchFamily="34" charset="-128"/>
              <a:cs typeface="Arial" pitchFamily="34" charset="0"/>
              <a:sym typeface="Helvetica Neue Medium"/>
            </a:endParaRPr>
          </a:p>
        </p:txBody>
      </p:sp>
      <p:pic>
        <p:nvPicPr>
          <p:cNvPr id="60" name="Picture 2" descr="C:\Users\Андрей\Desktop\88888.p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7314" t="-274" r="53133" b="85483"/>
          <a:stretch/>
        </p:blipFill>
        <p:spPr bwMode="auto">
          <a:xfrm>
            <a:off x="783442" y="1112548"/>
            <a:ext cx="1352118" cy="1464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" descr="C:\Users\Андрей\Desktop\88888.pn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007" t="3164" r="40141" b="87714"/>
          <a:stretch/>
        </p:blipFill>
        <p:spPr bwMode="auto">
          <a:xfrm>
            <a:off x="3912333" y="1445151"/>
            <a:ext cx="1082172" cy="1007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" descr="C:\Users\Андрей\Desktop\88888.png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7085" t="3015" r="26239" b="87831"/>
          <a:stretch/>
        </p:blipFill>
        <p:spPr bwMode="auto">
          <a:xfrm>
            <a:off x="7164299" y="1520548"/>
            <a:ext cx="875918" cy="840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C:\Users\Андрей\Desktop\88888.png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3979" t="2736" b="87830"/>
          <a:stretch/>
        </p:blipFill>
        <p:spPr bwMode="auto">
          <a:xfrm>
            <a:off x="7079333" y="3841403"/>
            <a:ext cx="752062" cy="824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" descr="C:\Users\Андрей\Desktop\534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0614" y="3841403"/>
            <a:ext cx="1010961" cy="861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" descr="C:\Users\Андрей\Desktop\Безымянный-1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180430" y="1526623"/>
            <a:ext cx="844006" cy="861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xmlns="" id="{C4E507C5-B2B6-4B6A-B81A-0C484A7AE47E}"/>
              </a:ext>
            </a:extLst>
          </p:cNvPr>
          <p:cNvSpPr/>
          <p:nvPr/>
        </p:nvSpPr>
        <p:spPr>
          <a:xfrm>
            <a:off x="9215859" y="2497331"/>
            <a:ext cx="2575509" cy="7201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Zdravotnictví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 a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farmaci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Arial Unicode MS" pitchFamily="34" charset="-128"/>
              <a:cs typeface="Arial" pitchFamily="34" charset="0"/>
              <a:sym typeface="Helvetica Neue Medium"/>
            </a:endParaRPr>
          </a:p>
          <a:p>
            <a:pPr marL="0" marR="0" lvl="0" indent="0" algn="ctr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1</a:t>
            </a:r>
            <a:r>
              <a:rPr lang="en-US" sz="1600" b="1" dirty="0">
                <a:solidFill>
                  <a:srgbClr val="009473"/>
                </a:solidFill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4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projektů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9473"/>
              </a:solidFill>
              <a:effectLst/>
              <a:uLnTx/>
              <a:uFillTx/>
              <a:latin typeface="Century Gothic" panose="020B0502020202020204" pitchFamily="34" charset="0"/>
              <a:ea typeface="Arial Unicode MS" pitchFamily="34" charset="-128"/>
              <a:cs typeface="Arial" pitchFamily="34" charset="0"/>
              <a:sym typeface="Helvetica Neue Medium"/>
            </a:endParaRPr>
          </a:p>
        </p:txBody>
      </p:sp>
      <p:pic>
        <p:nvPicPr>
          <p:cNvPr id="68" name="Picture 2" descr="C:\Users\Андрей\Desktop\88888.png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3510" t="24768" r="-1120" b="66855"/>
          <a:stretch/>
        </p:blipFill>
        <p:spPr bwMode="auto">
          <a:xfrm>
            <a:off x="10062985" y="3872038"/>
            <a:ext cx="1078896" cy="830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xmlns="" id="{58BF4142-7AA0-4018-9EFD-40547B3B9216}"/>
              </a:ext>
            </a:extLst>
          </p:cNvPr>
          <p:cNvSpPr/>
          <p:nvPr/>
        </p:nvSpPr>
        <p:spPr>
          <a:xfrm>
            <a:off x="9381906" y="4841892"/>
            <a:ext cx="2352676" cy="510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Ostatní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Arial Unicode MS" pitchFamily="34" charset="-128"/>
              <a:cs typeface="Arial" pitchFamily="34" charset="0"/>
              <a:sym typeface="Helvetica Neue Medium"/>
            </a:endParaRPr>
          </a:p>
          <a:p>
            <a:pPr marL="0" marR="0" lvl="0" indent="0" algn="ctr" defTabSz="121917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2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3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projektů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9473"/>
                </a:solidFill>
                <a:effectLst/>
                <a:uLnTx/>
                <a:uFillTx/>
                <a:latin typeface="Century Gothic" panose="020B0502020202020204" pitchFamily="34" charset="0"/>
                <a:ea typeface="Arial Unicode MS" pitchFamily="34" charset="-128"/>
                <a:cs typeface="Arial" pitchFamily="34" charset="0"/>
                <a:sym typeface="Helvetica Neue Medium"/>
              </a:rPr>
              <a:t> 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45648" y="6026745"/>
            <a:ext cx="114686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1F5FA0"/>
                </a:solidFill>
                <a:latin typeface="Century Gothic" panose="020B0502020202020204" pitchFamily="34" charset="0"/>
                <a:ea typeface="Tahoma" pitchFamily="34" charset="0"/>
                <a:cs typeface="Arial" pitchFamily="34" charset="0"/>
              </a:rPr>
              <a:t>VÍCE NEŽ 200 INVESTIČNÍCH NÁVRHŮ OD SPOLEČNOSTI KAZAKH INVEST</a:t>
            </a:r>
            <a:endParaRPr kumimoji="0" lang="ru-RU" sz="2400" b="0" i="0" u="none" strike="noStrike" kern="0" cap="none" spc="0" normalizeH="0" baseline="0" noProof="0" dirty="0">
              <a:ln>
                <a:noFill/>
              </a:ln>
              <a:solidFill>
                <a:srgbClr val="1F5FA0"/>
              </a:solidFill>
              <a:effectLst/>
              <a:uLnTx/>
              <a:uFillTx/>
              <a:latin typeface="Century Gothic" panose="020B0502020202020204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500932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BC0DC2-9AC7-4AF2-ABC3-6798633670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8" cstate="print">
            <a:grayscl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65949" y="3922998"/>
            <a:ext cx="881130" cy="789792"/>
          </a:xfrm>
          <a:prstGeom prst="rect">
            <a:avLst/>
          </a:prstGeom>
          <a:noFill/>
        </p:spPr>
      </p:pic>
      <p:sp>
        <p:nvSpPr>
          <p:cNvPr id="4" name="Овал 3"/>
          <p:cNvSpPr/>
          <p:nvPr/>
        </p:nvSpPr>
        <p:spPr>
          <a:xfrm>
            <a:off x="4553940" y="4137092"/>
            <a:ext cx="150712" cy="165832"/>
          </a:xfrm>
          <a:prstGeom prst="ellipse">
            <a:avLst/>
          </a:prstGeom>
          <a:solidFill>
            <a:srgbClr val="45B7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D742657C-030D-4679-8F25-D351127F3F62}"/>
              </a:ext>
            </a:extLst>
          </p:cNvPr>
          <p:cNvSpPr/>
          <p:nvPr/>
        </p:nvSpPr>
        <p:spPr>
          <a:xfrm>
            <a:off x="-6" y="-8"/>
            <a:ext cx="6888094" cy="82448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  <a:defRPr/>
            </a:pPr>
            <a:r>
              <a:rPr lang="en-US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DŮVOD 6: VELKÉ PŘÍLEŽITOSTI V RŮZNÝCH ODVĚTVÍCH</a:t>
            </a:r>
            <a:endParaRPr lang="ru-RU" sz="2400" b="1" dirty="0">
              <a:solidFill>
                <a:schemeClr val="bg1"/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160937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28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495600" y="1056514"/>
            <a:ext cx="7056784" cy="722459"/>
          </a:xfrm>
          <a:prstGeom prst="roundRect">
            <a:avLst>
              <a:gd name="adj" fmla="val 0"/>
            </a:avLst>
          </a:prstGeom>
          <a:pattFill prst="ltDnDiag">
            <a:fgClr>
              <a:srgbClr val="F9C61B">
                <a:lumMod val="40000"/>
                <a:lumOff val="6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200" lvl="1" indent="0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38" name="Rectangle 351"/>
          <p:cNvSpPr>
            <a:spLocks/>
          </p:cNvSpPr>
          <p:nvPr/>
        </p:nvSpPr>
        <p:spPr bwMode="gray">
          <a:xfrm>
            <a:off x="2495600" y="980728"/>
            <a:ext cx="7056784" cy="63951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775336" y="5578077"/>
            <a:ext cx="2744600" cy="10192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spAutoFit/>
          </a:bodyPr>
          <a:lstStyle/>
          <a:p>
            <a:pPr marL="0" marR="0" lvl="0" indent="0" algn="ctr" defTabSz="5503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4BB5E8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VÝZNAMNÍ EXPERTI</a:t>
            </a:r>
          </a:p>
          <a:p>
            <a:pPr marL="0" marR="0" lvl="0" indent="0" algn="ctr" defTabSz="5503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SE ZNALOSTÍ MÍSTNÍCH PODMÍNEK A OBORU </a:t>
            </a:r>
            <a:endParaRPr kumimoji="0" lang="en-US" sz="14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Helvetica Neue Medium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807240" y="3329182"/>
            <a:ext cx="3944944" cy="8515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5503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BB5E8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JEDEN - STOP SHOP</a:t>
            </a:r>
          </a:p>
          <a:p>
            <a:pPr marL="0" marR="0" lvl="0" indent="0" algn="ctr" defTabSz="5503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PRO INVESTORY V KAZACHSTÁNU</a:t>
            </a:r>
            <a:endParaRPr kumimoji="0" lang="en-US" sz="14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799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BC0DC2-9AC7-4AF2-ABC3-6798633670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6" name="Picture 2" descr="Image result for kazakh invest logo 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558" t="-145" r="31921" b="42701"/>
          <a:stretch/>
        </p:blipFill>
        <p:spPr bwMode="auto">
          <a:xfrm>
            <a:off x="5093875" y="2205279"/>
            <a:ext cx="1371674" cy="1170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9095215" y="4149080"/>
            <a:ext cx="2833433" cy="147080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spAutoFit/>
          </a:bodyPr>
          <a:lstStyle/>
          <a:p>
            <a:pPr marL="0" marR="0" lvl="0" indent="0" algn="ctr" defTabSz="5503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all" spc="0" normalizeH="0" baseline="0" noProof="0" dirty="0" err="1">
                <a:ln>
                  <a:noFill/>
                </a:ln>
                <a:solidFill>
                  <a:srgbClr val="4BB5E8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Příprava</a:t>
            </a:r>
            <a:r>
              <a:rPr kumimoji="0" lang="en-US" sz="1467" b="1" i="0" u="none" strike="noStrike" kern="1200" cap="all" spc="0" normalizeH="0" baseline="0" noProof="0" dirty="0">
                <a:ln>
                  <a:noFill/>
                </a:ln>
                <a:solidFill>
                  <a:srgbClr val="4BB5E8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 </a:t>
            </a:r>
            <a:r>
              <a:rPr kumimoji="0" lang="en-US" sz="1467" b="1" i="0" u="none" strike="noStrike" kern="1200" cap="all" spc="0" normalizeH="0" baseline="0" noProof="0" dirty="0" err="1">
                <a:ln>
                  <a:noFill/>
                </a:ln>
                <a:solidFill>
                  <a:srgbClr val="4BB5E8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investičních</a:t>
            </a:r>
            <a:r>
              <a:rPr kumimoji="0" lang="en-US" sz="1467" b="1" i="0" u="none" strike="noStrike" kern="1200" cap="all" spc="0" normalizeH="0" baseline="0" noProof="0" dirty="0">
                <a:ln>
                  <a:noFill/>
                </a:ln>
                <a:solidFill>
                  <a:srgbClr val="4BB5E8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 </a:t>
            </a:r>
            <a:r>
              <a:rPr kumimoji="0" lang="en-US" sz="1467" b="1" i="0" u="none" strike="noStrike" kern="1200" cap="all" spc="0" normalizeH="0" baseline="0" noProof="0" dirty="0" err="1">
                <a:ln>
                  <a:noFill/>
                </a:ln>
                <a:solidFill>
                  <a:srgbClr val="4BB5E8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návrhů</a:t>
            </a:r>
            <a:r>
              <a:rPr kumimoji="0" lang="en-US" sz="1467" b="1" i="0" u="none" strike="noStrike" kern="1200" cap="all" spc="0" normalizeH="0" baseline="0" noProof="0" dirty="0">
                <a:ln>
                  <a:noFill/>
                </a:ln>
                <a:solidFill>
                  <a:srgbClr val="4BB5E8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, OBCHODNÍ MATCH-MAKING</a:t>
            </a:r>
          </a:p>
          <a:p>
            <a:pPr marL="0" marR="0" lvl="0" indent="0" algn="ctr" defTabSz="5503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PODNIKATELSKÝ PLÁN, FINANČNÍ MODEL</a:t>
            </a:r>
            <a:endParaRPr kumimoji="0" lang="ru-RU" sz="14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Helvetica Neue Medium"/>
            </a:endParaRPr>
          </a:p>
        </p:txBody>
      </p:sp>
      <p:pic>
        <p:nvPicPr>
          <p:cNvPr id="27" name="Picture 2" descr="Image result for kazakh invest logo 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558" t="-145" r="31921" b="42701"/>
          <a:stretch/>
        </p:blipFill>
        <p:spPr bwMode="auto">
          <a:xfrm>
            <a:off x="3769231" y="4867016"/>
            <a:ext cx="810254" cy="691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Image result for kazakh invest logo 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558" t="-145" r="31921" b="42701"/>
          <a:stretch/>
        </p:blipFill>
        <p:spPr bwMode="auto">
          <a:xfrm>
            <a:off x="10003445" y="3429000"/>
            <a:ext cx="810254" cy="691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254544" y="4137917"/>
            <a:ext cx="2686226" cy="10192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spAutoFit/>
          </a:bodyPr>
          <a:lstStyle/>
          <a:p>
            <a:pPr marL="0" marR="0" lvl="0" indent="0" algn="ctr" defTabSz="5503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en-US" sz="1467" b="1" dirty="0">
                <a:solidFill>
                  <a:srgbClr val="4BB5E8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KOMPLEXNÍ PODPORA</a:t>
            </a:r>
          </a:p>
          <a:p>
            <a:pPr marL="0" marR="0" lvl="0" indent="0" algn="ctr" defTabSz="5503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VE VŠECH FÁZÍCH REALIZACE PROJEKTU</a:t>
            </a:r>
            <a:endParaRPr kumimoji="0" lang="en-US" sz="14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Helvetica Neue Medium"/>
            </a:endParaRPr>
          </a:p>
        </p:txBody>
      </p:sp>
      <p:pic>
        <p:nvPicPr>
          <p:cNvPr id="30" name="Picture 2" descr="Image result for kazakh invest logo 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558" t="-145" r="31921" b="42701"/>
          <a:stretch/>
        </p:blipFill>
        <p:spPr bwMode="auto">
          <a:xfrm>
            <a:off x="1192184" y="3425478"/>
            <a:ext cx="810254" cy="691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5988684" y="5589588"/>
            <a:ext cx="3106531" cy="10192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7733" tIns="67733" rIns="67733" bIns="67733" numCol="1" spcCol="38100" rtlCol="0" anchor="ctr">
            <a:spAutoFit/>
          </a:bodyPr>
          <a:lstStyle/>
          <a:p>
            <a:pPr marL="0" marR="0" lvl="0" indent="0" algn="ctr" defTabSz="5503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srgbClr val="4BB5E8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SÍŤ ZÁSTUPCŮ</a:t>
            </a:r>
          </a:p>
          <a:p>
            <a:pPr marL="0" marR="0" lvl="0" indent="0" algn="ctr" defTabSz="5503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67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V ZAHRANIČÍ A VE VŠECH REGIONECH KAZACHSTÁNU </a:t>
            </a:r>
            <a:endParaRPr kumimoji="0" lang="ru-RU" sz="1467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Helvetica Neue Medium"/>
            </a:endParaRPr>
          </a:p>
        </p:txBody>
      </p:sp>
      <p:pic>
        <p:nvPicPr>
          <p:cNvPr id="31" name="Picture 2" descr="Image result for kazakh invest logo 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558" t="-145" r="31921" b="42701"/>
          <a:stretch/>
        </p:blipFill>
        <p:spPr bwMode="auto">
          <a:xfrm>
            <a:off x="7066358" y="4869160"/>
            <a:ext cx="810254" cy="691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179056" y="1194605"/>
            <a:ext cx="7619255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00" b="1" dirty="0">
                <a:solidFill>
                  <a:srgbClr val="4BB5E8"/>
                </a:solidFill>
                <a:latin typeface="Century Gothic" panose="020B0502020202020204" pitchFamily="34" charset="0"/>
              </a:rPr>
              <a:t>NEJLEPŠÍ INVESTIČNÍ PRŮVODCE V KAZACHSTÁNU</a:t>
            </a:r>
            <a:endParaRPr lang="ru-RU" sz="2300" b="1" dirty="0">
              <a:solidFill>
                <a:srgbClr val="4BB5E8"/>
              </a:solidFill>
              <a:latin typeface="Century Gothic" panose="020B0502020202020204" pitchFamily="34" charset="0"/>
            </a:endParaRPr>
          </a:p>
        </p:txBody>
      </p:sp>
      <p:sp>
        <p:nvSpPr>
          <p:cNvPr id="36" name="Rectangle 350"/>
          <p:cNvSpPr>
            <a:spLocks/>
          </p:cNvSpPr>
          <p:nvPr/>
        </p:nvSpPr>
        <p:spPr bwMode="gray">
          <a:xfrm>
            <a:off x="2473920" y="1764759"/>
            <a:ext cx="7078540" cy="31225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D742657C-030D-4679-8F25-D351127F3F62}"/>
              </a:ext>
            </a:extLst>
          </p:cNvPr>
          <p:cNvSpPr/>
          <p:nvPr/>
        </p:nvSpPr>
        <p:spPr>
          <a:xfrm>
            <a:off x="-6" y="-8"/>
            <a:ext cx="6888094" cy="6240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  <a:defRPr/>
            </a:pPr>
            <a:r>
              <a:rPr lang="cs-CZ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PODPORA </a:t>
            </a:r>
            <a:r>
              <a:rPr lang="en-US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KAZAKH INVEST</a:t>
            </a:r>
            <a:endParaRPr lang="ru-RU" sz="2400" b="1" dirty="0">
              <a:solidFill>
                <a:schemeClr val="bg1"/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7335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055440" y="2644170"/>
            <a:ext cx="1072919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00639" hangingPunct="0">
              <a:defRPr/>
            </a:pPr>
            <a:r>
              <a:rPr lang="en-US" sz="4800" b="1" kern="0" dirty="0">
                <a:solidFill>
                  <a:srgbClr val="00B0F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ROZVÍJEJTE </a:t>
            </a:r>
            <a:r>
              <a:rPr lang="en-US" sz="4800" kern="0" dirty="0"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SVÉ PODNIKÁNÍ</a:t>
            </a:r>
          </a:p>
          <a:p>
            <a:pPr defTabSz="1100639" hangingPunct="0">
              <a:defRPr/>
            </a:pPr>
            <a:r>
              <a:rPr lang="en-US" sz="4800" b="1" kern="0" dirty="0">
                <a:solidFill>
                  <a:srgbClr val="00B0F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         INVESTUJTE V </a:t>
            </a:r>
            <a:r>
              <a:rPr lang="en-US" sz="4800" kern="0" dirty="0"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KAZACHSTÁNU</a:t>
            </a:r>
          </a:p>
        </p:txBody>
      </p:sp>
    </p:spTree>
    <p:extLst>
      <p:ext uri="{BB962C8B-B14F-4D97-AF65-F5344CB8AC3E}">
        <p14:creationId xmlns:p14="http://schemas.microsoft.com/office/powerpoint/2010/main" xmlns="" val="13650211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tangle 350"/>
          <p:cNvSpPr>
            <a:spLocks/>
          </p:cNvSpPr>
          <p:nvPr/>
        </p:nvSpPr>
        <p:spPr bwMode="gray">
          <a:xfrm>
            <a:off x="142603" y="1456396"/>
            <a:ext cx="4777095" cy="28388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62" name="Rectangle 28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0118" y="791431"/>
            <a:ext cx="4789580" cy="656781"/>
          </a:xfrm>
          <a:prstGeom prst="roundRect">
            <a:avLst>
              <a:gd name="adj" fmla="val 0"/>
            </a:avLst>
          </a:prstGeom>
          <a:pattFill prst="ltDnDiag">
            <a:fgClr>
              <a:srgbClr val="F9C61B">
                <a:lumMod val="40000"/>
                <a:lumOff val="6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200" lvl="1" indent="0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xmlns="" id="{87A33515-2000-45F7-9C1D-8AFAEE1269DC}"/>
              </a:ext>
            </a:extLst>
          </p:cNvPr>
          <p:cNvSpPr/>
          <p:nvPr/>
        </p:nvSpPr>
        <p:spPr>
          <a:xfrm>
            <a:off x="3791744" y="3327227"/>
            <a:ext cx="841353" cy="3505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($</a:t>
            </a:r>
            <a:r>
              <a:rPr lang="ru-RU" altLang="ru-RU" sz="1100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7.7</a:t>
            </a: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B)</a:t>
            </a:r>
          </a:p>
        </p:txBody>
      </p:sp>
      <p:pic>
        <p:nvPicPr>
          <p:cNvPr id="24" name="Picture 4" descr="Round icon. Download flag icon of China at PNG format">
            <a:extLst>
              <a:ext uri="{FF2B5EF4-FFF2-40B4-BE49-F238E27FC236}">
                <a16:creationId xmlns:a16="http://schemas.microsoft.com/office/drawing/2014/main" xmlns="" id="{446EFF4C-9D09-4B25-A07F-2ED82E0960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1403" y="3746852"/>
            <a:ext cx="728985" cy="546192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0" descr="Round icon. Download flag icon of Russia at PNG format">
            <a:extLst>
              <a:ext uri="{FF2B5EF4-FFF2-40B4-BE49-F238E27FC236}">
                <a16:creationId xmlns:a16="http://schemas.microsoft.com/office/drawing/2014/main" xmlns="" id="{6DE75A90-CA12-448D-9E55-D35069C885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1950" y="4436074"/>
            <a:ext cx="727890" cy="547286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16" descr="Round icon. Download flag icon of United States of America at PNG format">
            <a:extLst>
              <a:ext uri="{FF2B5EF4-FFF2-40B4-BE49-F238E27FC236}">
                <a16:creationId xmlns:a16="http://schemas.microsoft.com/office/drawing/2014/main" xmlns="" id="{D205429C-35CE-4500-8EE0-658FB8519E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1404" y="2368404"/>
            <a:ext cx="728985" cy="546192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18" descr="Round icon. Download flag icon of Switzerland at PNG format">
            <a:extLst>
              <a:ext uri="{FF2B5EF4-FFF2-40B4-BE49-F238E27FC236}">
                <a16:creationId xmlns:a16="http://schemas.microsoft.com/office/drawing/2014/main" xmlns="" id="{2E011D2D-32CB-4F93-BD64-8E4968DD14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1403" y="3057628"/>
            <a:ext cx="728985" cy="546192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0" descr="Round icon. Download flag icon of Netherlands at PNG format">
            <a:extLst>
              <a:ext uri="{FF2B5EF4-FFF2-40B4-BE49-F238E27FC236}">
                <a16:creationId xmlns:a16="http://schemas.microsoft.com/office/drawing/2014/main" xmlns="" id="{D2ECBF1A-81C7-4C2B-9CCE-58625FD9C1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1404" y="1679181"/>
            <a:ext cx="728985" cy="546191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A6694A39-6538-4F3C-8898-5C51B8CBC430}"/>
              </a:ext>
            </a:extLst>
          </p:cNvPr>
          <p:cNvSpPr/>
          <p:nvPr/>
        </p:nvSpPr>
        <p:spPr>
          <a:xfrm>
            <a:off x="268712" y="840086"/>
            <a:ext cx="465098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TOP10 INVESTORSKÝCH ZEMÍ</a:t>
            </a:r>
          </a:p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(Za </a:t>
            </a:r>
            <a:r>
              <a:rPr kumimoji="0" lang="en-US" altLang="ru-RU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posledních</a:t>
            </a:r>
            <a:r>
              <a:rPr kumimoji="0" lang="en-US" altLang="ru-RU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</a:t>
            </a:r>
            <a:r>
              <a:rPr kumimoji="0" lang="en-US" altLang="ru-RU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deset</a:t>
            </a:r>
            <a:r>
              <a:rPr kumimoji="0" lang="en-US" altLang="ru-RU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let, 2013 - 3Q2023)</a:t>
            </a:r>
            <a:r>
              <a:rPr kumimoji="0" lang="en-US" alt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87A33515-2000-45F7-9C1D-8AFAEE1269DC}"/>
              </a:ext>
            </a:extLst>
          </p:cNvPr>
          <p:cNvSpPr/>
          <p:nvPr/>
        </p:nvSpPr>
        <p:spPr>
          <a:xfrm>
            <a:off x="972365" y="1678085"/>
            <a:ext cx="1850432" cy="496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NIZOZEMSKO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F8BFF3FE-362F-4CC5-A277-D31321B8CA9C}"/>
              </a:ext>
            </a:extLst>
          </p:cNvPr>
          <p:cNvSpPr/>
          <p:nvPr/>
        </p:nvSpPr>
        <p:spPr>
          <a:xfrm>
            <a:off x="972365" y="2325725"/>
            <a:ext cx="1850432" cy="5461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USA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CC739E05-4C90-41CB-B859-9D9062BDE14E}"/>
              </a:ext>
            </a:extLst>
          </p:cNvPr>
          <p:cNvSpPr/>
          <p:nvPr/>
        </p:nvSpPr>
        <p:spPr>
          <a:xfrm>
            <a:off x="972365" y="2981675"/>
            <a:ext cx="1850432" cy="5461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ŠVÝCARSKO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79EED578-4339-4CF5-A60E-8C2E98FC38B4}"/>
              </a:ext>
            </a:extLst>
          </p:cNvPr>
          <p:cNvSpPr/>
          <p:nvPr/>
        </p:nvSpPr>
        <p:spPr>
          <a:xfrm>
            <a:off x="975068" y="3685479"/>
            <a:ext cx="1850432" cy="4433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ČÍNA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F7AD0B5F-F9D6-4C3F-AF0B-8A7F6D8323F6}"/>
              </a:ext>
            </a:extLst>
          </p:cNvPr>
          <p:cNvSpPr/>
          <p:nvPr/>
        </p:nvSpPr>
        <p:spPr>
          <a:xfrm>
            <a:off x="976031" y="4382839"/>
            <a:ext cx="1104172" cy="4924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RUSKO</a:t>
            </a: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xmlns="" id="{87A33515-2000-45F7-9C1D-8AFAEE1269DC}"/>
              </a:ext>
            </a:extLst>
          </p:cNvPr>
          <p:cNvSpPr/>
          <p:nvPr/>
        </p:nvSpPr>
        <p:spPr>
          <a:xfrm>
            <a:off x="962356" y="1910997"/>
            <a:ext cx="1850432" cy="5461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($</a:t>
            </a:r>
            <a:r>
              <a:rPr lang="ru-RU" altLang="ru-RU" sz="1100" i="1" noProof="0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72</a:t>
            </a:r>
            <a:r>
              <a:rPr lang="ru-RU" altLang="ru-RU" sz="1100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.8</a:t>
            </a: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B)</a:t>
            </a:r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xmlns="" id="{87A33515-2000-45F7-9C1D-8AFAEE1269DC}"/>
              </a:ext>
            </a:extLst>
          </p:cNvPr>
          <p:cNvSpPr/>
          <p:nvPr/>
        </p:nvSpPr>
        <p:spPr>
          <a:xfrm>
            <a:off x="947757" y="2527999"/>
            <a:ext cx="1850432" cy="5461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($</a:t>
            </a:r>
            <a:r>
              <a:rPr lang="ru-RU" altLang="ru-RU" sz="1100" i="1" noProof="0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40</a:t>
            </a:r>
            <a:r>
              <a:rPr lang="ru-RU" altLang="ru-RU" sz="1100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.6</a:t>
            </a: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B)</a:t>
            </a: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xmlns="" id="{87A33515-2000-45F7-9C1D-8AFAEE1269DC}"/>
              </a:ext>
            </a:extLst>
          </p:cNvPr>
          <p:cNvSpPr/>
          <p:nvPr/>
        </p:nvSpPr>
        <p:spPr>
          <a:xfrm>
            <a:off x="931989" y="3204090"/>
            <a:ext cx="1850432" cy="5461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($</a:t>
            </a:r>
            <a:r>
              <a:rPr lang="ru-RU" altLang="ru-RU" sz="1100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25.7</a:t>
            </a: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B)</a:t>
            </a: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xmlns="" id="{87A33515-2000-45F7-9C1D-8AFAEE1269DC}"/>
              </a:ext>
            </a:extLst>
          </p:cNvPr>
          <p:cNvSpPr/>
          <p:nvPr/>
        </p:nvSpPr>
        <p:spPr>
          <a:xfrm>
            <a:off x="908781" y="3906446"/>
            <a:ext cx="1850432" cy="4776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</a:t>
            </a: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($</a:t>
            </a:r>
            <a:r>
              <a:rPr lang="ru-RU" altLang="ru-RU" sz="1100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15.9</a:t>
            </a: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B)</a:t>
            </a: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xmlns="" id="{87A33515-2000-45F7-9C1D-8AFAEE1269DC}"/>
              </a:ext>
            </a:extLst>
          </p:cNvPr>
          <p:cNvSpPr/>
          <p:nvPr/>
        </p:nvSpPr>
        <p:spPr>
          <a:xfrm>
            <a:off x="952594" y="4649613"/>
            <a:ext cx="1850432" cy="4306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($</a:t>
            </a:r>
            <a:r>
              <a:rPr lang="ru-RU" altLang="ru-RU" sz="1100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14.8</a:t>
            </a: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B)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3117280" y="3023640"/>
            <a:ext cx="2540989" cy="547286"/>
            <a:chOff x="2885729" y="3759677"/>
            <a:chExt cx="2540989" cy="547286"/>
          </a:xfrm>
        </p:grpSpPr>
        <p:pic>
          <p:nvPicPr>
            <p:cNvPr id="103" name="Picture 14" descr="Round icon. Download flag icon of United Kingdom at PNG format">
              <a:extLst>
                <a:ext uri="{FF2B5EF4-FFF2-40B4-BE49-F238E27FC236}">
                  <a16:creationId xmlns:a16="http://schemas.microsoft.com/office/drawing/2014/main" xmlns="" id="{B098DCC1-D4C0-445A-BF22-756F347C023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5729" y="3759677"/>
              <a:ext cx="728985" cy="5472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5" name="Прямоугольник 104">
              <a:extLst>
                <a:ext uri="{FF2B5EF4-FFF2-40B4-BE49-F238E27FC236}">
                  <a16:creationId xmlns:a16="http://schemas.microsoft.com/office/drawing/2014/main" xmlns="" id="{BE0DCC1B-3D5E-4D14-BD4D-60EE8B1208C0}"/>
                </a:ext>
              </a:extLst>
            </p:cNvPr>
            <p:cNvSpPr/>
            <p:nvPr/>
          </p:nvSpPr>
          <p:spPr>
            <a:xfrm>
              <a:off x="3576286" y="3760052"/>
              <a:ext cx="1850432" cy="5461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just" defTabSz="8255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00000"/>
                </a:buClr>
                <a:buSzPct val="150000"/>
                <a:buFontTx/>
                <a:buNone/>
                <a:tabLst/>
                <a:defRPr/>
              </a:pPr>
              <a:r>
                <a:rPr kumimoji="0" lang="en-US" alt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entury Gothic" panose="020B0502020202020204" pitchFamily="34" charset="0"/>
                  <a:ea typeface="Futura"/>
                  <a:cs typeface="Arial" panose="020B0604020202020204" pitchFamily="34" charset="0"/>
                </a:rPr>
                <a:t>UK</a:t>
              </a: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3110647" y="1655863"/>
            <a:ext cx="2531529" cy="762215"/>
            <a:chOff x="2878903" y="3734972"/>
            <a:chExt cx="2531529" cy="762215"/>
          </a:xfrm>
        </p:grpSpPr>
        <p:pic>
          <p:nvPicPr>
            <p:cNvPr id="21" name="Picture 2" descr="Round icon. Download flag icon of Belgium at PNG format">
              <a:extLst>
                <a:ext uri="{FF2B5EF4-FFF2-40B4-BE49-F238E27FC236}">
                  <a16:creationId xmlns:a16="http://schemas.microsoft.com/office/drawing/2014/main" xmlns="" id="{A543FDC8-ADD1-446F-B99A-96591CA545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8903" y="3746063"/>
              <a:ext cx="728985" cy="5472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xmlns="" id="{27229B37-96FE-4D32-A6BD-C88A190DC881}"/>
                </a:ext>
              </a:extLst>
            </p:cNvPr>
            <p:cNvSpPr/>
            <p:nvPr/>
          </p:nvSpPr>
          <p:spPr>
            <a:xfrm>
              <a:off x="3560000" y="3734972"/>
              <a:ext cx="1850432" cy="5461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just" defTabSz="8255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00000"/>
                </a:buClr>
                <a:buSzPct val="150000"/>
                <a:buFontTx/>
                <a:buNone/>
                <a:tabLst/>
                <a:defRPr/>
              </a:pPr>
              <a:r>
                <a:rPr kumimoji="0" lang="en-US" alt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entury Gothic" panose="020B0502020202020204" pitchFamily="34" charset="0"/>
                  <a:ea typeface="Futura"/>
                  <a:cs typeface="Arial" panose="020B0604020202020204" pitchFamily="34" charset="0"/>
                </a:rPr>
                <a:t>BELGIE</a:t>
              </a:r>
            </a:p>
          </p:txBody>
        </p:sp>
        <p:sp>
          <p:nvSpPr>
            <p:cNvPr id="111" name="Прямоугольник 110">
              <a:extLst>
                <a:ext uri="{FF2B5EF4-FFF2-40B4-BE49-F238E27FC236}">
                  <a16:creationId xmlns:a16="http://schemas.microsoft.com/office/drawing/2014/main" xmlns="" id="{87A33515-2000-45F7-9C1D-8AFAEE1269DC}"/>
                </a:ext>
              </a:extLst>
            </p:cNvPr>
            <p:cNvSpPr/>
            <p:nvPr/>
          </p:nvSpPr>
          <p:spPr>
            <a:xfrm>
              <a:off x="3549128" y="3950996"/>
              <a:ext cx="1850432" cy="5461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just" defTabSz="8255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00000"/>
                </a:buClr>
                <a:buSzPct val="150000"/>
                <a:buFontTx/>
                <a:buNone/>
                <a:tabLst/>
                <a:defRPr/>
              </a:pPr>
              <a:r>
                <a:rPr kumimoji="0" lang="en-US" altLang="ru-RU" sz="11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entury Gothic" panose="020B0502020202020204" pitchFamily="34" charset="0"/>
                  <a:ea typeface="Futura"/>
                  <a:cs typeface="Arial" panose="020B0604020202020204" pitchFamily="34" charset="0"/>
                </a:rPr>
                <a:t>($</a:t>
              </a:r>
              <a:r>
                <a:rPr lang="ru-RU" altLang="ru-RU" sz="1100" i="1" noProof="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entury Gothic" panose="020B0502020202020204" pitchFamily="34" charset="0"/>
                  <a:ea typeface="Futura"/>
                  <a:cs typeface="Arial" panose="020B0604020202020204" pitchFamily="34" charset="0"/>
                </a:rPr>
                <a:t>10</a:t>
              </a:r>
              <a:r>
                <a:rPr lang="ru-RU" altLang="ru-RU" sz="1100" i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Century Gothic" panose="020B0502020202020204" pitchFamily="34" charset="0"/>
                  <a:ea typeface="Futura"/>
                  <a:cs typeface="Arial" panose="020B0604020202020204" pitchFamily="34" charset="0"/>
                </a:rPr>
                <a:t>.5</a:t>
              </a:r>
              <a:r>
                <a:rPr kumimoji="0" lang="en-US" altLang="ru-RU" sz="11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entury Gothic" panose="020B0502020202020204" pitchFamily="34" charset="0"/>
                  <a:ea typeface="Futura"/>
                  <a:cs typeface="Arial" panose="020B0604020202020204" pitchFamily="34" charset="0"/>
                </a:rPr>
                <a:t> B)</a:t>
              </a:r>
            </a:p>
          </p:txBody>
        </p:sp>
      </p:grpSp>
      <p:sp>
        <p:nvSpPr>
          <p:cNvPr id="113" name="Прямоугольник 112">
            <a:extLst>
              <a:ext uri="{FF2B5EF4-FFF2-40B4-BE49-F238E27FC236}">
                <a16:creationId xmlns:a16="http://schemas.microsoft.com/office/drawing/2014/main" xmlns="" id="{38B0E201-239F-4B72-AFF4-20C612B04CCF}"/>
              </a:ext>
            </a:extLst>
          </p:cNvPr>
          <p:cNvSpPr/>
          <p:nvPr/>
        </p:nvSpPr>
        <p:spPr>
          <a:xfrm>
            <a:off x="3791744" y="3764993"/>
            <a:ext cx="1850432" cy="3465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JIŽNÍ KOREA</a:t>
            </a:r>
          </a:p>
        </p:txBody>
      </p:sp>
      <p:sp>
        <p:nvSpPr>
          <p:cNvPr id="114" name="Прямоугольник 113">
            <a:extLst>
              <a:ext uri="{FF2B5EF4-FFF2-40B4-BE49-F238E27FC236}">
                <a16:creationId xmlns:a16="http://schemas.microsoft.com/office/drawing/2014/main" xmlns="" id="{87A33515-2000-45F7-9C1D-8AFAEE1269DC}"/>
              </a:ext>
            </a:extLst>
          </p:cNvPr>
          <p:cNvSpPr/>
          <p:nvPr/>
        </p:nvSpPr>
        <p:spPr>
          <a:xfrm>
            <a:off x="3813520" y="3906446"/>
            <a:ext cx="1850432" cy="5004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($</a:t>
            </a:r>
            <a:r>
              <a:rPr kumimoji="0" lang="ru-RU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6</a:t>
            </a:r>
            <a:r>
              <a:rPr lang="ru-RU" altLang="ru-RU" sz="1100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.7</a:t>
            </a: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B)</a:t>
            </a:r>
          </a:p>
        </p:txBody>
      </p:sp>
      <p:sp>
        <p:nvSpPr>
          <p:cNvPr id="116" name="Прямоугольник 115">
            <a:extLst>
              <a:ext uri="{FF2B5EF4-FFF2-40B4-BE49-F238E27FC236}">
                <a16:creationId xmlns:a16="http://schemas.microsoft.com/office/drawing/2014/main" xmlns="" id="{87A33515-2000-45F7-9C1D-8AFAEE1269DC}"/>
              </a:ext>
            </a:extLst>
          </p:cNvPr>
          <p:cNvSpPr/>
          <p:nvPr/>
        </p:nvSpPr>
        <p:spPr>
          <a:xfrm>
            <a:off x="3802506" y="2519959"/>
            <a:ext cx="925342" cy="5461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($</a:t>
            </a:r>
            <a:r>
              <a:rPr lang="ru-RU" altLang="ru-RU" sz="1100" i="1" noProof="0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9</a:t>
            </a:r>
            <a:r>
              <a:rPr lang="ru-RU" altLang="ru-RU" sz="1100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.4</a:t>
            </a: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B)</a:t>
            </a: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412" r="15877"/>
          <a:stretch/>
        </p:blipFill>
        <p:spPr>
          <a:xfrm>
            <a:off x="3143672" y="3700926"/>
            <a:ext cx="648072" cy="641991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3164314" y="2268433"/>
            <a:ext cx="2465698" cy="613349"/>
            <a:chOff x="2948290" y="3021766"/>
            <a:chExt cx="2465698" cy="613349"/>
          </a:xfrm>
        </p:grpSpPr>
        <p:sp>
          <p:nvSpPr>
            <p:cNvPr id="115" name="Прямоугольник 114">
              <a:extLst>
                <a:ext uri="{FF2B5EF4-FFF2-40B4-BE49-F238E27FC236}">
                  <a16:creationId xmlns:a16="http://schemas.microsoft.com/office/drawing/2014/main" xmlns="" id="{38B0E201-239F-4B72-AFF4-20C612B04CCF}"/>
                </a:ext>
              </a:extLst>
            </p:cNvPr>
            <p:cNvSpPr/>
            <p:nvPr/>
          </p:nvSpPr>
          <p:spPr>
            <a:xfrm>
              <a:off x="3563556" y="3063632"/>
              <a:ext cx="1850432" cy="49947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just" defTabSz="82550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C00000"/>
                </a:buClr>
                <a:buSzPct val="150000"/>
                <a:buFontTx/>
                <a:buNone/>
                <a:tabLst/>
                <a:defRPr/>
              </a:pPr>
              <a:r>
                <a:rPr kumimoji="0" lang="en-US" alt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85000"/>
                      <a:lumOff val="15000"/>
                    </a:prstClr>
                  </a:solidFill>
                  <a:effectLst/>
                  <a:uLnTx/>
                  <a:uFillTx/>
                  <a:latin typeface="Century Gothic" panose="020B0502020202020204" pitchFamily="34" charset="0"/>
                  <a:ea typeface="Futura"/>
                  <a:cs typeface="Arial" panose="020B0604020202020204" pitchFamily="34" charset="0"/>
                </a:rPr>
                <a:t>FRANCIE</a:t>
              </a:r>
            </a:p>
          </p:txBody>
        </p:sp>
        <p:pic>
          <p:nvPicPr>
            <p:cNvPr id="1026" name="Picture 2" descr="French Flag Button Flag Of France Badge 3d Illustration Stock Photo -  Download Image Now - iStock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48290" y="3021766"/>
              <a:ext cx="613349" cy="6133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xmlns="" id="{38B0E201-239F-4B72-AFF4-20C612B04CCF}"/>
              </a:ext>
            </a:extLst>
          </p:cNvPr>
          <p:cNvSpPr/>
          <p:nvPr/>
        </p:nvSpPr>
        <p:spPr>
          <a:xfrm>
            <a:off x="3768283" y="4480373"/>
            <a:ext cx="1850432" cy="3372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lang="en-US" altLang="ru-RU" sz="1600" b="1" dirty="0">
                <a:solidFill>
                  <a:srgbClr val="E7E6E6">
                    <a:lumMod val="10000"/>
                  </a:srgb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NĚMECKO</a:t>
            </a:r>
            <a:endParaRPr kumimoji="0" lang="en-US" altLang="ru-RU" sz="1600" b="1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10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  <p:sp>
        <p:nvSpPr>
          <p:cNvPr id="112" name="Прямоугольник 111">
            <a:extLst>
              <a:ext uri="{FF2B5EF4-FFF2-40B4-BE49-F238E27FC236}">
                <a16:creationId xmlns:a16="http://schemas.microsoft.com/office/drawing/2014/main" xmlns="" id="{87A33515-2000-45F7-9C1D-8AFAEE1269DC}"/>
              </a:ext>
            </a:extLst>
          </p:cNvPr>
          <p:cNvSpPr/>
          <p:nvPr/>
        </p:nvSpPr>
        <p:spPr>
          <a:xfrm>
            <a:off x="3813520" y="4611001"/>
            <a:ext cx="1850432" cy="5461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($</a:t>
            </a:r>
            <a:r>
              <a:rPr lang="ru-RU" altLang="ru-RU" sz="1100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4</a:t>
            </a:r>
            <a:r>
              <a:rPr kumimoji="0" lang="en-US" alt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B)</a:t>
            </a:r>
          </a:p>
        </p:txBody>
      </p:sp>
      <p:sp>
        <p:nvSpPr>
          <p:cNvPr id="72" name="Rectangle 351"/>
          <p:cNvSpPr>
            <a:spLocks/>
          </p:cNvSpPr>
          <p:nvPr/>
        </p:nvSpPr>
        <p:spPr bwMode="gray">
          <a:xfrm>
            <a:off x="144749" y="791355"/>
            <a:ext cx="4774949" cy="45719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94" name="Rectangle 350"/>
          <p:cNvSpPr>
            <a:spLocks/>
          </p:cNvSpPr>
          <p:nvPr/>
        </p:nvSpPr>
        <p:spPr bwMode="gray">
          <a:xfrm>
            <a:off x="5914091" y="2087137"/>
            <a:ext cx="5826112" cy="45719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95" name="Rectangle 28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914090" y="791431"/>
            <a:ext cx="5828358" cy="1313724"/>
          </a:xfrm>
          <a:prstGeom prst="roundRect">
            <a:avLst>
              <a:gd name="adj" fmla="val 0"/>
            </a:avLst>
          </a:prstGeom>
          <a:pattFill prst="ltDnDiag">
            <a:fgClr>
              <a:srgbClr val="F9C61B">
                <a:lumMod val="40000"/>
                <a:lumOff val="6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200" lvl="1" indent="0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97" name="Rectangle 351"/>
          <p:cNvSpPr>
            <a:spLocks/>
          </p:cNvSpPr>
          <p:nvPr/>
        </p:nvSpPr>
        <p:spPr bwMode="gray">
          <a:xfrm>
            <a:off x="5914090" y="802493"/>
            <a:ext cx="5826112" cy="37785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75" name="Rectangle 28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75881" y="5322582"/>
            <a:ext cx="11806869" cy="1470828"/>
          </a:xfrm>
          <a:prstGeom prst="roundRect">
            <a:avLst>
              <a:gd name="adj" fmla="val 0"/>
            </a:avLst>
          </a:prstGeom>
          <a:solidFill>
            <a:srgbClr val="EDF6F9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200" lvl="1" indent="0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9F07B031-507A-4B7A-8F68-C20C8A23F3C7}"/>
              </a:ext>
            </a:extLst>
          </p:cNvPr>
          <p:cNvSpPr/>
          <p:nvPr/>
        </p:nvSpPr>
        <p:spPr>
          <a:xfrm>
            <a:off x="317715" y="107112"/>
            <a:ext cx="32160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  <a:sym typeface="Futura"/>
              </a:rPr>
              <a:t>ROBUST</a:t>
            </a:r>
            <a:r>
              <a:rPr kumimoji="0" lang="en-US" altLang="ru-RU" sz="2400" b="1" i="0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  <a:sym typeface="Futura"/>
              </a:rPr>
              <a:t> ECONOMY</a:t>
            </a:r>
            <a:endParaRPr kumimoji="0" lang="en-US" alt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Futura"/>
              <a:cs typeface="Arial" panose="020B0604020202020204" pitchFamily="34" charset="0"/>
              <a:sym typeface="Futura"/>
            </a:endParaRPr>
          </a:p>
        </p:txBody>
      </p:sp>
      <p:cxnSp>
        <p:nvCxnSpPr>
          <p:cNvPr id="102" name="Прямая соединительная линия 101">
            <a:extLst>
              <a:ext uri="{FF2B5EF4-FFF2-40B4-BE49-F238E27FC236}">
                <a16:creationId xmlns:a16="http://schemas.microsoft.com/office/drawing/2014/main" xmlns="" id="{A58BD632-B00D-4B0B-A011-2A866BAA8D72}"/>
              </a:ext>
            </a:extLst>
          </p:cNvPr>
          <p:cNvCxnSpPr>
            <a:cxnSpLocks/>
          </p:cNvCxnSpPr>
          <p:nvPr/>
        </p:nvCxnSpPr>
        <p:spPr>
          <a:xfrm>
            <a:off x="5153891" y="2181164"/>
            <a:ext cx="0" cy="4701926"/>
          </a:xfrm>
          <a:prstGeom prst="line">
            <a:avLst/>
          </a:prstGeom>
          <a:ln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  <a:gs pos="50000">
                  <a:schemeClr val="bg1"/>
                </a:gs>
              </a:gsLst>
              <a:lin ang="162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Прямоугольник 103">
            <a:extLst>
              <a:ext uri="{FF2B5EF4-FFF2-40B4-BE49-F238E27FC236}">
                <a16:creationId xmlns:a16="http://schemas.microsoft.com/office/drawing/2014/main" xmlns="" id="{16B66D8C-3733-4356-A65F-9577B6468F00}"/>
              </a:ext>
            </a:extLst>
          </p:cNvPr>
          <p:cNvSpPr/>
          <p:nvPr/>
        </p:nvSpPr>
        <p:spPr>
          <a:xfrm>
            <a:off x="10905608" y="2398733"/>
            <a:ext cx="617738" cy="258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lang="en-US" altLang="ru-RU" sz="1200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$</a:t>
            </a:r>
            <a:r>
              <a:rPr kumimoji="0" lang="en-US" altLang="ru-RU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B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9448800" y="6547154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BC0DC2-9AC7-4AF2-ABC3-6798633670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24" name="Прямая соединительная линия 1023">
            <a:extLst>
              <a:ext uri="{FF2B5EF4-FFF2-40B4-BE49-F238E27FC236}">
                <a16:creationId xmlns:a16="http://schemas.microsoft.com/office/drawing/2014/main" xmlns="" id="{8E4D8C54-7B41-49F9-8098-87CCAE1C994D}"/>
              </a:ext>
            </a:extLst>
          </p:cNvPr>
          <p:cNvCxnSpPr>
            <a:cxnSpLocks/>
          </p:cNvCxnSpPr>
          <p:nvPr/>
        </p:nvCxnSpPr>
        <p:spPr>
          <a:xfrm>
            <a:off x="6922808" y="1027875"/>
            <a:ext cx="1735903" cy="0"/>
          </a:xfrm>
          <a:prstGeom prst="line">
            <a:avLst/>
          </a:prstGeom>
          <a:ln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xmlns="" id="{B3617F58-275A-48BA-82E0-9D3023D63FC1}"/>
              </a:ext>
            </a:extLst>
          </p:cNvPr>
          <p:cNvSpPr/>
          <p:nvPr/>
        </p:nvSpPr>
        <p:spPr>
          <a:xfrm>
            <a:off x="6826990" y="2385702"/>
            <a:ext cx="4165554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GLOBÁLNÍ PŘÍLIV FDI DO KAZACHSTÁNU</a:t>
            </a:r>
          </a:p>
        </p:txBody>
      </p:sp>
      <p:sp>
        <p:nvSpPr>
          <p:cNvPr id="82" name="Прямоугольник 81">
            <a:extLst>
              <a:ext uri="{FF2B5EF4-FFF2-40B4-BE49-F238E27FC236}">
                <a16:creationId xmlns:a16="http://schemas.microsoft.com/office/drawing/2014/main" xmlns="" id="{225A3F73-4D1E-496C-A414-5C727D83189C}"/>
              </a:ext>
            </a:extLst>
          </p:cNvPr>
          <p:cNvSpPr/>
          <p:nvPr/>
        </p:nvSpPr>
        <p:spPr>
          <a:xfrm>
            <a:off x="5954864" y="898547"/>
            <a:ext cx="5739559" cy="1173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80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lang="en-US" altLang="ru-RU" b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ZPRÁVA UNCTAD O SVĚTOVÝCH INVESTICÍCH 2023</a:t>
            </a:r>
          </a:p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80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lang="en-US" altLang="ru-RU" sz="1200" b="1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	</a:t>
            </a:r>
            <a:r>
              <a:rPr lang="cs-CZ" altLang="ru-RU" sz="1200" b="1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PODLE</a:t>
            </a:r>
            <a:r>
              <a:rPr lang="en-US" altLang="ru-RU" sz="1200" b="1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FDI </a:t>
            </a:r>
            <a:r>
              <a:rPr lang="cs-CZ" altLang="ru-RU" sz="1200" b="1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V</a:t>
            </a:r>
            <a:r>
              <a:rPr lang="en-US" altLang="ru-RU" sz="1200" b="1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E STŘEDNÍ ASII (61 %)</a:t>
            </a:r>
          </a:p>
          <a:p>
            <a:pPr defTabSz="82550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  <a:buClr>
                <a:srgbClr val="C00000"/>
              </a:buClr>
              <a:buSzPct val="150000"/>
              <a:defRPr/>
            </a:pPr>
            <a:r>
              <a:rPr lang="en-US" altLang="ru-RU" sz="1200" b="1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	PODLE FDI MEZI POSTSOVĚTSKÝMI ZEMĚMI</a:t>
            </a:r>
            <a:endParaRPr lang="en-US" sz="1200" b="1" i="1" dirty="0">
              <a:solidFill>
                <a:prstClr val="black">
                  <a:lumMod val="85000"/>
                  <a:lumOff val="15000"/>
                </a:prstClr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  <a:p>
            <a:pPr defTabSz="825500" eaLnBrk="0" fontAlgn="base" hangingPunct="0">
              <a:lnSpc>
                <a:spcPct val="90000"/>
              </a:lnSpc>
              <a:spcBef>
                <a:spcPct val="0"/>
              </a:spcBef>
              <a:spcAft>
                <a:spcPts val="1000"/>
              </a:spcAft>
              <a:buClr>
                <a:srgbClr val="C00000"/>
              </a:buClr>
              <a:buSzPct val="150000"/>
              <a:defRPr/>
            </a:pPr>
            <a:r>
              <a:rPr lang="en-US" sz="1200" b="1" i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	PODLE FDI MEZI ROZVOJOVÝMI VNITROZEMSKÝMI ZEMĚMI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1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1651" r="21650"/>
          <a:stretch/>
        </p:blipFill>
        <p:spPr>
          <a:xfrm>
            <a:off x="6301529" y="1287689"/>
            <a:ext cx="467790" cy="709768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2" name="Прямоугольник с двумя скругленными противолежащими углами 1"/>
          <p:cNvSpPr/>
          <p:nvPr/>
        </p:nvSpPr>
        <p:spPr>
          <a:xfrm>
            <a:off x="335360" y="5469092"/>
            <a:ext cx="2592288" cy="1270658"/>
          </a:xfrm>
          <a:prstGeom prst="round2DiagRect">
            <a:avLst/>
          </a:prstGeom>
          <a:solidFill>
            <a:srgbClr val="EDF6F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 dirty="0">
              <a:solidFill>
                <a:prstClr val="black">
                  <a:lumMod val="85000"/>
                  <a:lumOff val="15000"/>
                </a:prstClr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  <p:sp>
        <p:nvSpPr>
          <p:cNvPr id="63" name="Прямоугольник с двумя скругленными противолежащими углами 62"/>
          <p:cNvSpPr/>
          <p:nvPr/>
        </p:nvSpPr>
        <p:spPr>
          <a:xfrm>
            <a:off x="9294686" y="5463757"/>
            <a:ext cx="2592288" cy="1275994"/>
          </a:xfrm>
          <a:prstGeom prst="round2DiagRect">
            <a:avLst/>
          </a:prstGeom>
          <a:solidFill>
            <a:srgbClr val="EDF6F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с двумя скругленными противолежащими углами 63"/>
          <p:cNvSpPr/>
          <p:nvPr/>
        </p:nvSpPr>
        <p:spPr>
          <a:xfrm>
            <a:off x="3321802" y="5469092"/>
            <a:ext cx="2592288" cy="1270658"/>
          </a:xfrm>
          <a:prstGeom prst="round2DiagRect">
            <a:avLst/>
          </a:prstGeom>
          <a:solidFill>
            <a:srgbClr val="EDF6F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рямоугольник с двумя скругленными противолежащими углами 64"/>
          <p:cNvSpPr/>
          <p:nvPr/>
        </p:nvSpPr>
        <p:spPr>
          <a:xfrm>
            <a:off x="6308244" y="5469093"/>
            <a:ext cx="2592288" cy="1272276"/>
          </a:xfrm>
          <a:prstGeom prst="round2DiagRect">
            <a:avLst/>
          </a:prstGeom>
          <a:solidFill>
            <a:srgbClr val="EDF6F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35360" y="5503449"/>
            <a:ext cx="2592288" cy="430827"/>
          </a:xfrm>
          <a:prstGeom prst="round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FDI</a:t>
            </a:r>
            <a:r>
              <a:rPr lang="cs-CZ" sz="2000" b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OBJEM</a:t>
            </a:r>
            <a:r>
              <a:rPr lang="en-US" sz="2000" b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</a:t>
            </a:r>
            <a:endParaRPr lang="ru-RU" dirty="0">
              <a:solidFill>
                <a:prstClr val="black">
                  <a:lumMod val="85000"/>
                  <a:lumOff val="15000"/>
                </a:prstClr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3436909" y="5503449"/>
            <a:ext cx="2592288" cy="430827"/>
          </a:xfrm>
          <a:prstGeom prst="round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b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HDP</a:t>
            </a:r>
            <a:endParaRPr lang="ru-RU" sz="2000" b="1" dirty="0">
              <a:solidFill>
                <a:prstClr val="black">
                  <a:lumMod val="85000"/>
                  <a:lumOff val="15000"/>
                </a:prstClr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9263746" y="5523953"/>
            <a:ext cx="2592288" cy="430827"/>
          </a:xfrm>
          <a:prstGeom prst="round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b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OBRAT OBCHODU</a:t>
            </a:r>
            <a:endParaRPr lang="ru-RU" sz="2000" b="1" dirty="0">
              <a:solidFill>
                <a:prstClr val="black">
                  <a:lumMod val="85000"/>
                  <a:lumOff val="15000"/>
                </a:prstClr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6240015" y="5503449"/>
            <a:ext cx="2736907" cy="430827"/>
          </a:xfrm>
          <a:prstGeom prst="round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000" b="1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HDP NA OBYVATELE</a:t>
            </a:r>
            <a:endParaRPr lang="ru-RU" sz="2000" b="1" dirty="0">
              <a:solidFill>
                <a:prstClr val="black">
                  <a:lumMod val="85000"/>
                  <a:lumOff val="15000"/>
                </a:prstClr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80464" y="5907581"/>
            <a:ext cx="143288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$4</a:t>
            </a:r>
            <a:r>
              <a:rPr lang="cs-CZ" sz="3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31</a:t>
            </a:r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B</a:t>
            </a:r>
            <a:endParaRPr lang="cs-CZ" sz="32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  <a:p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(</a:t>
            </a:r>
            <a:r>
              <a:rPr lang="cs-CZ" sz="12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od roku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1991) </a:t>
            </a:r>
            <a:endParaRPr lang="ru-RU" sz="1200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3832057" y="5899919"/>
            <a:ext cx="180618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$259,3B</a:t>
            </a:r>
            <a:b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</a:b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(</a:t>
            </a:r>
            <a:r>
              <a:rPr lang="cs-CZ" sz="12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v roce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2023)</a:t>
            </a:r>
            <a:endParaRPr lang="ru-RU" sz="1200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9581482" y="5920423"/>
            <a:ext cx="212435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$139.8B</a:t>
            </a:r>
            <a:b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</a:b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(</a:t>
            </a:r>
            <a:r>
              <a:rPr lang="cs-CZ" sz="12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v roce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2023)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6219823" y="5891010"/>
            <a:ext cx="258105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$12.9K</a:t>
            </a:r>
            <a:br>
              <a:rPr lang="en-US" sz="3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</a:b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(</a:t>
            </a:r>
            <a:r>
              <a:rPr lang="cs-CZ" sz="12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v roce</a:t>
            </a:r>
            <a:r>
              <a:rPr lang="en-US" sz="12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2023)</a:t>
            </a:r>
          </a:p>
        </p:txBody>
      </p:sp>
      <p:sp>
        <p:nvSpPr>
          <p:cNvPr id="76" name="Rectangle 351"/>
          <p:cNvSpPr>
            <a:spLocks/>
          </p:cNvSpPr>
          <p:nvPr/>
        </p:nvSpPr>
        <p:spPr bwMode="gray">
          <a:xfrm>
            <a:off x="175880" y="5301208"/>
            <a:ext cx="11806869" cy="58346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77" name="Rectangle 350"/>
          <p:cNvSpPr>
            <a:spLocks/>
          </p:cNvSpPr>
          <p:nvPr/>
        </p:nvSpPr>
        <p:spPr bwMode="gray">
          <a:xfrm>
            <a:off x="175879" y="6741368"/>
            <a:ext cx="11806869" cy="21328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3115554" y="5533843"/>
            <a:ext cx="0" cy="1116419"/>
          </a:xfrm>
          <a:prstGeom prst="line">
            <a:avLst/>
          </a:prstGeom>
          <a:ln w="1270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/>
          <p:cNvCxnSpPr/>
          <p:nvPr/>
        </p:nvCxnSpPr>
        <p:spPr>
          <a:xfrm>
            <a:off x="6096000" y="5533843"/>
            <a:ext cx="0" cy="1116419"/>
          </a:xfrm>
          <a:prstGeom prst="line">
            <a:avLst/>
          </a:prstGeom>
          <a:ln w="1270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/>
        </p:nvCxnSpPr>
        <p:spPr>
          <a:xfrm>
            <a:off x="9120336" y="5533843"/>
            <a:ext cx="0" cy="1116419"/>
          </a:xfrm>
          <a:prstGeom prst="line">
            <a:avLst/>
          </a:prstGeom>
          <a:ln w="1270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Диаграмма 27"/>
          <p:cNvGraphicFramePr/>
          <p:nvPr>
            <p:extLst>
              <p:ext uri="{D42A27DB-BD31-4B8C-83A1-F6EECF244321}">
                <p14:modId xmlns:p14="http://schemas.microsoft.com/office/powerpoint/2010/main" xmlns="" val="2588670556"/>
              </p:ext>
            </p:extLst>
          </p:nvPr>
        </p:nvGraphicFramePr>
        <p:xfrm>
          <a:off x="5782155" y="2581214"/>
          <a:ext cx="6274434" cy="27120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120" name="Прямоугольник 119">
            <a:extLst>
              <a:ext uri="{FF2B5EF4-FFF2-40B4-BE49-F238E27FC236}">
                <a16:creationId xmlns:a16="http://schemas.microsoft.com/office/drawing/2014/main" xmlns="" id="{D742657C-030D-4679-8F25-D351127F3F62}"/>
              </a:ext>
            </a:extLst>
          </p:cNvPr>
          <p:cNvSpPr/>
          <p:nvPr/>
        </p:nvSpPr>
        <p:spPr>
          <a:xfrm rot="10800000">
            <a:off x="-6" y="-8"/>
            <a:ext cx="6600061" cy="6240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1" name="Прямоугольник 120">
            <a:extLst>
              <a:ext uri="{FF2B5EF4-FFF2-40B4-BE49-F238E27FC236}">
                <a16:creationId xmlns:a16="http://schemas.microsoft.com/office/drawing/2014/main" xmlns="" id="{9F07B031-507A-4B7A-8F68-C20C8A23F3C7}"/>
              </a:ext>
            </a:extLst>
          </p:cNvPr>
          <p:cNvSpPr/>
          <p:nvPr/>
        </p:nvSpPr>
        <p:spPr>
          <a:xfrm>
            <a:off x="317714" y="107112"/>
            <a:ext cx="47259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ru-RU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  <a:sym typeface="Futura"/>
              </a:rPr>
              <a:t>ROBUSTNÍ EKONOMIKA</a:t>
            </a:r>
            <a:endParaRPr kumimoji="0" lang="en-US" alt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Futura"/>
              <a:cs typeface="Arial" panose="020B0604020202020204" pitchFamily="34" charset="0"/>
              <a:sym typeface="Futura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16" cstate="print"/>
          <a:srcRect l="12984" t="12811" r="11919" b="12092"/>
          <a:stretch/>
        </p:blipFill>
        <p:spPr>
          <a:xfrm>
            <a:off x="3189185" y="4396828"/>
            <a:ext cx="655844" cy="655843"/>
          </a:xfrm>
          <a:prstGeom prst="rect">
            <a:avLst/>
          </a:prstGeom>
        </p:spPr>
      </p:pic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xmlns="" id="{16B66D8C-3733-4356-A65F-9577B6468F00}"/>
              </a:ext>
            </a:extLst>
          </p:cNvPr>
          <p:cNvSpPr/>
          <p:nvPr/>
        </p:nvSpPr>
        <p:spPr>
          <a:xfrm>
            <a:off x="11447163" y="3166512"/>
            <a:ext cx="617738" cy="2031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lang="ru-RU" altLang="ru-RU" sz="800" b="1" i="1" noProof="0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24,</a:t>
            </a:r>
            <a:r>
              <a:rPr lang="en-US" altLang="ru-RU" sz="800" b="1" i="1" noProof="0" dirty="0">
                <a:solidFill>
                  <a:prstClr val="black">
                    <a:lumMod val="85000"/>
                    <a:lumOff val="15000"/>
                  </a:prstClr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4</a:t>
            </a:r>
            <a:endParaRPr kumimoji="0" lang="en-US" altLang="ru-RU" sz="12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  <p:sp>
        <p:nvSpPr>
          <p:cNvPr id="14" name="Равнобедренный треугольник 13"/>
          <p:cNvSpPr/>
          <p:nvPr/>
        </p:nvSpPr>
        <p:spPr>
          <a:xfrm rot="5400000">
            <a:off x="11695063" y="3320687"/>
            <a:ext cx="242730" cy="63592"/>
          </a:xfrm>
          <a:prstGeom prst="triangle">
            <a:avLst>
              <a:gd name="adj" fmla="val 46021"/>
            </a:avLst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xmlns="" id="{16B66D8C-3733-4356-A65F-9577B6468F00}"/>
              </a:ext>
            </a:extLst>
          </p:cNvPr>
          <p:cNvSpPr/>
          <p:nvPr/>
        </p:nvSpPr>
        <p:spPr>
          <a:xfrm>
            <a:off x="11781714" y="3267051"/>
            <a:ext cx="617738" cy="1754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8255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50000"/>
              <a:buFontTx/>
              <a:buNone/>
              <a:tabLst/>
              <a:defRPr/>
            </a:pPr>
            <a:r>
              <a:rPr kumimoji="0" lang="en-US" altLang="ru-RU" sz="6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forecast</a:t>
            </a:r>
          </a:p>
        </p:txBody>
      </p:sp>
    </p:spTree>
    <p:extLst>
      <p:ext uri="{BB962C8B-B14F-4D97-AF65-F5344CB8AC3E}">
        <p14:creationId xmlns:p14="http://schemas.microsoft.com/office/powerpoint/2010/main" xmlns="" val="41415692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" name="Picture 6" descr="Логотип Claas - скачать в векторе и картинкой бесплатно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37129" y="1298082"/>
            <a:ext cx="968241" cy="577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18" descr="Немецкая Knauf купит главного производителя отделочных материалов в США |  ИА Красная Весн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2574" y="5884894"/>
            <a:ext cx="864914" cy="442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36" descr="Total промышленное холодильное оборудование |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7846" y="3074699"/>
            <a:ext cx="938394" cy="623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38" descr="Rio Tinto | ИНИЦИАТИВА ПРОЗРАЧНОСТИ ДОБЫВАЮЩИХ ОТРАСЛЕЙ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23684" y="5805714"/>
            <a:ext cx="979230" cy="607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40" descr="Файл:Alstom logo.png — Википедия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41208" y="1407821"/>
            <a:ext cx="1014196" cy="269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2" name="Picture 72" descr="Danone и &amp;quot;Юнимилк&amp;quot; сохранили все 10 брендов после объединения - РИА  Новости, 03.07.201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826427" y="3196727"/>
            <a:ext cx="801760" cy="417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60" descr="File:Vicat (Unternehmen) Logo.svg - Wikimedia Commons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91774" y="4194943"/>
            <a:ext cx="679890" cy="509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NPC Made in China (Auto-Che.com)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64152" y="3999661"/>
            <a:ext cx="533954" cy="586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10625753" y="2305207"/>
            <a:ext cx="1032518" cy="281956"/>
          </a:xfrm>
          <a:prstGeom prst="rect">
            <a:avLst/>
          </a:prstGeom>
        </p:spPr>
      </p:pic>
      <p:pic>
        <p:nvPicPr>
          <p:cNvPr id="138" name="Рисунок 137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4005831" y="1196752"/>
            <a:ext cx="722017" cy="628935"/>
          </a:xfrm>
          <a:prstGeom prst="rect">
            <a:avLst/>
          </a:prstGeom>
        </p:spPr>
      </p:pic>
      <p:pic>
        <p:nvPicPr>
          <p:cNvPr id="141" name="Picture 96" descr="Файл:Polpharma logo.svg — Википедия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9376" y="3315019"/>
            <a:ext cx="1113048" cy="299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14" cstate="print"/>
          <a:srcRect t="35092" b="35260"/>
          <a:stretch/>
        </p:blipFill>
        <p:spPr>
          <a:xfrm>
            <a:off x="8832304" y="5086951"/>
            <a:ext cx="1148094" cy="390242"/>
          </a:xfrm>
          <a:prstGeom prst="rect">
            <a:avLst/>
          </a:prstGeom>
        </p:spPr>
      </p:pic>
      <p:pic>
        <p:nvPicPr>
          <p:cNvPr id="118" name="Picture 30" descr="Файл:Glencore logo.svg — Википедия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613374" y="6031818"/>
            <a:ext cx="1037754" cy="223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7" name="Picture 82" descr="Lactalis — Википедия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22702" y="4981715"/>
            <a:ext cx="1021170" cy="517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17" cstate="print"/>
          <a:srcRect t="33139" b="38456"/>
          <a:stretch/>
        </p:blipFill>
        <p:spPr>
          <a:xfrm>
            <a:off x="7187151" y="1334187"/>
            <a:ext cx="1180060" cy="46468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2232086" y="2455673"/>
            <a:ext cx="983594" cy="30611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748208" y="1235359"/>
            <a:ext cx="595264" cy="662336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10640336" y="5128134"/>
            <a:ext cx="924796" cy="301206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21" cstate="print"/>
          <a:srcRect l="16694" t="22870" r="11337" b="13075"/>
          <a:stretch/>
        </p:blipFill>
        <p:spPr>
          <a:xfrm>
            <a:off x="10683079" y="4057545"/>
            <a:ext cx="918964" cy="612644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22" cstate="print"/>
          <a:srcRect t="21966" b="26239"/>
          <a:stretch/>
        </p:blipFill>
        <p:spPr>
          <a:xfrm>
            <a:off x="3743412" y="2350945"/>
            <a:ext cx="1343386" cy="389644"/>
          </a:xfrm>
          <a:prstGeom prst="rect">
            <a:avLst/>
          </a:prstGeom>
        </p:spPr>
      </p:pic>
      <p:sp>
        <p:nvSpPr>
          <p:cNvPr id="45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9448800" y="6384001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BC0DC2-9AC7-4AF2-ABC3-6798633670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8840827" y="1377897"/>
            <a:ext cx="1018878" cy="303774"/>
          </a:xfrm>
          <a:prstGeom prst="rect">
            <a:avLst/>
          </a:prstGeom>
        </p:spPr>
      </p:pic>
      <p:pic>
        <p:nvPicPr>
          <p:cNvPr id="8" name="Picture 2" descr="Kia Motors New 2021 Logo PNG vector in SVG, PDF, AI, CDR format"/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102" t="34484" r="9074" b="34369"/>
          <a:stretch/>
        </p:blipFill>
        <p:spPr bwMode="auto">
          <a:xfrm>
            <a:off x="7223933" y="2337419"/>
            <a:ext cx="933904" cy="266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79376" y="4292829"/>
            <a:ext cx="1175544" cy="217326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893546" y="5882310"/>
            <a:ext cx="1018878" cy="407550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591944" y="4901816"/>
            <a:ext cx="1062376" cy="574728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243552" y="5885436"/>
            <a:ext cx="972128" cy="527378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320136" y="5844665"/>
            <a:ext cx="924430" cy="522502"/>
          </a:xfrm>
          <a:prstGeom prst="rect">
            <a:avLst/>
          </a:prstGeom>
        </p:spPr>
      </p:pic>
      <p:pic>
        <p:nvPicPr>
          <p:cNvPr id="1028" name="Picture 4" descr="The Weir Group — Newam Website"/>
          <p:cNvPicPr>
            <a:picLocks noChangeAspect="1" noChangeArrowheads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8389" b="26477"/>
          <a:stretch/>
        </p:blipFill>
        <p:spPr bwMode="auto">
          <a:xfrm>
            <a:off x="5735960" y="5978004"/>
            <a:ext cx="814102" cy="307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 descr="Cameco Logo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7388" y="2262298"/>
            <a:ext cx="800100" cy="571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Marubeni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77552" y="5128134"/>
            <a:ext cx="1354152" cy="215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The Wabtec Foundation Scholarship Program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92144" y="4892088"/>
            <a:ext cx="671324" cy="720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The Linde Group"/>
          <p:cNvPicPr>
            <a:picLocks noChangeAspect="1" noChangeArrowheads="1"/>
          </p:cNvPicPr>
          <p:nvPr/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0941" b="35685"/>
          <a:stretch/>
        </p:blipFill>
        <p:spPr bwMode="auto">
          <a:xfrm>
            <a:off x="2063552" y="3137141"/>
            <a:ext cx="1339550" cy="560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Stadler marks official opening of newly transformed Leeuwarden depot - Rail  Forum"/>
          <p:cNvPicPr>
            <a:picLocks noChangeAspect="1" noChangeArrowheads="1"/>
          </p:cNvPicPr>
          <p:nvPr/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5147" b="32685"/>
          <a:stretch/>
        </p:blipFill>
        <p:spPr bwMode="auto">
          <a:xfrm>
            <a:off x="5531416" y="2357717"/>
            <a:ext cx="1212656" cy="260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Yıldırım Holding – TEİD"/>
          <p:cNvPicPr>
            <a:picLocks noChangeAspect="1" noChangeArrowheads="1"/>
          </p:cNvPicPr>
          <p:nvPr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0096" b="24717"/>
          <a:stretch/>
        </p:blipFill>
        <p:spPr bwMode="auto">
          <a:xfrm>
            <a:off x="3758556" y="4221104"/>
            <a:ext cx="1185316" cy="321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36168" y="4023383"/>
            <a:ext cx="963888" cy="542188"/>
          </a:xfrm>
          <a:prstGeom prst="rect">
            <a:avLst/>
          </a:prstGeom>
        </p:spPr>
      </p:pic>
      <p:pic>
        <p:nvPicPr>
          <p:cNvPr id="29" name="Picture 10" descr="Купить продукцию марки Saint-Gobain в интернет-магазине GFLEX в Москве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3773" y="4901816"/>
            <a:ext cx="1098930" cy="537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6" descr="Air Liquide logo in transparent PNG and vectorized SVG formats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48024" y="1466965"/>
            <a:ext cx="1124040" cy="214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https://www.citic.com/statics/images/zxgf_en/logo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19936" y="3288548"/>
            <a:ext cx="1131174" cy="3431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D742657C-030D-4679-8F25-D351127F3F62}"/>
              </a:ext>
            </a:extLst>
          </p:cNvPr>
          <p:cNvSpPr/>
          <p:nvPr/>
        </p:nvSpPr>
        <p:spPr>
          <a:xfrm rot="10800000">
            <a:off x="-6" y="-8"/>
            <a:ext cx="6600061" cy="6240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xmlns="" id="{9F07B031-507A-4B7A-8F68-C20C8A23F3C7}"/>
              </a:ext>
            </a:extLst>
          </p:cNvPr>
          <p:cNvSpPr/>
          <p:nvPr/>
        </p:nvSpPr>
        <p:spPr>
          <a:xfrm>
            <a:off x="317714" y="107112"/>
            <a:ext cx="38340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altLang="ru-RU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  <a:sym typeface="Futura"/>
              </a:rPr>
              <a:t>NAŠI HLAVNÍ INVESTOŘI</a:t>
            </a:r>
            <a:endParaRPr kumimoji="0" lang="en-US" alt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Futura"/>
              <a:cs typeface="Arial" panose="020B0604020202020204" pitchFamily="34" charset="0"/>
              <a:sym typeface="Futura"/>
            </a:endParaRPr>
          </a:p>
        </p:txBody>
      </p:sp>
      <p:pic>
        <p:nvPicPr>
          <p:cNvPr id="33" name="Picture 2" descr="https://logos-download.com/wp-content/uploads/2022/12/Orano_Logo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37699" y="2233332"/>
            <a:ext cx="1392382" cy="4349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 descr="ТОО &quot;Selena CA - Селена ЦА&quot; Алматы"/>
          <p:cNvPicPr>
            <a:picLocks noChangeAspect="1" noChangeArrowheads="1"/>
          </p:cNvPicPr>
          <p:nvPr/>
        </p:nvPicPr>
        <p:blipFill rotWithShape="1">
          <a:blip r:embed="rId4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5536" b="33677"/>
          <a:stretch/>
        </p:blipFill>
        <p:spPr bwMode="auto">
          <a:xfrm>
            <a:off x="8795328" y="3233283"/>
            <a:ext cx="1322990" cy="357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BASF Logo, symbol, meaning, history, PNG, brand"/>
          <p:cNvPicPr>
            <a:picLocks noChangeAspect="1" noChangeArrowheads="1"/>
          </p:cNvPicPr>
          <p:nvPr/>
        </p:nvPicPr>
        <p:blipFill rotWithShape="1">
          <a:blip r:embed="rId4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0005" b="27570"/>
          <a:stretch/>
        </p:blipFill>
        <p:spPr bwMode="auto">
          <a:xfrm>
            <a:off x="3879465" y="3359351"/>
            <a:ext cx="1067668" cy="254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8" descr="POSCO Logo Download - AI - All Vector Logo"/>
          <p:cNvPicPr>
            <a:picLocks noChangeAspect="1" noChangeArrowheads="1"/>
          </p:cNvPicPr>
          <p:nvPr/>
        </p:nvPicPr>
        <p:blipFill rotWithShape="1">
          <a:blip r:embed="rId4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5218" b="26399"/>
          <a:stretch/>
        </p:blipFill>
        <p:spPr bwMode="auto">
          <a:xfrm>
            <a:off x="8777798" y="4205754"/>
            <a:ext cx="1202600" cy="316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784999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tangle 28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87068" y="4798926"/>
            <a:ext cx="11806869" cy="1802080"/>
          </a:xfrm>
          <a:prstGeom prst="roundRect">
            <a:avLst>
              <a:gd name="adj" fmla="val 0"/>
            </a:avLst>
          </a:prstGeom>
          <a:solidFill>
            <a:srgbClr val="EDF6F9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chemeClr val="tx2">
                <a:lumMod val="60000"/>
                <a:lumOff val="40000"/>
                <a:alpha val="40000"/>
              </a:schemeClr>
            </a:outerShdw>
          </a:effectLst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78" name="Rectangle 28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51674" y="5009828"/>
            <a:ext cx="11806869" cy="1470828"/>
          </a:xfrm>
          <a:prstGeom prst="roundRect">
            <a:avLst>
              <a:gd name="adj" fmla="val 0"/>
            </a:avLst>
          </a:prstGeom>
          <a:solidFill>
            <a:srgbClr val="EDF6F9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200" lvl="1" indent="0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53" name="Rectangle 28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51674" y="1873225"/>
            <a:ext cx="11806869" cy="1470828"/>
          </a:xfrm>
          <a:prstGeom prst="roundRect">
            <a:avLst>
              <a:gd name="adj" fmla="val 0"/>
            </a:avLst>
          </a:prstGeom>
          <a:solidFill>
            <a:srgbClr val="EDF6F9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chemeClr val="tx2">
                <a:lumMod val="60000"/>
                <a:lumOff val="40000"/>
                <a:alpha val="40000"/>
              </a:schemeClr>
            </a:outerShdw>
          </a:effectLst>
        </p:spPr>
        <p:txBody>
          <a:bodyPr anchor="ctr"/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200" lvl="1" indent="0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62" name="Овал 61">
            <a:extLst>
              <a:ext uri="{FF2B5EF4-FFF2-40B4-BE49-F238E27FC236}">
                <a16:creationId xmlns:a16="http://schemas.microsoft.com/office/drawing/2014/main" xmlns="" id="{0E55C0B2-6396-4FC6-9AE4-8FFC96D83CB9}"/>
              </a:ext>
            </a:extLst>
          </p:cNvPr>
          <p:cNvSpPr/>
          <p:nvPr/>
        </p:nvSpPr>
        <p:spPr>
          <a:xfrm>
            <a:off x="1055440" y="1124744"/>
            <a:ext cx="900000" cy="90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xmlns="" id="{A4542B5E-BEE1-4077-A521-45FA4D9491AB}"/>
              </a:ext>
            </a:extLst>
          </p:cNvPr>
          <p:cNvSpPr/>
          <p:nvPr/>
        </p:nvSpPr>
        <p:spPr>
          <a:xfrm>
            <a:off x="3278124" y="4946839"/>
            <a:ext cx="255291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Multilaterální politika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  <a:p>
            <a:pPr lvl="0" algn="ctr">
              <a:defRPr/>
            </a:pPr>
            <a:r>
              <a:rPr lang="cs-CZ" sz="1600" i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Člen </a:t>
            </a:r>
            <a:r>
              <a:rPr lang="en-US" sz="1600" i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UN, WTO, OSCE</a:t>
            </a: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, OIC</a:t>
            </a:r>
            <a:r>
              <a:rPr lang="en-US" sz="1600" i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, EAEU, OTS, </a:t>
            </a: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SCO</a:t>
            </a:r>
            <a:r>
              <a:rPr kumimoji="0" lang="en-US" sz="1600" b="0" i="1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 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xmlns="" id="{A4542B5E-BEE1-4077-A521-45FA4D9491AB}"/>
              </a:ext>
            </a:extLst>
          </p:cNvPr>
          <p:cNvSpPr/>
          <p:nvPr/>
        </p:nvSpPr>
        <p:spPr>
          <a:xfrm>
            <a:off x="167714" y="2083860"/>
            <a:ext cx="255291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Rozloha</a:t>
            </a:r>
            <a:r>
              <a:rPr kumimoji="0" lang="ru-RU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 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  <a:p>
            <a:pPr lvl="0" algn="ctr"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 </a:t>
            </a:r>
            <a:r>
              <a:rPr lang="en-US" sz="1600" i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2.7M km</a:t>
            </a:r>
            <a:r>
              <a:rPr lang="en-US" baseline="30000" dirty="0"/>
              <a:t>2</a:t>
            </a:r>
          </a:p>
          <a:p>
            <a:pPr lvl="0" algn="ctr">
              <a:defRPr/>
            </a:pPr>
            <a:r>
              <a:rPr lang="cs-CZ" sz="1600" i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9. na světě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xmlns="" id="{A4542B5E-BEE1-4077-A521-45FA4D9491AB}"/>
              </a:ext>
            </a:extLst>
          </p:cNvPr>
          <p:cNvSpPr/>
          <p:nvPr/>
        </p:nvSpPr>
        <p:spPr>
          <a:xfrm>
            <a:off x="6298185" y="2096398"/>
            <a:ext cx="2552912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b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Největší ekonomika ve střední Asii</a:t>
            </a:r>
            <a:endParaRPr lang="ru-RU" b="1" kern="0" dirty="0"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  <a:p>
            <a:pPr lvl="0" algn="ctr">
              <a:defRPr/>
            </a:pPr>
            <a:r>
              <a:rPr lang="en-US" sz="1600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(61%</a:t>
            </a:r>
            <a:r>
              <a:rPr lang="ru-RU" sz="1600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 </a:t>
            </a:r>
            <a:r>
              <a:rPr lang="cs-CZ" sz="1600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podíl</a:t>
            </a:r>
            <a:r>
              <a:rPr lang="en-US" sz="1600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)</a:t>
            </a:r>
            <a:endParaRPr lang="en-US" kern="0" dirty="0"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</p:txBody>
      </p:sp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xmlns="" id="{A4542B5E-BEE1-4077-A521-45FA4D9491AB}"/>
              </a:ext>
            </a:extLst>
          </p:cNvPr>
          <p:cNvSpPr/>
          <p:nvPr/>
        </p:nvSpPr>
        <p:spPr>
          <a:xfrm>
            <a:off x="3456668" y="2103623"/>
            <a:ext cx="2261083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Obyvatelstvo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  <a:p>
            <a:pPr lvl="0" algn="ctr">
              <a:defRPr/>
            </a:pPr>
            <a:r>
              <a:rPr lang="en-US" sz="1600" i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~20M</a:t>
            </a: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 </a:t>
            </a:r>
            <a:r>
              <a:rPr lang="cs-CZ" sz="1600" i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lidí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xmlns="" id="{A4542B5E-BEE1-4077-A521-45FA4D9491AB}"/>
              </a:ext>
            </a:extLst>
          </p:cNvPr>
          <p:cNvSpPr/>
          <p:nvPr/>
        </p:nvSpPr>
        <p:spPr>
          <a:xfrm>
            <a:off x="-28144" y="4950618"/>
            <a:ext cx="3126819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Mezinárodní rezervy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$</a:t>
            </a:r>
            <a:r>
              <a:rPr lang="en-US" sz="1600" i="1" kern="0" noProof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9</a:t>
            </a:r>
            <a:r>
              <a:rPr lang="en-US" sz="1600" i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4</a:t>
            </a: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B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,</a:t>
            </a:r>
          </a:p>
          <a:p>
            <a:pPr lvl="0" algn="ctr">
              <a:defRPr/>
            </a:pPr>
            <a:r>
              <a:rPr lang="cs-CZ" sz="1200" i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Národní fond </a:t>
            </a:r>
            <a:r>
              <a:rPr lang="en-US" sz="1200" i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$59.8B, </a:t>
            </a:r>
          </a:p>
          <a:p>
            <a:pPr lvl="0" algn="ctr">
              <a:defRPr/>
            </a:pPr>
            <a:r>
              <a:rPr lang="en-US" sz="1200" i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FX </a:t>
            </a:r>
            <a:r>
              <a:rPr lang="cs-CZ" sz="1200" i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rezervy</a:t>
            </a:r>
            <a:r>
              <a:rPr lang="ru-RU" sz="1200" i="1" kern="0" noProof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 </a:t>
            </a:r>
            <a:r>
              <a:rPr lang="en-US" sz="1200" i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$34.5B </a:t>
            </a:r>
            <a:endParaRPr kumimoji="0" lang="en-US" sz="12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xmlns="" id="{A4542B5E-BEE1-4077-A521-45FA4D9491AB}"/>
              </a:ext>
            </a:extLst>
          </p:cNvPr>
          <p:cNvSpPr/>
          <p:nvPr/>
        </p:nvSpPr>
        <p:spPr>
          <a:xfrm>
            <a:off x="5966898" y="4948039"/>
            <a:ext cx="3384307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cs-CZ" b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Příznivý danový režim</a:t>
            </a:r>
            <a:endParaRPr lang="en-US" b="1" kern="0" dirty="0"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  <a:p>
            <a:pPr algn="ctr">
              <a:defRPr/>
            </a:pPr>
            <a:r>
              <a:rPr lang="cs-CZ" sz="1600" i="1" kern="0" dirty="0">
                <a:solidFill>
                  <a:prstClr val="black"/>
                </a:solidFill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Smlouvy o zamezení</a:t>
            </a:r>
            <a:endParaRPr lang="ru-RU" sz="1600" i="1" kern="0" dirty="0">
              <a:solidFill>
                <a:prstClr val="black"/>
              </a:solidFill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  <a:p>
            <a:pPr algn="ctr">
              <a:defRPr/>
            </a:pPr>
            <a:r>
              <a:rPr lang="cs-CZ" sz="1600" i="1" kern="0" dirty="0">
                <a:solidFill>
                  <a:prstClr val="black"/>
                </a:solidFill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dvojího zdanění</a:t>
            </a:r>
            <a:endParaRPr lang="ru-RU" sz="1600" i="1" kern="0" dirty="0">
              <a:solidFill>
                <a:prstClr val="black"/>
              </a:solidFill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  <a:p>
            <a:pPr algn="ctr">
              <a:defRPr/>
            </a:pPr>
            <a:r>
              <a:rPr lang="cs-CZ" sz="1600" i="1" kern="0" dirty="0">
                <a:solidFill>
                  <a:prstClr val="black"/>
                </a:solidFill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s 55 zeměmi</a:t>
            </a:r>
            <a:endParaRPr lang="en-US" sz="1600" i="1" kern="0" dirty="0">
              <a:solidFill>
                <a:prstClr val="black"/>
              </a:solidFill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xmlns="" id="{A4542B5E-BEE1-4077-A521-45FA4D9491AB}"/>
              </a:ext>
            </a:extLst>
          </p:cNvPr>
          <p:cNvSpPr/>
          <p:nvPr/>
        </p:nvSpPr>
        <p:spPr>
          <a:xfrm>
            <a:off x="9294660" y="2115002"/>
            <a:ext cx="248038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Nejvyšší HDP na obyvatele v regionu</a:t>
            </a:r>
            <a:endParaRPr lang="en-US" b="1" kern="0" dirty="0"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Vyšší střední příjem</a:t>
            </a:r>
            <a:endParaRPr kumimoji="0" lang="en-US" sz="1600" b="0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</p:txBody>
      </p:sp>
      <p:sp>
        <p:nvSpPr>
          <p:cNvPr id="96" name="Freeform 8"/>
          <p:cNvSpPr>
            <a:spLocks noEditPoints="1"/>
          </p:cNvSpPr>
          <p:nvPr/>
        </p:nvSpPr>
        <p:spPr bwMode="auto">
          <a:xfrm>
            <a:off x="3243237" y="4479590"/>
            <a:ext cx="355494" cy="211955"/>
          </a:xfrm>
          <a:custGeom>
            <a:avLst/>
            <a:gdLst>
              <a:gd name="T0" fmla="*/ 335 w 493"/>
              <a:gd name="T1" fmla="*/ 25 h 302"/>
              <a:gd name="T2" fmla="*/ 335 w 493"/>
              <a:gd name="T3" fmla="*/ 252 h 302"/>
              <a:gd name="T4" fmla="*/ 411 w 493"/>
              <a:gd name="T5" fmla="*/ 252 h 302"/>
              <a:gd name="T6" fmla="*/ 411 w 493"/>
              <a:gd name="T7" fmla="*/ 25 h 302"/>
              <a:gd name="T8" fmla="*/ 335 w 493"/>
              <a:gd name="T9" fmla="*/ 25 h 302"/>
              <a:gd name="T10" fmla="*/ 208 w 493"/>
              <a:gd name="T11" fmla="*/ 25 h 302"/>
              <a:gd name="T12" fmla="*/ 208 w 493"/>
              <a:gd name="T13" fmla="*/ 252 h 302"/>
              <a:gd name="T14" fmla="*/ 285 w 493"/>
              <a:gd name="T15" fmla="*/ 252 h 302"/>
              <a:gd name="T16" fmla="*/ 285 w 493"/>
              <a:gd name="T17" fmla="*/ 25 h 302"/>
              <a:gd name="T18" fmla="*/ 208 w 493"/>
              <a:gd name="T19" fmla="*/ 25 h 302"/>
              <a:gd name="T20" fmla="*/ 82 w 493"/>
              <a:gd name="T21" fmla="*/ 25 h 302"/>
              <a:gd name="T22" fmla="*/ 82 w 493"/>
              <a:gd name="T23" fmla="*/ 252 h 302"/>
              <a:gd name="T24" fmla="*/ 159 w 493"/>
              <a:gd name="T25" fmla="*/ 252 h 302"/>
              <a:gd name="T26" fmla="*/ 159 w 493"/>
              <a:gd name="T27" fmla="*/ 25 h 302"/>
              <a:gd name="T28" fmla="*/ 82 w 493"/>
              <a:gd name="T29" fmla="*/ 25 h 302"/>
              <a:gd name="T30" fmla="*/ 25 w 493"/>
              <a:gd name="T31" fmla="*/ 0 h 302"/>
              <a:gd name="T32" fmla="*/ 468 w 493"/>
              <a:gd name="T33" fmla="*/ 0 h 302"/>
              <a:gd name="T34" fmla="*/ 473 w 493"/>
              <a:gd name="T35" fmla="*/ 0 h 302"/>
              <a:gd name="T36" fmla="*/ 477 w 493"/>
              <a:gd name="T37" fmla="*/ 3 h 302"/>
              <a:gd name="T38" fmla="*/ 480 w 493"/>
              <a:gd name="T39" fmla="*/ 7 h 302"/>
              <a:gd name="T40" fmla="*/ 480 w 493"/>
              <a:gd name="T41" fmla="*/ 12 h 302"/>
              <a:gd name="T42" fmla="*/ 480 w 493"/>
              <a:gd name="T43" fmla="*/ 18 h 302"/>
              <a:gd name="T44" fmla="*/ 477 w 493"/>
              <a:gd name="T45" fmla="*/ 20 h 302"/>
              <a:gd name="T46" fmla="*/ 473 w 493"/>
              <a:gd name="T47" fmla="*/ 23 h 302"/>
              <a:gd name="T48" fmla="*/ 468 w 493"/>
              <a:gd name="T49" fmla="*/ 25 h 302"/>
              <a:gd name="T50" fmla="*/ 461 w 493"/>
              <a:gd name="T51" fmla="*/ 25 h 302"/>
              <a:gd name="T52" fmla="*/ 461 w 493"/>
              <a:gd name="T53" fmla="*/ 252 h 302"/>
              <a:gd name="T54" fmla="*/ 468 w 493"/>
              <a:gd name="T55" fmla="*/ 252 h 302"/>
              <a:gd name="T56" fmla="*/ 480 w 493"/>
              <a:gd name="T57" fmla="*/ 255 h 302"/>
              <a:gd name="T58" fmla="*/ 490 w 493"/>
              <a:gd name="T59" fmla="*/ 264 h 302"/>
              <a:gd name="T60" fmla="*/ 493 w 493"/>
              <a:gd name="T61" fmla="*/ 277 h 302"/>
              <a:gd name="T62" fmla="*/ 490 w 493"/>
              <a:gd name="T63" fmla="*/ 290 h 302"/>
              <a:gd name="T64" fmla="*/ 480 w 493"/>
              <a:gd name="T65" fmla="*/ 299 h 302"/>
              <a:gd name="T66" fmla="*/ 468 w 493"/>
              <a:gd name="T67" fmla="*/ 302 h 302"/>
              <a:gd name="T68" fmla="*/ 25 w 493"/>
              <a:gd name="T69" fmla="*/ 302 h 302"/>
              <a:gd name="T70" fmla="*/ 13 w 493"/>
              <a:gd name="T71" fmla="*/ 299 h 302"/>
              <a:gd name="T72" fmla="*/ 4 w 493"/>
              <a:gd name="T73" fmla="*/ 290 h 302"/>
              <a:gd name="T74" fmla="*/ 0 w 493"/>
              <a:gd name="T75" fmla="*/ 277 h 302"/>
              <a:gd name="T76" fmla="*/ 4 w 493"/>
              <a:gd name="T77" fmla="*/ 264 h 302"/>
              <a:gd name="T78" fmla="*/ 13 w 493"/>
              <a:gd name="T79" fmla="*/ 255 h 302"/>
              <a:gd name="T80" fmla="*/ 25 w 493"/>
              <a:gd name="T81" fmla="*/ 252 h 302"/>
              <a:gd name="T82" fmla="*/ 32 w 493"/>
              <a:gd name="T83" fmla="*/ 252 h 302"/>
              <a:gd name="T84" fmla="*/ 32 w 493"/>
              <a:gd name="T85" fmla="*/ 25 h 302"/>
              <a:gd name="T86" fmla="*/ 25 w 493"/>
              <a:gd name="T87" fmla="*/ 25 h 302"/>
              <a:gd name="T88" fmla="*/ 21 w 493"/>
              <a:gd name="T89" fmla="*/ 23 h 302"/>
              <a:gd name="T90" fmla="*/ 16 w 493"/>
              <a:gd name="T91" fmla="*/ 20 h 302"/>
              <a:gd name="T92" fmla="*/ 15 w 493"/>
              <a:gd name="T93" fmla="*/ 18 h 302"/>
              <a:gd name="T94" fmla="*/ 13 w 493"/>
              <a:gd name="T95" fmla="*/ 12 h 302"/>
              <a:gd name="T96" fmla="*/ 15 w 493"/>
              <a:gd name="T97" fmla="*/ 7 h 302"/>
              <a:gd name="T98" fmla="*/ 16 w 493"/>
              <a:gd name="T99" fmla="*/ 3 h 302"/>
              <a:gd name="T100" fmla="*/ 21 w 493"/>
              <a:gd name="T101" fmla="*/ 0 h 302"/>
              <a:gd name="T102" fmla="*/ 25 w 493"/>
              <a:gd name="T103" fmla="*/ 0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93" h="302">
                <a:moveTo>
                  <a:pt x="335" y="25"/>
                </a:moveTo>
                <a:lnTo>
                  <a:pt x="335" y="252"/>
                </a:lnTo>
                <a:lnTo>
                  <a:pt x="411" y="252"/>
                </a:lnTo>
                <a:lnTo>
                  <a:pt x="411" y="25"/>
                </a:lnTo>
                <a:lnTo>
                  <a:pt x="335" y="25"/>
                </a:lnTo>
                <a:close/>
                <a:moveTo>
                  <a:pt x="208" y="25"/>
                </a:moveTo>
                <a:lnTo>
                  <a:pt x="208" y="252"/>
                </a:lnTo>
                <a:lnTo>
                  <a:pt x="285" y="252"/>
                </a:lnTo>
                <a:lnTo>
                  <a:pt x="285" y="25"/>
                </a:lnTo>
                <a:lnTo>
                  <a:pt x="208" y="25"/>
                </a:lnTo>
                <a:close/>
                <a:moveTo>
                  <a:pt x="82" y="25"/>
                </a:moveTo>
                <a:lnTo>
                  <a:pt x="82" y="252"/>
                </a:lnTo>
                <a:lnTo>
                  <a:pt x="159" y="252"/>
                </a:lnTo>
                <a:lnTo>
                  <a:pt x="159" y="25"/>
                </a:lnTo>
                <a:lnTo>
                  <a:pt x="82" y="25"/>
                </a:lnTo>
                <a:close/>
                <a:moveTo>
                  <a:pt x="25" y="0"/>
                </a:moveTo>
                <a:lnTo>
                  <a:pt x="468" y="0"/>
                </a:lnTo>
                <a:lnTo>
                  <a:pt x="473" y="0"/>
                </a:lnTo>
                <a:lnTo>
                  <a:pt x="477" y="3"/>
                </a:lnTo>
                <a:lnTo>
                  <a:pt x="480" y="7"/>
                </a:lnTo>
                <a:lnTo>
                  <a:pt x="480" y="12"/>
                </a:lnTo>
                <a:lnTo>
                  <a:pt x="480" y="18"/>
                </a:lnTo>
                <a:lnTo>
                  <a:pt x="477" y="20"/>
                </a:lnTo>
                <a:lnTo>
                  <a:pt x="473" y="23"/>
                </a:lnTo>
                <a:lnTo>
                  <a:pt x="468" y="25"/>
                </a:lnTo>
                <a:lnTo>
                  <a:pt x="461" y="25"/>
                </a:lnTo>
                <a:lnTo>
                  <a:pt x="461" y="252"/>
                </a:lnTo>
                <a:lnTo>
                  <a:pt x="468" y="252"/>
                </a:lnTo>
                <a:lnTo>
                  <a:pt x="480" y="255"/>
                </a:lnTo>
                <a:lnTo>
                  <a:pt x="490" y="264"/>
                </a:lnTo>
                <a:lnTo>
                  <a:pt x="493" y="277"/>
                </a:lnTo>
                <a:lnTo>
                  <a:pt x="490" y="290"/>
                </a:lnTo>
                <a:lnTo>
                  <a:pt x="480" y="299"/>
                </a:lnTo>
                <a:lnTo>
                  <a:pt x="468" y="302"/>
                </a:lnTo>
                <a:lnTo>
                  <a:pt x="25" y="302"/>
                </a:lnTo>
                <a:lnTo>
                  <a:pt x="13" y="299"/>
                </a:lnTo>
                <a:lnTo>
                  <a:pt x="4" y="290"/>
                </a:lnTo>
                <a:lnTo>
                  <a:pt x="0" y="277"/>
                </a:lnTo>
                <a:lnTo>
                  <a:pt x="4" y="264"/>
                </a:lnTo>
                <a:lnTo>
                  <a:pt x="13" y="255"/>
                </a:lnTo>
                <a:lnTo>
                  <a:pt x="25" y="252"/>
                </a:lnTo>
                <a:lnTo>
                  <a:pt x="32" y="252"/>
                </a:lnTo>
                <a:lnTo>
                  <a:pt x="32" y="25"/>
                </a:lnTo>
                <a:lnTo>
                  <a:pt x="25" y="25"/>
                </a:lnTo>
                <a:lnTo>
                  <a:pt x="21" y="23"/>
                </a:lnTo>
                <a:lnTo>
                  <a:pt x="16" y="20"/>
                </a:lnTo>
                <a:lnTo>
                  <a:pt x="15" y="18"/>
                </a:lnTo>
                <a:lnTo>
                  <a:pt x="13" y="12"/>
                </a:lnTo>
                <a:lnTo>
                  <a:pt x="15" y="7"/>
                </a:lnTo>
                <a:lnTo>
                  <a:pt x="16" y="3"/>
                </a:lnTo>
                <a:lnTo>
                  <a:pt x="21" y="0"/>
                </a:lnTo>
                <a:lnTo>
                  <a:pt x="25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scene3d>
            <a:camera prst="orthographicFront"/>
            <a:lightRig rig="threePt" dir="t"/>
          </a:scene3d>
          <a:sp3d>
            <a:bevelT w="0" h="0"/>
            <a:bevelB w="0" h="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latin typeface="Century Gothic" panose="020B0502020202020204" pitchFamily="34" charset="0"/>
            </a:endParaRPr>
          </a:p>
        </p:txBody>
      </p:sp>
      <p:sp>
        <p:nvSpPr>
          <p:cNvPr id="97" name="Freeform 9"/>
          <p:cNvSpPr>
            <a:spLocks/>
          </p:cNvSpPr>
          <p:nvPr/>
        </p:nvSpPr>
        <p:spPr bwMode="auto">
          <a:xfrm>
            <a:off x="3220883" y="4347644"/>
            <a:ext cx="400922" cy="115102"/>
          </a:xfrm>
          <a:custGeom>
            <a:avLst/>
            <a:gdLst>
              <a:gd name="T0" fmla="*/ 282 w 556"/>
              <a:gd name="T1" fmla="*/ 0 h 164"/>
              <a:gd name="T2" fmla="*/ 288 w 556"/>
              <a:gd name="T3" fmla="*/ 3 h 164"/>
              <a:gd name="T4" fmla="*/ 539 w 556"/>
              <a:gd name="T5" fmla="*/ 116 h 164"/>
              <a:gd name="T6" fmla="*/ 548 w 556"/>
              <a:gd name="T7" fmla="*/ 121 h 164"/>
              <a:gd name="T8" fmla="*/ 553 w 556"/>
              <a:gd name="T9" fmla="*/ 129 h 164"/>
              <a:gd name="T10" fmla="*/ 556 w 556"/>
              <a:gd name="T11" fmla="*/ 140 h 164"/>
              <a:gd name="T12" fmla="*/ 552 w 556"/>
              <a:gd name="T13" fmla="*/ 153 h 164"/>
              <a:gd name="T14" fmla="*/ 543 w 556"/>
              <a:gd name="T15" fmla="*/ 162 h 164"/>
              <a:gd name="T16" fmla="*/ 530 w 556"/>
              <a:gd name="T17" fmla="*/ 164 h 164"/>
              <a:gd name="T18" fmla="*/ 25 w 556"/>
              <a:gd name="T19" fmla="*/ 164 h 164"/>
              <a:gd name="T20" fmla="*/ 13 w 556"/>
              <a:gd name="T21" fmla="*/ 162 h 164"/>
              <a:gd name="T22" fmla="*/ 5 w 556"/>
              <a:gd name="T23" fmla="*/ 156 h 164"/>
              <a:gd name="T24" fmla="*/ 0 w 556"/>
              <a:gd name="T25" fmla="*/ 145 h 164"/>
              <a:gd name="T26" fmla="*/ 0 w 556"/>
              <a:gd name="T27" fmla="*/ 134 h 164"/>
              <a:gd name="T28" fmla="*/ 6 w 556"/>
              <a:gd name="T29" fmla="*/ 123 h 164"/>
              <a:gd name="T30" fmla="*/ 15 w 556"/>
              <a:gd name="T31" fmla="*/ 116 h 164"/>
              <a:gd name="T32" fmla="*/ 267 w 556"/>
              <a:gd name="T33" fmla="*/ 3 h 164"/>
              <a:gd name="T34" fmla="*/ 275 w 556"/>
              <a:gd name="T35" fmla="*/ 0 h 164"/>
              <a:gd name="T36" fmla="*/ 282 w 556"/>
              <a:gd name="T37" fmla="*/ 0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56" h="164">
                <a:moveTo>
                  <a:pt x="282" y="0"/>
                </a:moveTo>
                <a:lnTo>
                  <a:pt x="288" y="3"/>
                </a:lnTo>
                <a:lnTo>
                  <a:pt x="539" y="116"/>
                </a:lnTo>
                <a:lnTo>
                  <a:pt x="548" y="121"/>
                </a:lnTo>
                <a:lnTo>
                  <a:pt x="553" y="129"/>
                </a:lnTo>
                <a:lnTo>
                  <a:pt x="556" y="140"/>
                </a:lnTo>
                <a:lnTo>
                  <a:pt x="552" y="153"/>
                </a:lnTo>
                <a:lnTo>
                  <a:pt x="543" y="162"/>
                </a:lnTo>
                <a:lnTo>
                  <a:pt x="530" y="164"/>
                </a:lnTo>
                <a:lnTo>
                  <a:pt x="25" y="164"/>
                </a:lnTo>
                <a:lnTo>
                  <a:pt x="13" y="162"/>
                </a:lnTo>
                <a:lnTo>
                  <a:pt x="5" y="156"/>
                </a:lnTo>
                <a:lnTo>
                  <a:pt x="0" y="145"/>
                </a:lnTo>
                <a:lnTo>
                  <a:pt x="0" y="134"/>
                </a:lnTo>
                <a:lnTo>
                  <a:pt x="6" y="123"/>
                </a:lnTo>
                <a:lnTo>
                  <a:pt x="15" y="116"/>
                </a:lnTo>
                <a:lnTo>
                  <a:pt x="267" y="3"/>
                </a:lnTo>
                <a:lnTo>
                  <a:pt x="275" y="0"/>
                </a:lnTo>
                <a:lnTo>
                  <a:pt x="282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scene3d>
            <a:camera prst="orthographicFront"/>
            <a:lightRig rig="threePt" dir="t"/>
          </a:scene3d>
          <a:sp3d>
            <a:bevelT w="0" h="0"/>
            <a:bevelB w="0" h="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latin typeface="Century Gothic" panose="020B0502020202020204" pitchFamily="34" charset="0"/>
            </a:endParaRPr>
          </a:p>
        </p:txBody>
      </p:sp>
      <p:sp>
        <p:nvSpPr>
          <p:cNvPr id="132" name="Freeform 34">
            <a:extLst>
              <a:ext uri="{FF2B5EF4-FFF2-40B4-BE49-F238E27FC236}">
                <a16:creationId xmlns:a16="http://schemas.microsoft.com/office/drawing/2014/main" xmlns="" id="{F825DF7A-4BA1-425D-841A-E54394C11385}"/>
              </a:ext>
            </a:extLst>
          </p:cNvPr>
          <p:cNvSpPr>
            <a:spLocks/>
          </p:cNvSpPr>
          <p:nvPr/>
        </p:nvSpPr>
        <p:spPr bwMode="auto">
          <a:xfrm>
            <a:off x="1163874" y="4174849"/>
            <a:ext cx="325173" cy="254261"/>
          </a:xfrm>
          <a:custGeom>
            <a:avLst/>
            <a:gdLst>
              <a:gd name="T0" fmla="*/ 180 w 1800"/>
              <a:gd name="T1" fmla="*/ 960 h 1200"/>
              <a:gd name="T2" fmla="*/ 305 w 1800"/>
              <a:gd name="T3" fmla="*/ 909 h 1200"/>
              <a:gd name="T4" fmla="*/ 482 w 1800"/>
              <a:gd name="T5" fmla="*/ 998 h 1200"/>
              <a:gd name="T6" fmla="*/ 480 w 1800"/>
              <a:gd name="T7" fmla="*/ 1020 h 1200"/>
              <a:gd name="T8" fmla="*/ 660 w 1800"/>
              <a:gd name="T9" fmla="*/ 1200 h 1200"/>
              <a:gd name="T10" fmla="*/ 840 w 1800"/>
              <a:gd name="T11" fmla="*/ 1020 h 1200"/>
              <a:gd name="T12" fmla="*/ 822 w 1800"/>
              <a:gd name="T13" fmla="*/ 943 h 1200"/>
              <a:gd name="T14" fmla="*/ 1063 w 1800"/>
              <a:gd name="T15" fmla="*/ 702 h 1200"/>
              <a:gd name="T16" fmla="*/ 1140 w 1800"/>
              <a:gd name="T17" fmla="*/ 720 h 1200"/>
              <a:gd name="T18" fmla="*/ 1320 w 1800"/>
              <a:gd name="T19" fmla="*/ 540 h 1200"/>
              <a:gd name="T20" fmla="*/ 1311 w 1800"/>
              <a:gd name="T21" fmla="*/ 487 h 1200"/>
              <a:gd name="T22" fmla="*/ 1520 w 1800"/>
              <a:gd name="T23" fmla="*/ 330 h 1200"/>
              <a:gd name="T24" fmla="*/ 1620 w 1800"/>
              <a:gd name="T25" fmla="*/ 360 h 1200"/>
              <a:gd name="T26" fmla="*/ 1800 w 1800"/>
              <a:gd name="T27" fmla="*/ 180 h 1200"/>
              <a:gd name="T28" fmla="*/ 1620 w 1800"/>
              <a:gd name="T29" fmla="*/ 0 h 1200"/>
              <a:gd name="T30" fmla="*/ 1440 w 1800"/>
              <a:gd name="T31" fmla="*/ 180 h 1200"/>
              <a:gd name="T32" fmla="*/ 1449 w 1800"/>
              <a:gd name="T33" fmla="*/ 233 h 1200"/>
              <a:gd name="T34" fmla="*/ 1240 w 1800"/>
              <a:gd name="T35" fmla="*/ 390 h 1200"/>
              <a:gd name="T36" fmla="*/ 1140 w 1800"/>
              <a:gd name="T37" fmla="*/ 360 h 1200"/>
              <a:gd name="T38" fmla="*/ 960 w 1800"/>
              <a:gd name="T39" fmla="*/ 540 h 1200"/>
              <a:gd name="T40" fmla="*/ 978 w 1800"/>
              <a:gd name="T41" fmla="*/ 617 h 1200"/>
              <a:gd name="T42" fmla="*/ 737 w 1800"/>
              <a:gd name="T43" fmla="*/ 858 h 1200"/>
              <a:gd name="T44" fmla="*/ 660 w 1800"/>
              <a:gd name="T45" fmla="*/ 840 h 1200"/>
              <a:gd name="T46" fmla="*/ 535 w 1800"/>
              <a:gd name="T47" fmla="*/ 891 h 1200"/>
              <a:gd name="T48" fmla="*/ 358 w 1800"/>
              <a:gd name="T49" fmla="*/ 802 h 1200"/>
              <a:gd name="T50" fmla="*/ 360 w 1800"/>
              <a:gd name="T51" fmla="*/ 780 h 1200"/>
              <a:gd name="T52" fmla="*/ 180 w 1800"/>
              <a:gd name="T53" fmla="*/ 600 h 1200"/>
              <a:gd name="T54" fmla="*/ 0 w 1800"/>
              <a:gd name="T55" fmla="*/ 780 h 1200"/>
              <a:gd name="T56" fmla="*/ 180 w 1800"/>
              <a:gd name="T57" fmla="*/ 960 h 1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800" h="1200">
                <a:moveTo>
                  <a:pt x="180" y="960"/>
                </a:moveTo>
                <a:cubicBezTo>
                  <a:pt x="228" y="960"/>
                  <a:pt x="272" y="941"/>
                  <a:pt x="305" y="909"/>
                </a:cubicBezTo>
                <a:cubicBezTo>
                  <a:pt x="482" y="998"/>
                  <a:pt x="482" y="998"/>
                  <a:pt x="482" y="998"/>
                </a:cubicBezTo>
                <a:cubicBezTo>
                  <a:pt x="481" y="1005"/>
                  <a:pt x="480" y="1013"/>
                  <a:pt x="480" y="1020"/>
                </a:cubicBezTo>
                <a:cubicBezTo>
                  <a:pt x="480" y="1119"/>
                  <a:pt x="561" y="1200"/>
                  <a:pt x="660" y="1200"/>
                </a:cubicBezTo>
                <a:cubicBezTo>
                  <a:pt x="759" y="1200"/>
                  <a:pt x="840" y="1119"/>
                  <a:pt x="840" y="1020"/>
                </a:cubicBezTo>
                <a:cubicBezTo>
                  <a:pt x="840" y="992"/>
                  <a:pt x="833" y="966"/>
                  <a:pt x="822" y="943"/>
                </a:cubicBezTo>
                <a:cubicBezTo>
                  <a:pt x="1063" y="702"/>
                  <a:pt x="1063" y="702"/>
                  <a:pt x="1063" y="702"/>
                </a:cubicBezTo>
                <a:cubicBezTo>
                  <a:pt x="1086" y="713"/>
                  <a:pt x="1112" y="720"/>
                  <a:pt x="1140" y="720"/>
                </a:cubicBezTo>
                <a:cubicBezTo>
                  <a:pt x="1239" y="720"/>
                  <a:pt x="1320" y="639"/>
                  <a:pt x="1320" y="540"/>
                </a:cubicBezTo>
                <a:cubicBezTo>
                  <a:pt x="1320" y="521"/>
                  <a:pt x="1316" y="504"/>
                  <a:pt x="1311" y="487"/>
                </a:cubicBezTo>
                <a:cubicBezTo>
                  <a:pt x="1520" y="330"/>
                  <a:pt x="1520" y="330"/>
                  <a:pt x="1520" y="330"/>
                </a:cubicBezTo>
                <a:cubicBezTo>
                  <a:pt x="1549" y="349"/>
                  <a:pt x="1583" y="360"/>
                  <a:pt x="1620" y="360"/>
                </a:cubicBezTo>
                <a:cubicBezTo>
                  <a:pt x="1719" y="360"/>
                  <a:pt x="1800" y="279"/>
                  <a:pt x="1800" y="180"/>
                </a:cubicBezTo>
                <a:cubicBezTo>
                  <a:pt x="1800" y="81"/>
                  <a:pt x="1719" y="0"/>
                  <a:pt x="1620" y="0"/>
                </a:cubicBezTo>
                <a:cubicBezTo>
                  <a:pt x="1521" y="0"/>
                  <a:pt x="1440" y="81"/>
                  <a:pt x="1440" y="180"/>
                </a:cubicBezTo>
                <a:cubicBezTo>
                  <a:pt x="1440" y="199"/>
                  <a:pt x="1444" y="216"/>
                  <a:pt x="1449" y="233"/>
                </a:cubicBezTo>
                <a:cubicBezTo>
                  <a:pt x="1240" y="390"/>
                  <a:pt x="1240" y="390"/>
                  <a:pt x="1240" y="390"/>
                </a:cubicBezTo>
                <a:cubicBezTo>
                  <a:pt x="1211" y="371"/>
                  <a:pt x="1177" y="360"/>
                  <a:pt x="1140" y="360"/>
                </a:cubicBezTo>
                <a:cubicBezTo>
                  <a:pt x="1041" y="360"/>
                  <a:pt x="960" y="441"/>
                  <a:pt x="960" y="540"/>
                </a:cubicBezTo>
                <a:cubicBezTo>
                  <a:pt x="960" y="568"/>
                  <a:pt x="967" y="594"/>
                  <a:pt x="978" y="617"/>
                </a:cubicBezTo>
                <a:cubicBezTo>
                  <a:pt x="737" y="858"/>
                  <a:pt x="737" y="858"/>
                  <a:pt x="737" y="858"/>
                </a:cubicBezTo>
                <a:cubicBezTo>
                  <a:pt x="714" y="847"/>
                  <a:pt x="688" y="840"/>
                  <a:pt x="660" y="840"/>
                </a:cubicBezTo>
                <a:cubicBezTo>
                  <a:pt x="612" y="840"/>
                  <a:pt x="568" y="859"/>
                  <a:pt x="535" y="891"/>
                </a:cubicBezTo>
                <a:cubicBezTo>
                  <a:pt x="358" y="802"/>
                  <a:pt x="358" y="802"/>
                  <a:pt x="358" y="802"/>
                </a:cubicBezTo>
                <a:cubicBezTo>
                  <a:pt x="359" y="795"/>
                  <a:pt x="360" y="787"/>
                  <a:pt x="360" y="780"/>
                </a:cubicBezTo>
                <a:cubicBezTo>
                  <a:pt x="360" y="681"/>
                  <a:pt x="279" y="600"/>
                  <a:pt x="180" y="600"/>
                </a:cubicBezTo>
                <a:cubicBezTo>
                  <a:pt x="81" y="600"/>
                  <a:pt x="0" y="681"/>
                  <a:pt x="0" y="780"/>
                </a:cubicBezTo>
                <a:cubicBezTo>
                  <a:pt x="0" y="879"/>
                  <a:pt x="81" y="960"/>
                  <a:pt x="180" y="96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latin typeface="Century Gothic" panose="020B0502020202020204" pitchFamily="34" charset="0"/>
            </a:endParaRPr>
          </a:p>
        </p:txBody>
      </p:sp>
      <p:sp>
        <p:nvSpPr>
          <p:cNvPr id="133" name="Freeform 35">
            <a:extLst>
              <a:ext uri="{FF2B5EF4-FFF2-40B4-BE49-F238E27FC236}">
                <a16:creationId xmlns:a16="http://schemas.microsoft.com/office/drawing/2014/main" xmlns="" id="{FD72D47A-3569-4EAC-9577-271EAAF35E04}"/>
              </a:ext>
            </a:extLst>
          </p:cNvPr>
          <p:cNvSpPr>
            <a:spLocks/>
          </p:cNvSpPr>
          <p:nvPr/>
        </p:nvSpPr>
        <p:spPr bwMode="auto">
          <a:xfrm>
            <a:off x="1130181" y="4305296"/>
            <a:ext cx="369917" cy="306708"/>
          </a:xfrm>
          <a:custGeom>
            <a:avLst/>
            <a:gdLst>
              <a:gd name="T0" fmla="*/ 1988 w 2048"/>
              <a:gd name="T1" fmla="*/ 1328 h 1448"/>
              <a:gd name="T2" fmla="*/ 1924 w 2048"/>
              <a:gd name="T3" fmla="*/ 1328 h 1448"/>
              <a:gd name="T4" fmla="*/ 1924 w 2048"/>
              <a:gd name="T5" fmla="*/ 60 h 1448"/>
              <a:gd name="T6" fmla="*/ 1864 w 2048"/>
              <a:gd name="T7" fmla="*/ 0 h 1448"/>
              <a:gd name="T8" fmla="*/ 1624 w 2048"/>
              <a:gd name="T9" fmla="*/ 0 h 1448"/>
              <a:gd name="T10" fmla="*/ 1564 w 2048"/>
              <a:gd name="T11" fmla="*/ 60 h 1448"/>
              <a:gd name="T12" fmla="*/ 1564 w 2048"/>
              <a:gd name="T13" fmla="*/ 1328 h 1448"/>
              <a:gd name="T14" fmla="*/ 1444 w 2048"/>
              <a:gd name="T15" fmla="*/ 1328 h 1448"/>
              <a:gd name="T16" fmla="*/ 1444 w 2048"/>
              <a:gd name="T17" fmla="*/ 420 h 1448"/>
              <a:gd name="T18" fmla="*/ 1384 w 2048"/>
              <a:gd name="T19" fmla="*/ 360 h 1448"/>
              <a:gd name="T20" fmla="*/ 1144 w 2048"/>
              <a:gd name="T21" fmla="*/ 360 h 1448"/>
              <a:gd name="T22" fmla="*/ 1084 w 2048"/>
              <a:gd name="T23" fmla="*/ 420 h 1448"/>
              <a:gd name="T24" fmla="*/ 1084 w 2048"/>
              <a:gd name="T25" fmla="*/ 1328 h 1448"/>
              <a:gd name="T26" fmla="*/ 964 w 2048"/>
              <a:gd name="T27" fmla="*/ 1328 h 1448"/>
              <a:gd name="T28" fmla="*/ 964 w 2048"/>
              <a:gd name="T29" fmla="*/ 900 h 1448"/>
              <a:gd name="T30" fmla="*/ 904 w 2048"/>
              <a:gd name="T31" fmla="*/ 840 h 1448"/>
              <a:gd name="T32" fmla="*/ 664 w 2048"/>
              <a:gd name="T33" fmla="*/ 840 h 1448"/>
              <a:gd name="T34" fmla="*/ 604 w 2048"/>
              <a:gd name="T35" fmla="*/ 900 h 1448"/>
              <a:gd name="T36" fmla="*/ 604 w 2048"/>
              <a:gd name="T37" fmla="*/ 1328 h 1448"/>
              <a:gd name="T38" fmla="*/ 484 w 2048"/>
              <a:gd name="T39" fmla="*/ 1328 h 1448"/>
              <a:gd name="T40" fmla="*/ 484 w 2048"/>
              <a:gd name="T41" fmla="*/ 660 h 1448"/>
              <a:gd name="T42" fmla="*/ 424 w 2048"/>
              <a:gd name="T43" fmla="*/ 600 h 1448"/>
              <a:gd name="T44" fmla="*/ 184 w 2048"/>
              <a:gd name="T45" fmla="*/ 600 h 1448"/>
              <a:gd name="T46" fmla="*/ 124 w 2048"/>
              <a:gd name="T47" fmla="*/ 660 h 1448"/>
              <a:gd name="T48" fmla="*/ 124 w 2048"/>
              <a:gd name="T49" fmla="*/ 1328 h 1448"/>
              <a:gd name="T50" fmla="*/ 60 w 2048"/>
              <a:gd name="T51" fmla="*/ 1328 h 1448"/>
              <a:gd name="T52" fmla="*/ 0 w 2048"/>
              <a:gd name="T53" fmla="*/ 1388 h 1448"/>
              <a:gd name="T54" fmla="*/ 60 w 2048"/>
              <a:gd name="T55" fmla="*/ 1448 h 1448"/>
              <a:gd name="T56" fmla="*/ 1988 w 2048"/>
              <a:gd name="T57" fmla="*/ 1448 h 1448"/>
              <a:gd name="T58" fmla="*/ 2048 w 2048"/>
              <a:gd name="T59" fmla="*/ 1388 h 1448"/>
              <a:gd name="T60" fmla="*/ 1988 w 2048"/>
              <a:gd name="T61" fmla="*/ 1328 h 14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048" h="1448">
                <a:moveTo>
                  <a:pt x="1988" y="1328"/>
                </a:moveTo>
                <a:cubicBezTo>
                  <a:pt x="1924" y="1328"/>
                  <a:pt x="1924" y="1328"/>
                  <a:pt x="1924" y="1328"/>
                </a:cubicBezTo>
                <a:cubicBezTo>
                  <a:pt x="1924" y="60"/>
                  <a:pt x="1924" y="60"/>
                  <a:pt x="1924" y="60"/>
                </a:cubicBezTo>
                <a:cubicBezTo>
                  <a:pt x="1924" y="27"/>
                  <a:pt x="1897" y="0"/>
                  <a:pt x="1864" y="0"/>
                </a:cubicBezTo>
                <a:cubicBezTo>
                  <a:pt x="1624" y="0"/>
                  <a:pt x="1624" y="0"/>
                  <a:pt x="1624" y="0"/>
                </a:cubicBezTo>
                <a:cubicBezTo>
                  <a:pt x="1591" y="0"/>
                  <a:pt x="1564" y="27"/>
                  <a:pt x="1564" y="60"/>
                </a:cubicBezTo>
                <a:cubicBezTo>
                  <a:pt x="1564" y="1328"/>
                  <a:pt x="1564" y="1328"/>
                  <a:pt x="1564" y="1328"/>
                </a:cubicBezTo>
                <a:cubicBezTo>
                  <a:pt x="1444" y="1328"/>
                  <a:pt x="1444" y="1328"/>
                  <a:pt x="1444" y="1328"/>
                </a:cubicBezTo>
                <a:cubicBezTo>
                  <a:pt x="1444" y="420"/>
                  <a:pt x="1444" y="420"/>
                  <a:pt x="1444" y="420"/>
                </a:cubicBezTo>
                <a:cubicBezTo>
                  <a:pt x="1444" y="387"/>
                  <a:pt x="1417" y="360"/>
                  <a:pt x="1384" y="360"/>
                </a:cubicBezTo>
                <a:cubicBezTo>
                  <a:pt x="1144" y="360"/>
                  <a:pt x="1144" y="360"/>
                  <a:pt x="1144" y="360"/>
                </a:cubicBezTo>
                <a:cubicBezTo>
                  <a:pt x="1111" y="360"/>
                  <a:pt x="1084" y="387"/>
                  <a:pt x="1084" y="420"/>
                </a:cubicBezTo>
                <a:cubicBezTo>
                  <a:pt x="1084" y="1328"/>
                  <a:pt x="1084" y="1328"/>
                  <a:pt x="1084" y="1328"/>
                </a:cubicBezTo>
                <a:cubicBezTo>
                  <a:pt x="964" y="1328"/>
                  <a:pt x="964" y="1328"/>
                  <a:pt x="964" y="1328"/>
                </a:cubicBezTo>
                <a:cubicBezTo>
                  <a:pt x="964" y="900"/>
                  <a:pt x="964" y="900"/>
                  <a:pt x="964" y="900"/>
                </a:cubicBezTo>
                <a:cubicBezTo>
                  <a:pt x="964" y="867"/>
                  <a:pt x="937" y="840"/>
                  <a:pt x="904" y="840"/>
                </a:cubicBezTo>
                <a:cubicBezTo>
                  <a:pt x="664" y="840"/>
                  <a:pt x="664" y="840"/>
                  <a:pt x="664" y="840"/>
                </a:cubicBezTo>
                <a:cubicBezTo>
                  <a:pt x="631" y="840"/>
                  <a:pt x="604" y="867"/>
                  <a:pt x="604" y="900"/>
                </a:cubicBezTo>
                <a:cubicBezTo>
                  <a:pt x="604" y="1328"/>
                  <a:pt x="604" y="1328"/>
                  <a:pt x="604" y="1328"/>
                </a:cubicBezTo>
                <a:cubicBezTo>
                  <a:pt x="484" y="1328"/>
                  <a:pt x="484" y="1328"/>
                  <a:pt x="484" y="1328"/>
                </a:cubicBezTo>
                <a:cubicBezTo>
                  <a:pt x="484" y="660"/>
                  <a:pt x="484" y="660"/>
                  <a:pt x="484" y="660"/>
                </a:cubicBezTo>
                <a:cubicBezTo>
                  <a:pt x="484" y="627"/>
                  <a:pt x="457" y="600"/>
                  <a:pt x="424" y="600"/>
                </a:cubicBezTo>
                <a:cubicBezTo>
                  <a:pt x="184" y="600"/>
                  <a:pt x="184" y="600"/>
                  <a:pt x="184" y="600"/>
                </a:cubicBezTo>
                <a:cubicBezTo>
                  <a:pt x="151" y="600"/>
                  <a:pt x="124" y="627"/>
                  <a:pt x="124" y="660"/>
                </a:cubicBezTo>
                <a:cubicBezTo>
                  <a:pt x="124" y="1328"/>
                  <a:pt x="124" y="1328"/>
                  <a:pt x="124" y="1328"/>
                </a:cubicBezTo>
                <a:cubicBezTo>
                  <a:pt x="60" y="1328"/>
                  <a:pt x="60" y="1328"/>
                  <a:pt x="60" y="1328"/>
                </a:cubicBezTo>
                <a:cubicBezTo>
                  <a:pt x="27" y="1328"/>
                  <a:pt x="0" y="1355"/>
                  <a:pt x="0" y="1388"/>
                </a:cubicBezTo>
                <a:cubicBezTo>
                  <a:pt x="0" y="1421"/>
                  <a:pt x="27" y="1448"/>
                  <a:pt x="60" y="1448"/>
                </a:cubicBezTo>
                <a:cubicBezTo>
                  <a:pt x="1988" y="1448"/>
                  <a:pt x="1988" y="1448"/>
                  <a:pt x="1988" y="1448"/>
                </a:cubicBezTo>
                <a:cubicBezTo>
                  <a:pt x="2021" y="1448"/>
                  <a:pt x="2048" y="1421"/>
                  <a:pt x="2048" y="1388"/>
                </a:cubicBezTo>
                <a:cubicBezTo>
                  <a:pt x="2048" y="1355"/>
                  <a:pt x="2021" y="1328"/>
                  <a:pt x="1988" y="1328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>
              <a:latin typeface="Century Gothic" panose="020B0502020202020204" pitchFamily="34" charset="0"/>
            </a:endParaRPr>
          </a:p>
        </p:txBody>
      </p:sp>
      <p:sp>
        <p:nvSpPr>
          <p:cNvPr id="52" name="Овал 51"/>
          <p:cNvSpPr/>
          <p:nvPr/>
        </p:nvSpPr>
        <p:spPr>
          <a:xfrm>
            <a:off x="1185398" y="1264335"/>
            <a:ext cx="633774" cy="6403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448796" y="647000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BC0DC2-9AC7-4AF2-ABC3-6798633670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A4542B5E-BEE1-4077-A521-45FA4D9491AB}"/>
              </a:ext>
            </a:extLst>
          </p:cNvPr>
          <p:cNvSpPr/>
          <p:nvPr/>
        </p:nvSpPr>
        <p:spPr>
          <a:xfrm>
            <a:off x="9040674" y="4939276"/>
            <a:ext cx="3152987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Ochrana investorů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  <a:p>
            <a:pPr lvl="0" algn="ctr">
              <a:defRPr/>
            </a:pPr>
            <a:r>
              <a:rPr lang="cs-CZ" sz="1600" i="1" kern="0" dirty="0">
                <a:latin typeface="Century Gothic" panose="020B0502020202020204" pitchFamily="34" charset="0"/>
                <a:ea typeface="Malgun Gothic Semilight" panose="020B0502040204020203" pitchFamily="34" charset="-128"/>
                <a:cs typeface="Arial Narrow"/>
              </a:rPr>
              <a:t>Dvoustranné smlouvy o ochraně investic se 47 zeměmi a 1 mnohostranná investiční smlouva</a:t>
            </a:r>
            <a:endParaRPr lang="en-US" sz="1600" i="1" kern="0" dirty="0">
              <a:latin typeface="Century Gothic" panose="020B0502020202020204" pitchFamily="34" charset="0"/>
              <a:ea typeface="Malgun Gothic Semilight" panose="020B0502040204020203" pitchFamily="34" charset="-128"/>
              <a:cs typeface="Arial Narrow"/>
            </a:endParaRPr>
          </a:p>
        </p:txBody>
      </p:sp>
      <p:sp>
        <p:nvSpPr>
          <p:cNvPr id="80" name="Freeform 42">
            <a:extLst>
              <a:ext uri="{FF2B5EF4-FFF2-40B4-BE49-F238E27FC236}">
                <a16:creationId xmlns:a16="http://schemas.microsoft.com/office/drawing/2014/main" xmlns="" id="{93A44508-033C-4DE8-BAB4-E99EC8B6CC2E}"/>
              </a:ext>
            </a:extLst>
          </p:cNvPr>
          <p:cNvSpPr>
            <a:spLocks noEditPoints="1"/>
          </p:cNvSpPr>
          <p:nvPr/>
        </p:nvSpPr>
        <p:spPr bwMode="auto">
          <a:xfrm>
            <a:off x="10630204" y="4191994"/>
            <a:ext cx="511702" cy="560360"/>
          </a:xfrm>
          <a:custGeom>
            <a:avLst/>
            <a:gdLst>
              <a:gd name="T0" fmla="*/ 1102 w 1634"/>
              <a:gd name="T1" fmla="*/ 1040 h 1959"/>
              <a:gd name="T2" fmla="*/ 1102 w 1634"/>
              <a:gd name="T3" fmla="*/ 594 h 1959"/>
              <a:gd name="T4" fmla="*/ 1505 w 1634"/>
              <a:gd name="T5" fmla="*/ 817 h 1959"/>
              <a:gd name="T6" fmla="*/ 792 w 1634"/>
              <a:gd name="T7" fmla="*/ 130 h 1959"/>
              <a:gd name="T8" fmla="*/ 841 w 1634"/>
              <a:gd name="T9" fmla="*/ 130 h 1959"/>
              <a:gd name="T10" fmla="*/ 646 w 1634"/>
              <a:gd name="T11" fmla="*/ 501 h 1959"/>
              <a:gd name="T12" fmla="*/ 623 w 1634"/>
              <a:gd name="T13" fmla="*/ 817 h 1959"/>
              <a:gd name="T14" fmla="*/ 827 w 1634"/>
              <a:gd name="T15" fmla="*/ 611 h 1959"/>
              <a:gd name="T16" fmla="*/ 1010 w 1634"/>
              <a:gd name="T17" fmla="*/ 817 h 1959"/>
              <a:gd name="T18" fmla="*/ 827 w 1634"/>
              <a:gd name="T19" fmla="*/ 1023 h 1959"/>
              <a:gd name="T20" fmla="*/ 623 w 1634"/>
              <a:gd name="T21" fmla="*/ 817 h 1959"/>
              <a:gd name="T22" fmla="*/ 1090 w 1634"/>
              <a:gd name="T23" fmla="*/ 492 h 1959"/>
              <a:gd name="T24" fmla="*/ 1381 w 1634"/>
              <a:gd name="T25" fmla="*/ 424 h 1959"/>
              <a:gd name="T26" fmla="*/ 544 w 1634"/>
              <a:gd name="T27" fmla="*/ 489 h 1959"/>
              <a:gd name="T28" fmla="*/ 645 w 1634"/>
              <a:gd name="T29" fmla="*/ 151 h 1959"/>
              <a:gd name="T30" fmla="*/ 1634 w 1634"/>
              <a:gd name="T31" fmla="*/ 817 h 1959"/>
              <a:gd name="T32" fmla="*/ 13 w 1634"/>
              <a:gd name="T33" fmla="*/ 673 h 1959"/>
              <a:gd name="T34" fmla="*/ 701 w 1634"/>
              <a:gd name="T35" fmla="*/ 1755 h 1959"/>
              <a:gd name="T36" fmla="*/ 1383 w 1634"/>
              <a:gd name="T37" fmla="*/ 1565 h 1959"/>
              <a:gd name="T38" fmla="*/ 701 w 1634"/>
              <a:gd name="T39" fmla="*/ 1365 h 1959"/>
              <a:gd name="T40" fmla="*/ 144 w 1634"/>
              <a:gd name="T41" fmla="*/ 673 h 1959"/>
              <a:gd name="T42" fmla="*/ 531 w 1634"/>
              <a:gd name="T43" fmla="*/ 592 h 1959"/>
              <a:gd name="T44" fmla="*/ 531 w 1634"/>
              <a:gd name="T45" fmla="*/ 1043 h 1959"/>
              <a:gd name="T46" fmla="*/ 326 w 1634"/>
              <a:gd name="T47" fmla="*/ 1101 h 1959"/>
              <a:gd name="T48" fmla="*/ 362 w 1634"/>
              <a:gd name="T49" fmla="*/ 1142 h 1959"/>
              <a:gd name="T50" fmla="*/ 393 w 1634"/>
              <a:gd name="T51" fmla="*/ 1173 h 1959"/>
              <a:gd name="T52" fmla="*/ 569 w 1634"/>
              <a:gd name="T53" fmla="*/ 1276 h 1959"/>
              <a:gd name="T54" fmla="*/ 611 w 1634"/>
              <a:gd name="T55" fmla="*/ 1286 h 1959"/>
              <a:gd name="T56" fmla="*/ 624 w 1634"/>
              <a:gd name="T57" fmla="*/ 1287 h 1959"/>
              <a:gd name="T58" fmla="*/ 778 w 1634"/>
              <a:gd name="T59" fmla="*/ 1127 h 1959"/>
              <a:gd name="T60" fmla="*/ 988 w 1634"/>
              <a:gd name="T61" fmla="*/ 1132 h 1959"/>
              <a:gd name="T62" fmla="*/ 1060 w 1634"/>
              <a:gd name="T63" fmla="*/ 1290 h 1959"/>
              <a:gd name="T64" fmla="*/ 1381 w 1634"/>
              <a:gd name="T65" fmla="*/ 1210 h 1959"/>
              <a:gd name="T66" fmla="*/ 1336 w 1634"/>
              <a:gd name="T67" fmla="*/ 1442 h 1959"/>
              <a:gd name="T68" fmla="*/ 1336 w 1634"/>
              <a:gd name="T69" fmla="*/ 1442 h 1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34" h="1959">
                <a:moveTo>
                  <a:pt x="1434" y="1120"/>
                </a:moveTo>
                <a:cubicBezTo>
                  <a:pt x="1347" y="1084"/>
                  <a:pt x="1232" y="1056"/>
                  <a:pt x="1102" y="1040"/>
                </a:cubicBezTo>
                <a:cubicBezTo>
                  <a:pt x="1110" y="967"/>
                  <a:pt x="1113" y="892"/>
                  <a:pt x="1113" y="817"/>
                </a:cubicBezTo>
                <a:cubicBezTo>
                  <a:pt x="1113" y="742"/>
                  <a:pt x="1110" y="667"/>
                  <a:pt x="1102" y="594"/>
                </a:cubicBezTo>
                <a:cubicBezTo>
                  <a:pt x="1232" y="578"/>
                  <a:pt x="1347" y="550"/>
                  <a:pt x="1434" y="513"/>
                </a:cubicBezTo>
                <a:cubicBezTo>
                  <a:pt x="1479" y="605"/>
                  <a:pt x="1505" y="708"/>
                  <a:pt x="1505" y="817"/>
                </a:cubicBezTo>
                <a:cubicBezTo>
                  <a:pt x="1505" y="926"/>
                  <a:pt x="1479" y="1029"/>
                  <a:pt x="1434" y="1120"/>
                </a:cubicBezTo>
                <a:close/>
                <a:moveTo>
                  <a:pt x="792" y="130"/>
                </a:moveTo>
                <a:cubicBezTo>
                  <a:pt x="800" y="129"/>
                  <a:pt x="808" y="129"/>
                  <a:pt x="817" y="129"/>
                </a:cubicBezTo>
                <a:cubicBezTo>
                  <a:pt x="825" y="129"/>
                  <a:pt x="833" y="129"/>
                  <a:pt x="841" y="130"/>
                </a:cubicBezTo>
                <a:cubicBezTo>
                  <a:pt x="890" y="163"/>
                  <a:pt x="954" y="289"/>
                  <a:pt x="988" y="502"/>
                </a:cubicBezTo>
                <a:cubicBezTo>
                  <a:pt x="873" y="511"/>
                  <a:pt x="755" y="510"/>
                  <a:pt x="646" y="501"/>
                </a:cubicBezTo>
                <a:cubicBezTo>
                  <a:pt x="680" y="288"/>
                  <a:pt x="743" y="163"/>
                  <a:pt x="792" y="130"/>
                </a:cubicBezTo>
                <a:close/>
                <a:moveTo>
                  <a:pt x="623" y="817"/>
                </a:moveTo>
                <a:cubicBezTo>
                  <a:pt x="623" y="739"/>
                  <a:pt x="626" y="668"/>
                  <a:pt x="633" y="603"/>
                </a:cubicBezTo>
                <a:cubicBezTo>
                  <a:pt x="695" y="609"/>
                  <a:pt x="760" y="611"/>
                  <a:pt x="827" y="611"/>
                </a:cubicBezTo>
                <a:cubicBezTo>
                  <a:pt x="885" y="611"/>
                  <a:pt x="943" y="609"/>
                  <a:pt x="1000" y="604"/>
                </a:cubicBezTo>
                <a:cubicBezTo>
                  <a:pt x="1007" y="669"/>
                  <a:pt x="1010" y="740"/>
                  <a:pt x="1010" y="817"/>
                </a:cubicBezTo>
                <a:cubicBezTo>
                  <a:pt x="1010" y="894"/>
                  <a:pt x="1007" y="965"/>
                  <a:pt x="1000" y="1030"/>
                </a:cubicBezTo>
                <a:cubicBezTo>
                  <a:pt x="945" y="1025"/>
                  <a:pt x="886" y="1023"/>
                  <a:pt x="827" y="1023"/>
                </a:cubicBezTo>
                <a:cubicBezTo>
                  <a:pt x="760" y="1023"/>
                  <a:pt x="695" y="1025"/>
                  <a:pt x="633" y="1031"/>
                </a:cubicBezTo>
                <a:cubicBezTo>
                  <a:pt x="626" y="966"/>
                  <a:pt x="623" y="895"/>
                  <a:pt x="623" y="817"/>
                </a:cubicBezTo>
                <a:close/>
                <a:moveTo>
                  <a:pt x="1381" y="424"/>
                </a:moveTo>
                <a:cubicBezTo>
                  <a:pt x="1304" y="454"/>
                  <a:pt x="1204" y="478"/>
                  <a:pt x="1090" y="492"/>
                </a:cubicBezTo>
                <a:cubicBezTo>
                  <a:pt x="1069" y="357"/>
                  <a:pt x="1035" y="236"/>
                  <a:pt x="988" y="151"/>
                </a:cubicBezTo>
                <a:cubicBezTo>
                  <a:pt x="1150" y="192"/>
                  <a:pt x="1288" y="291"/>
                  <a:pt x="1381" y="424"/>
                </a:cubicBezTo>
                <a:close/>
                <a:moveTo>
                  <a:pt x="645" y="151"/>
                </a:moveTo>
                <a:cubicBezTo>
                  <a:pt x="598" y="236"/>
                  <a:pt x="565" y="355"/>
                  <a:pt x="544" y="489"/>
                </a:cubicBezTo>
                <a:cubicBezTo>
                  <a:pt x="431" y="474"/>
                  <a:pt x="331" y="449"/>
                  <a:pt x="257" y="418"/>
                </a:cubicBezTo>
                <a:cubicBezTo>
                  <a:pt x="350" y="288"/>
                  <a:pt x="486" y="192"/>
                  <a:pt x="645" y="151"/>
                </a:cubicBezTo>
                <a:close/>
                <a:moveTo>
                  <a:pt x="1336" y="1442"/>
                </a:moveTo>
                <a:cubicBezTo>
                  <a:pt x="1518" y="1292"/>
                  <a:pt x="1634" y="1071"/>
                  <a:pt x="1634" y="817"/>
                </a:cubicBezTo>
                <a:cubicBezTo>
                  <a:pt x="1634" y="366"/>
                  <a:pt x="1267" y="0"/>
                  <a:pt x="817" y="0"/>
                </a:cubicBezTo>
                <a:cubicBezTo>
                  <a:pt x="415" y="0"/>
                  <a:pt x="81" y="291"/>
                  <a:pt x="13" y="673"/>
                </a:cubicBezTo>
                <a:cubicBezTo>
                  <a:pt x="4" y="720"/>
                  <a:pt x="0" y="768"/>
                  <a:pt x="0" y="817"/>
                </a:cubicBezTo>
                <a:cubicBezTo>
                  <a:pt x="0" y="1268"/>
                  <a:pt x="239" y="1621"/>
                  <a:pt x="701" y="1755"/>
                </a:cubicBezTo>
                <a:cubicBezTo>
                  <a:pt x="701" y="1959"/>
                  <a:pt x="701" y="1959"/>
                  <a:pt x="701" y="1959"/>
                </a:cubicBezTo>
                <a:cubicBezTo>
                  <a:pt x="1383" y="1565"/>
                  <a:pt x="1383" y="1565"/>
                  <a:pt x="1383" y="1565"/>
                </a:cubicBezTo>
                <a:cubicBezTo>
                  <a:pt x="701" y="1172"/>
                  <a:pt x="701" y="1172"/>
                  <a:pt x="701" y="1172"/>
                </a:cubicBezTo>
                <a:cubicBezTo>
                  <a:pt x="701" y="1365"/>
                  <a:pt x="701" y="1365"/>
                  <a:pt x="701" y="1365"/>
                </a:cubicBezTo>
                <a:cubicBezTo>
                  <a:pt x="329" y="1365"/>
                  <a:pt x="130" y="1063"/>
                  <a:pt x="130" y="776"/>
                </a:cubicBezTo>
                <a:cubicBezTo>
                  <a:pt x="132" y="741"/>
                  <a:pt x="137" y="706"/>
                  <a:pt x="144" y="673"/>
                </a:cubicBezTo>
                <a:cubicBezTo>
                  <a:pt x="156" y="614"/>
                  <a:pt x="176" y="559"/>
                  <a:pt x="203" y="507"/>
                </a:cubicBezTo>
                <a:cubicBezTo>
                  <a:pt x="288" y="545"/>
                  <a:pt x="401" y="574"/>
                  <a:pt x="531" y="592"/>
                </a:cubicBezTo>
                <a:cubicBezTo>
                  <a:pt x="523" y="665"/>
                  <a:pt x="520" y="741"/>
                  <a:pt x="520" y="817"/>
                </a:cubicBezTo>
                <a:cubicBezTo>
                  <a:pt x="520" y="893"/>
                  <a:pt x="523" y="969"/>
                  <a:pt x="531" y="1043"/>
                </a:cubicBezTo>
                <a:cubicBezTo>
                  <a:pt x="452" y="1053"/>
                  <a:pt x="379" y="1068"/>
                  <a:pt x="315" y="1087"/>
                </a:cubicBezTo>
                <a:cubicBezTo>
                  <a:pt x="319" y="1092"/>
                  <a:pt x="322" y="1096"/>
                  <a:pt x="326" y="1101"/>
                </a:cubicBezTo>
                <a:cubicBezTo>
                  <a:pt x="337" y="1115"/>
                  <a:pt x="348" y="1129"/>
                  <a:pt x="359" y="1140"/>
                </a:cubicBezTo>
                <a:cubicBezTo>
                  <a:pt x="362" y="1142"/>
                  <a:pt x="362" y="1142"/>
                  <a:pt x="362" y="1142"/>
                </a:cubicBezTo>
                <a:cubicBezTo>
                  <a:pt x="364" y="1145"/>
                  <a:pt x="364" y="1145"/>
                  <a:pt x="364" y="1145"/>
                </a:cubicBezTo>
                <a:cubicBezTo>
                  <a:pt x="372" y="1154"/>
                  <a:pt x="382" y="1163"/>
                  <a:pt x="393" y="1173"/>
                </a:cubicBezTo>
                <a:cubicBezTo>
                  <a:pt x="439" y="1162"/>
                  <a:pt x="490" y="1152"/>
                  <a:pt x="544" y="1145"/>
                </a:cubicBezTo>
                <a:cubicBezTo>
                  <a:pt x="551" y="1191"/>
                  <a:pt x="559" y="1235"/>
                  <a:pt x="569" y="1276"/>
                </a:cubicBezTo>
                <a:cubicBezTo>
                  <a:pt x="570" y="1276"/>
                  <a:pt x="570" y="1276"/>
                  <a:pt x="570" y="1276"/>
                </a:cubicBezTo>
                <a:cubicBezTo>
                  <a:pt x="586" y="1282"/>
                  <a:pt x="601" y="1286"/>
                  <a:pt x="611" y="1286"/>
                </a:cubicBezTo>
                <a:cubicBezTo>
                  <a:pt x="614" y="1286"/>
                  <a:pt x="614" y="1286"/>
                  <a:pt x="614" y="1286"/>
                </a:cubicBezTo>
                <a:cubicBezTo>
                  <a:pt x="614" y="1286"/>
                  <a:pt x="622" y="1287"/>
                  <a:pt x="624" y="1287"/>
                </a:cubicBezTo>
                <a:cubicBezTo>
                  <a:pt x="624" y="1038"/>
                  <a:pt x="624" y="1038"/>
                  <a:pt x="624" y="1038"/>
                </a:cubicBezTo>
                <a:cubicBezTo>
                  <a:pt x="778" y="1127"/>
                  <a:pt x="778" y="1127"/>
                  <a:pt x="778" y="1127"/>
                </a:cubicBezTo>
                <a:cubicBezTo>
                  <a:pt x="794" y="1126"/>
                  <a:pt x="811" y="1126"/>
                  <a:pt x="827" y="1126"/>
                </a:cubicBezTo>
                <a:cubicBezTo>
                  <a:pt x="882" y="1126"/>
                  <a:pt x="936" y="1128"/>
                  <a:pt x="988" y="1132"/>
                </a:cubicBezTo>
                <a:cubicBezTo>
                  <a:pt x="982" y="1169"/>
                  <a:pt x="975" y="1204"/>
                  <a:pt x="968" y="1236"/>
                </a:cubicBezTo>
                <a:cubicBezTo>
                  <a:pt x="1060" y="1290"/>
                  <a:pt x="1060" y="1290"/>
                  <a:pt x="1060" y="1290"/>
                </a:cubicBezTo>
                <a:cubicBezTo>
                  <a:pt x="1072" y="1244"/>
                  <a:pt x="1082" y="1194"/>
                  <a:pt x="1090" y="1142"/>
                </a:cubicBezTo>
                <a:cubicBezTo>
                  <a:pt x="1204" y="1156"/>
                  <a:pt x="1304" y="1180"/>
                  <a:pt x="1381" y="1210"/>
                </a:cubicBezTo>
                <a:cubicBezTo>
                  <a:pt x="1335" y="1275"/>
                  <a:pt x="1279" y="1332"/>
                  <a:pt x="1214" y="1378"/>
                </a:cubicBezTo>
                <a:lnTo>
                  <a:pt x="1336" y="1442"/>
                </a:lnTo>
                <a:close/>
                <a:moveTo>
                  <a:pt x="1336" y="1442"/>
                </a:moveTo>
                <a:cubicBezTo>
                  <a:pt x="1336" y="1442"/>
                  <a:pt x="1336" y="1442"/>
                  <a:pt x="1336" y="1442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endParaRPr lang="en-IN" sz="2133">
              <a:solidFill>
                <a:prstClr val="black"/>
              </a:solidFill>
              <a:latin typeface="Century Gothic" panose="020B0502020202020204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1268946" y="1343120"/>
            <a:ext cx="462304" cy="463248"/>
          </a:xfrm>
          <a:prstGeom prst="rect">
            <a:avLst/>
          </a:prstGeom>
        </p:spPr>
      </p:pic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D742657C-030D-4679-8F25-D351127F3F62}"/>
              </a:ext>
            </a:extLst>
          </p:cNvPr>
          <p:cNvSpPr/>
          <p:nvPr/>
        </p:nvSpPr>
        <p:spPr>
          <a:xfrm rot="10800000">
            <a:off x="-6" y="-8"/>
            <a:ext cx="6600061" cy="6240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xmlns="" id="{9F07B031-507A-4B7A-8F68-C20C8A23F3C7}"/>
              </a:ext>
            </a:extLst>
          </p:cNvPr>
          <p:cNvSpPr/>
          <p:nvPr/>
        </p:nvSpPr>
        <p:spPr>
          <a:xfrm>
            <a:off x="317714" y="107112"/>
            <a:ext cx="70022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altLang="ru-RU" sz="2400" b="1" noProof="0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  <a:sym typeface="Futura"/>
              </a:rPr>
              <a:t>DŮLEŽITÁ FAKTA O KAZACHSTÁNU</a:t>
            </a:r>
            <a:endParaRPr kumimoji="0" lang="en-US" alt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Futura"/>
              <a:cs typeface="Arial" panose="020B0604020202020204" pitchFamily="34" charset="0"/>
              <a:sym typeface="Futura"/>
            </a:endParaRPr>
          </a:p>
        </p:txBody>
      </p:sp>
      <p:sp>
        <p:nvSpPr>
          <p:cNvPr id="56" name="Овал 55">
            <a:extLst>
              <a:ext uri="{FF2B5EF4-FFF2-40B4-BE49-F238E27FC236}">
                <a16:creationId xmlns:a16="http://schemas.microsoft.com/office/drawing/2014/main" xmlns="" id="{0E55C0B2-6396-4FC6-9AE4-8FFC96D83CB9}"/>
              </a:ext>
            </a:extLst>
          </p:cNvPr>
          <p:cNvSpPr/>
          <p:nvPr/>
        </p:nvSpPr>
        <p:spPr>
          <a:xfrm>
            <a:off x="4164210" y="1124744"/>
            <a:ext cx="900000" cy="90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7" name="Овал 56"/>
          <p:cNvSpPr/>
          <p:nvPr/>
        </p:nvSpPr>
        <p:spPr>
          <a:xfrm>
            <a:off x="4294168" y="1264335"/>
            <a:ext cx="633774" cy="6403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4" name="Picture 2" descr="C:\Users\N.Baizakov\Downloads\people-togeth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12522" y="1342707"/>
            <a:ext cx="422290" cy="421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" name="Овал 59">
            <a:extLst>
              <a:ext uri="{FF2B5EF4-FFF2-40B4-BE49-F238E27FC236}">
                <a16:creationId xmlns:a16="http://schemas.microsoft.com/office/drawing/2014/main" xmlns="" id="{0E55C0B2-6396-4FC6-9AE4-8FFC96D83CB9}"/>
              </a:ext>
            </a:extLst>
          </p:cNvPr>
          <p:cNvSpPr/>
          <p:nvPr/>
        </p:nvSpPr>
        <p:spPr>
          <a:xfrm>
            <a:off x="7192673" y="1123650"/>
            <a:ext cx="900000" cy="90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Овал 65"/>
          <p:cNvSpPr/>
          <p:nvPr/>
        </p:nvSpPr>
        <p:spPr>
          <a:xfrm>
            <a:off x="7322631" y="1263241"/>
            <a:ext cx="633774" cy="6403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2" name="Picture 2" descr="C:\Users\N.Baizakov\Downloads\investment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437968" y="1363508"/>
            <a:ext cx="391390" cy="391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Овал 72">
            <a:extLst>
              <a:ext uri="{FF2B5EF4-FFF2-40B4-BE49-F238E27FC236}">
                <a16:creationId xmlns:a16="http://schemas.microsoft.com/office/drawing/2014/main" xmlns="" id="{0E55C0B2-6396-4FC6-9AE4-8FFC96D83CB9}"/>
              </a:ext>
            </a:extLst>
          </p:cNvPr>
          <p:cNvSpPr/>
          <p:nvPr/>
        </p:nvSpPr>
        <p:spPr>
          <a:xfrm>
            <a:off x="10074647" y="1124744"/>
            <a:ext cx="900000" cy="90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74" name="Овал 73"/>
          <p:cNvSpPr/>
          <p:nvPr/>
        </p:nvSpPr>
        <p:spPr>
          <a:xfrm>
            <a:off x="10204605" y="1264335"/>
            <a:ext cx="633774" cy="6403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7" name="Picture 2" descr="C:\Users\N.Baizakov\Downloads\inflation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0305081" y="1354248"/>
            <a:ext cx="473848" cy="473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2" name="Овал 81">
            <a:extLst>
              <a:ext uri="{FF2B5EF4-FFF2-40B4-BE49-F238E27FC236}">
                <a16:creationId xmlns:a16="http://schemas.microsoft.com/office/drawing/2014/main" xmlns="" id="{0E55C0B2-6396-4FC6-9AE4-8FFC96D83CB9}"/>
              </a:ext>
            </a:extLst>
          </p:cNvPr>
          <p:cNvSpPr/>
          <p:nvPr/>
        </p:nvSpPr>
        <p:spPr>
          <a:xfrm>
            <a:off x="1055440" y="3995337"/>
            <a:ext cx="900000" cy="90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3" name="Овал 82"/>
          <p:cNvSpPr/>
          <p:nvPr/>
        </p:nvSpPr>
        <p:spPr>
          <a:xfrm>
            <a:off x="1185398" y="4134928"/>
            <a:ext cx="633774" cy="6403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Овал 84">
            <a:extLst>
              <a:ext uri="{FF2B5EF4-FFF2-40B4-BE49-F238E27FC236}">
                <a16:creationId xmlns:a16="http://schemas.microsoft.com/office/drawing/2014/main" xmlns="" id="{0E55C0B2-6396-4FC6-9AE4-8FFC96D83CB9}"/>
              </a:ext>
            </a:extLst>
          </p:cNvPr>
          <p:cNvSpPr/>
          <p:nvPr/>
        </p:nvSpPr>
        <p:spPr>
          <a:xfrm>
            <a:off x="4164210" y="3995337"/>
            <a:ext cx="900000" cy="90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6" name="Овал 85"/>
          <p:cNvSpPr/>
          <p:nvPr/>
        </p:nvSpPr>
        <p:spPr>
          <a:xfrm>
            <a:off x="4294168" y="4134928"/>
            <a:ext cx="633774" cy="6403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Овал 87">
            <a:extLst>
              <a:ext uri="{FF2B5EF4-FFF2-40B4-BE49-F238E27FC236}">
                <a16:creationId xmlns:a16="http://schemas.microsoft.com/office/drawing/2014/main" xmlns="" id="{0E55C0B2-6396-4FC6-9AE4-8FFC96D83CB9}"/>
              </a:ext>
            </a:extLst>
          </p:cNvPr>
          <p:cNvSpPr/>
          <p:nvPr/>
        </p:nvSpPr>
        <p:spPr>
          <a:xfrm>
            <a:off x="7192673" y="4018443"/>
            <a:ext cx="900000" cy="90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0" name="Овал 89"/>
          <p:cNvSpPr/>
          <p:nvPr/>
        </p:nvSpPr>
        <p:spPr>
          <a:xfrm>
            <a:off x="7322631" y="4158034"/>
            <a:ext cx="633774" cy="6403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Овал 91">
            <a:extLst>
              <a:ext uri="{FF2B5EF4-FFF2-40B4-BE49-F238E27FC236}">
                <a16:creationId xmlns:a16="http://schemas.microsoft.com/office/drawing/2014/main" xmlns="" id="{0E55C0B2-6396-4FC6-9AE4-8FFC96D83CB9}"/>
              </a:ext>
            </a:extLst>
          </p:cNvPr>
          <p:cNvSpPr/>
          <p:nvPr/>
        </p:nvSpPr>
        <p:spPr>
          <a:xfrm>
            <a:off x="10080901" y="3995337"/>
            <a:ext cx="900000" cy="900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285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3" name="Овал 92"/>
          <p:cNvSpPr/>
          <p:nvPr/>
        </p:nvSpPr>
        <p:spPr>
          <a:xfrm>
            <a:off x="10210859" y="4134928"/>
            <a:ext cx="633774" cy="64033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7049" t="17407" r="22327" b="22593"/>
          <a:stretch/>
        </p:blipFill>
        <p:spPr>
          <a:xfrm>
            <a:off x="7451143" y="4251812"/>
            <a:ext cx="378215" cy="448255"/>
          </a:xfrm>
          <a:prstGeom prst="rect">
            <a:avLst/>
          </a:prstGeom>
        </p:spPr>
      </p:pic>
      <p:pic>
        <p:nvPicPr>
          <p:cNvPr id="95" name="Picture 2" descr="C:\Users\N.Baizakov\Downloads\diversification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97344" y="4228434"/>
            <a:ext cx="427422" cy="4307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Рисунок 97">
            <a:extLst>
              <a:ext uri="{FF2B5EF4-FFF2-40B4-BE49-F238E27FC236}">
                <a16:creationId xmlns:a16="http://schemas.microsoft.com/office/drawing/2014/main" xmlns="" id="{F787141D-3071-45C1-81D3-C86B424554C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biLevel thresh="7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10318889" y="4270366"/>
            <a:ext cx="446232" cy="446232"/>
          </a:xfrm>
          <a:prstGeom prst="rect">
            <a:avLst/>
          </a:prstGeom>
        </p:spPr>
      </p:pic>
      <p:pic>
        <p:nvPicPr>
          <p:cNvPr id="99" name="Рисунок 98">
            <a:extLst>
              <a:ext uri="{FF2B5EF4-FFF2-40B4-BE49-F238E27FC236}">
                <a16:creationId xmlns:a16="http://schemas.microsoft.com/office/drawing/2014/main" xmlns="" id="{356584CF-8099-4CBD-8E25-7A1CB6F4D66F}"/>
              </a:ext>
            </a:extLst>
          </p:cNvPr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1285589" y="4230441"/>
            <a:ext cx="390114" cy="390114"/>
          </a:xfrm>
          <a:prstGeom prst="rect">
            <a:avLst/>
          </a:prstGeom>
        </p:spPr>
      </p:pic>
      <p:cxnSp>
        <p:nvCxnSpPr>
          <p:cNvPr id="100" name="Прямая соединительная линия 99"/>
          <p:cNvCxnSpPr/>
          <p:nvPr/>
        </p:nvCxnSpPr>
        <p:spPr>
          <a:xfrm>
            <a:off x="2999656" y="2083860"/>
            <a:ext cx="0" cy="1116419"/>
          </a:xfrm>
          <a:prstGeom prst="line">
            <a:avLst/>
          </a:prstGeom>
          <a:ln w="1270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Прямая соединительная линия 102"/>
          <p:cNvCxnSpPr/>
          <p:nvPr/>
        </p:nvCxnSpPr>
        <p:spPr>
          <a:xfrm>
            <a:off x="6168008" y="2083860"/>
            <a:ext cx="0" cy="1116419"/>
          </a:xfrm>
          <a:prstGeom prst="line">
            <a:avLst/>
          </a:prstGeom>
          <a:ln w="1270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/>
          <p:cNvCxnSpPr/>
          <p:nvPr/>
        </p:nvCxnSpPr>
        <p:spPr>
          <a:xfrm>
            <a:off x="9120336" y="2083860"/>
            <a:ext cx="0" cy="1116419"/>
          </a:xfrm>
          <a:prstGeom prst="line">
            <a:avLst/>
          </a:prstGeom>
          <a:ln w="1270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>
            <a:off x="9120336" y="5096083"/>
            <a:ext cx="0" cy="1116419"/>
          </a:xfrm>
          <a:prstGeom prst="line">
            <a:avLst/>
          </a:prstGeom>
          <a:ln w="1270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Прямая соединительная линия 109"/>
          <p:cNvCxnSpPr/>
          <p:nvPr/>
        </p:nvCxnSpPr>
        <p:spPr>
          <a:xfrm>
            <a:off x="6168008" y="5096083"/>
            <a:ext cx="0" cy="1116419"/>
          </a:xfrm>
          <a:prstGeom prst="line">
            <a:avLst/>
          </a:prstGeom>
          <a:ln w="1270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Прямая соединительная линия 110"/>
          <p:cNvCxnSpPr/>
          <p:nvPr/>
        </p:nvCxnSpPr>
        <p:spPr>
          <a:xfrm>
            <a:off x="2999656" y="5009828"/>
            <a:ext cx="0" cy="1116419"/>
          </a:xfrm>
          <a:prstGeom prst="line">
            <a:avLst/>
          </a:prstGeom>
          <a:ln w="1270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795181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28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38905" y="5721390"/>
            <a:ext cx="11622949" cy="1059698"/>
          </a:xfrm>
          <a:prstGeom prst="roundRect">
            <a:avLst>
              <a:gd name="adj" fmla="val 0"/>
            </a:avLst>
          </a:prstGeom>
          <a:solidFill>
            <a:srgbClr val="EDF6F9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rgbClr val="FBDD76"/>
            </a:outerShdw>
          </a:effectLst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52" name="Rectangle 28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38905" y="4534901"/>
            <a:ext cx="11622949" cy="1059698"/>
          </a:xfrm>
          <a:prstGeom prst="roundRect">
            <a:avLst>
              <a:gd name="adj" fmla="val 0"/>
            </a:avLst>
          </a:prstGeom>
          <a:solidFill>
            <a:srgbClr val="EDF6F9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rgbClr val="FBDD76"/>
            </a:outerShdw>
          </a:effectLst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50" name="Rectangle 28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38905" y="3348413"/>
            <a:ext cx="11622949" cy="1059698"/>
          </a:xfrm>
          <a:prstGeom prst="roundRect">
            <a:avLst>
              <a:gd name="adj" fmla="val 0"/>
            </a:avLst>
          </a:prstGeom>
          <a:solidFill>
            <a:srgbClr val="EDF6F9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rgbClr val="FBDD76"/>
            </a:outerShdw>
          </a:effectLst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43" name="Rectangle 28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38905" y="2161925"/>
            <a:ext cx="11622949" cy="1059698"/>
          </a:xfrm>
          <a:prstGeom prst="roundRect">
            <a:avLst>
              <a:gd name="adj" fmla="val 0"/>
            </a:avLst>
          </a:prstGeom>
          <a:solidFill>
            <a:srgbClr val="EDF6F9"/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rgbClr val="FBDD76"/>
            </a:outerShdw>
          </a:effectLst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30" name="Rectangle 350"/>
          <p:cNvSpPr>
            <a:spLocks/>
          </p:cNvSpPr>
          <p:nvPr/>
        </p:nvSpPr>
        <p:spPr bwMode="gray">
          <a:xfrm>
            <a:off x="338906" y="1816436"/>
            <a:ext cx="11624530" cy="28388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31" name="Rectangle 28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17714" y="943145"/>
            <a:ext cx="11654906" cy="865107"/>
          </a:xfrm>
          <a:prstGeom prst="roundRect">
            <a:avLst>
              <a:gd name="adj" fmla="val 0"/>
            </a:avLst>
          </a:prstGeom>
          <a:pattFill prst="ltDnDiag">
            <a:fgClr>
              <a:srgbClr val="F9C61B">
                <a:lumMod val="40000"/>
                <a:lumOff val="6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200" lvl="1" indent="0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34" name="Rectangle 351"/>
          <p:cNvSpPr>
            <a:spLocks/>
          </p:cNvSpPr>
          <p:nvPr/>
        </p:nvSpPr>
        <p:spPr bwMode="gray">
          <a:xfrm>
            <a:off x="342552" y="884699"/>
            <a:ext cx="11619303" cy="45719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33" name="Номер слайда 32"/>
          <p:cNvSpPr>
            <a:spLocks noGrp="1"/>
          </p:cNvSpPr>
          <p:nvPr>
            <p:ph type="sldNum" sz="quarter" idx="12"/>
          </p:nvPr>
        </p:nvSpPr>
        <p:spPr>
          <a:xfrm>
            <a:off x="9448799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BC0DC2-9AC7-4AF2-ABC3-6798633670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xmlns="" id="{0D78A03F-6073-4227-A3BF-1F26BFBAF1AC}"/>
              </a:ext>
            </a:extLst>
          </p:cNvPr>
          <p:cNvSpPr txBox="1"/>
          <p:nvPr/>
        </p:nvSpPr>
        <p:spPr>
          <a:xfrm>
            <a:off x="1778150" y="2161925"/>
            <a:ext cx="4419733" cy="1033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spcAft>
                <a:spcPts val="100"/>
              </a:spcAft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UNDP</a:t>
            </a:r>
            <a:r>
              <a:rPr lang="en-US" sz="1467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cs-CZ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Venkovská kancelář</a:t>
            </a:r>
            <a:endParaRPr lang="en-US" sz="1467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defTabSz="1219170">
              <a:spcAft>
                <a:spcPts val="100"/>
              </a:spcAft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FAO</a:t>
            </a:r>
            <a:r>
              <a:rPr lang="en-US" sz="1467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cs-CZ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Kancelář partnerství a spolupráce</a:t>
            </a:r>
            <a:endParaRPr lang="en-US" sz="1467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defTabSz="1219170">
              <a:spcAft>
                <a:spcPts val="100"/>
              </a:spcAft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UNEP</a:t>
            </a:r>
            <a:r>
              <a:rPr lang="en-US" sz="1467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cs-CZ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Kancelář pro střední Asii</a:t>
            </a:r>
          </a:p>
          <a:p>
            <a:pPr defTabSz="1219170">
              <a:spcAft>
                <a:spcPts val="100"/>
              </a:spcAft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UN ESCAP </a:t>
            </a:r>
            <a:r>
              <a:rPr lang="en-US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Subregional</a:t>
            </a:r>
            <a:r>
              <a:rPr lang="cs-CZ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ní</a:t>
            </a:r>
            <a:r>
              <a:rPr lang="en-US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cs-CZ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kancelář</a:t>
            </a:r>
            <a:endParaRPr lang="en-US" sz="1467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xmlns="" id="{0D78A03F-6073-4227-A3BF-1F26BFBAF1AC}"/>
              </a:ext>
            </a:extLst>
          </p:cNvPr>
          <p:cNvSpPr txBox="1"/>
          <p:nvPr/>
        </p:nvSpPr>
        <p:spPr>
          <a:xfrm>
            <a:off x="7951713" y="5899726"/>
            <a:ext cx="3824150" cy="7696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Conference on Interaction and Confidence Building Measures in Asia</a:t>
            </a:r>
            <a:endParaRPr lang="ru-RU" sz="1467" b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defTabSz="1219170">
              <a:defRPr/>
            </a:pPr>
            <a:r>
              <a:rPr lang="cs-CZ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Sídlo</a:t>
            </a:r>
            <a:endParaRPr lang="ru-RU" sz="1467" b="1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9" name="AutoShape 2" descr="UNESCAP | UNIDO Knowledge Hub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4054" r="17643"/>
          <a:stretch/>
        </p:blipFill>
        <p:spPr>
          <a:xfrm>
            <a:off x="6816080" y="5962337"/>
            <a:ext cx="661436" cy="644412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804710" y="4694646"/>
            <a:ext cx="750578" cy="750578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0D78A03F-6073-4227-A3BF-1F26BFBAF1AC}"/>
              </a:ext>
            </a:extLst>
          </p:cNvPr>
          <p:cNvSpPr txBox="1"/>
          <p:nvPr/>
        </p:nvSpPr>
        <p:spPr>
          <a:xfrm>
            <a:off x="7951713" y="4757341"/>
            <a:ext cx="3824150" cy="5438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Islamic Organisation for Food Security</a:t>
            </a:r>
            <a:endParaRPr lang="ru-RU" sz="1467" b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defTabSz="1219170">
              <a:defRPr/>
            </a:pPr>
            <a:r>
              <a:rPr lang="cs-CZ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Sídlo</a:t>
            </a:r>
            <a:r>
              <a:rPr lang="en-US" sz="1467" b="1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 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0D78A03F-6073-4227-A3BF-1F26BFBAF1AC}"/>
              </a:ext>
            </a:extLst>
          </p:cNvPr>
          <p:cNvSpPr txBox="1"/>
          <p:nvPr/>
        </p:nvSpPr>
        <p:spPr>
          <a:xfrm>
            <a:off x="1774303" y="4665395"/>
            <a:ext cx="4609729" cy="7798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spcAft>
                <a:spcPts val="200"/>
              </a:spcAft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World Bank </a:t>
            </a:r>
            <a:r>
              <a:rPr lang="en-US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Regional</a:t>
            </a:r>
            <a:r>
              <a:rPr lang="cs-CZ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ní</a:t>
            </a:r>
            <a:r>
              <a:rPr lang="en-US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cs-CZ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kancelář pro střední Asii </a:t>
            </a: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World Bank Group’s </a:t>
            </a:r>
            <a:r>
              <a:rPr lang="cs-CZ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kanceláře</a:t>
            </a:r>
            <a:r>
              <a:rPr lang="en-US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</a:p>
          <a:p>
            <a:pPr defTabSz="1219170">
              <a:defRPr/>
            </a:pPr>
            <a:r>
              <a:rPr lang="en-US" sz="1200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(IBRD, IDA, IFC, MIGA)</a:t>
            </a:r>
            <a:endParaRPr lang="ru-RU" sz="1200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7349" t="10001" r="24517" b="10001"/>
          <a:stretch/>
        </p:blipFill>
        <p:spPr>
          <a:xfrm>
            <a:off x="6881420" y="2403994"/>
            <a:ext cx="483640" cy="520950"/>
          </a:xfrm>
          <a:prstGeom prst="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0D78A03F-6073-4227-A3BF-1F26BFBAF1AC}"/>
              </a:ext>
            </a:extLst>
          </p:cNvPr>
          <p:cNvSpPr txBox="1"/>
          <p:nvPr/>
        </p:nvSpPr>
        <p:spPr>
          <a:xfrm>
            <a:off x="7951713" y="2381077"/>
            <a:ext cx="4264967" cy="5438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Islamic Development Bank</a:t>
            </a:r>
          </a:p>
          <a:p>
            <a:pPr defTabSz="1219170">
              <a:defRPr/>
            </a:pPr>
            <a:r>
              <a:rPr lang="en-US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Regional</a:t>
            </a:r>
            <a:r>
              <a:rPr lang="cs-CZ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ní centrum pro střední Asii </a:t>
            </a:r>
            <a:endParaRPr lang="ru-RU" sz="1467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20880" y="3463400"/>
            <a:ext cx="574868" cy="757688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0D78A03F-6073-4227-A3BF-1F26BFBAF1AC}"/>
              </a:ext>
            </a:extLst>
          </p:cNvPr>
          <p:cNvSpPr txBox="1"/>
          <p:nvPr/>
        </p:nvSpPr>
        <p:spPr>
          <a:xfrm>
            <a:off x="7951713" y="3645024"/>
            <a:ext cx="4264967" cy="5438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Eurasian Development Bank</a:t>
            </a:r>
            <a:endParaRPr lang="ru-RU" sz="1467" b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defTabSz="1219170">
              <a:defRPr/>
            </a:pPr>
            <a:r>
              <a:rPr lang="cs-CZ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Sídlo</a:t>
            </a:r>
            <a:endParaRPr lang="ru-RU" sz="1467" b="1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5093" t="17140" r="14348" b="15660"/>
          <a:stretch/>
        </p:blipFill>
        <p:spPr>
          <a:xfrm>
            <a:off x="729435" y="3575296"/>
            <a:ext cx="644046" cy="613378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0D78A03F-6073-4227-A3BF-1F26BFBAF1AC}"/>
              </a:ext>
            </a:extLst>
          </p:cNvPr>
          <p:cNvSpPr txBox="1"/>
          <p:nvPr/>
        </p:nvSpPr>
        <p:spPr>
          <a:xfrm>
            <a:off x="1757150" y="3618176"/>
            <a:ext cx="3408547" cy="5438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OECD</a:t>
            </a:r>
            <a:r>
              <a:rPr lang="en-US" sz="1467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endParaRPr lang="ru-RU" sz="1467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defTabSz="1219170">
              <a:spcAft>
                <a:spcPts val="100"/>
              </a:spcAft>
              <a:defRPr/>
            </a:pPr>
            <a:r>
              <a:rPr lang="cs-CZ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Venkovská kancelář</a:t>
            </a:r>
            <a:endParaRPr lang="en-US" sz="1467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47143" y="1001195"/>
            <a:ext cx="3630091" cy="578882"/>
          </a:xfrm>
          <a:prstGeom prst="round2Diag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50+ </a:t>
            </a:r>
            <a:r>
              <a:rPr lang="en-US" sz="16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mezinárodní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organizace</a:t>
            </a:r>
            <a:endParaRPr lang="ru-RU" sz="1600" dirty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074914" y="982535"/>
            <a:ext cx="3894890" cy="851297"/>
          </a:xfrm>
          <a:prstGeom prst="round2Diag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49K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subjektů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se </a:t>
            </a:r>
            <a:r>
              <a:rPr lang="en-US" sz="16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zahraničním</a:t>
            </a:r>
            <a:r>
              <a:rPr lang="en-US" sz="16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600" dirty="0" err="1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kapitálem</a:t>
            </a:r>
            <a:endParaRPr lang="ru-RU" sz="1600" dirty="0">
              <a:solidFill>
                <a:schemeClr val="tx2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136768" y="1001763"/>
            <a:ext cx="3781621" cy="851297"/>
          </a:xfrm>
          <a:prstGeom prst="round2Diag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600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Podnikatelské rady s</a:t>
            </a:r>
          </a:p>
          <a:p>
            <a:pPr algn="ctr"/>
            <a:r>
              <a:rPr lang="pl-PL" sz="280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21 zeměmi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4733" y="4757341"/>
            <a:ext cx="628550" cy="62855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23392" y="6143530"/>
            <a:ext cx="759891" cy="269272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0D78A03F-6073-4227-A3BF-1F26BFBAF1AC}"/>
              </a:ext>
            </a:extLst>
          </p:cNvPr>
          <p:cNvSpPr txBox="1"/>
          <p:nvPr/>
        </p:nvSpPr>
        <p:spPr>
          <a:xfrm>
            <a:off x="1775520" y="6021288"/>
            <a:ext cx="3408547" cy="5438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defRPr/>
            </a:pPr>
            <a:r>
              <a:rPr lang="en-US" sz="1467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OSCE</a:t>
            </a:r>
            <a:r>
              <a:rPr lang="en-US" sz="1467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endParaRPr lang="ru-RU" sz="1467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defTabSz="1219170">
              <a:spcAft>
                <a:spcPts val="100"/>
              </a:spcAft>
              <a:defRPr/>
            </a:pPr>
            <a:r>
              <a:rPr lang="cs-CZ" sz="1467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Venkovská kancelář</a:t>
            </a:r>
            <a:endParaRPr lang="en-US" sz="1467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14" cstate="print">
            <a:extLst>
              <a:ext uri="{BEBA8EAE-BF5A-486C-A8C5-ECC9F3942E4B}">
                <a14:imgProps xmlns:a14="http://schemas.microsoft.com/office/drawing/2010/main" xmlns="">
                  <a14:imgLayer r:embed="rId15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1232" r="21496"/>
          <a:stretch/>
        </p:blipFill>
        <p:spPr>
          <a:xfrm>
            <a:off x="695400" y="2328159"/>
            <a:ext cx="678996" cy="666880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D742657C-030D-4679-8F25-D351127F3F62}"/>
              </a:ext>
            </a:extLst>
          </p:cNvPr>
          <p:cNvSpPr/>
          <p:nvPr/>
        </p:nvSpPr>
        <p:spPr>
          <a:xfrm rot="10800000">
            <a:off x="-6" y="-8"/>
            <a:ext cx="6600061" cy="6240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9F07B031-507A-4B7A-8F68-C20C8A23F3C7}"/>
              </a:ext>
            </a:extLst>
          </p:cNvPr>
          <p:cNvSpPr/>
          <p:nvPr/>
        </p:nvSpPr>
        <p:spPr>
          <a:xfrm>
            <a:off x="317714" y="107112"/>
            <a:ext cx="70022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ru-RU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  <a:sym typeface="Futura"/>
              </a:rPr>
              <a:t>MEZINÁRODNÍ SPOLUPRÁCE</a:t>
            </a:r>
          </a:p>
        </p:txBody>
      </p:sp>
      <p:grpSp>
        <p:nvGrpSpPr>
          <p:cNvPr id="35" name="Group 100"/>
          <p:cNvGrpSpPr/>
          <p:nvPr/>
        </p:nvGrpSpPr>
        <p:grpSpPr>
          <a:xfrm>
            <a:off x="4079776" y="1243151"/>
            <a:ext cx="113621" cy="356012"/>
            <a:chOff x="4472736" y="804197"/>
            <a:chExt cx="162764" cy="1391121"/>
          </a:xfrm>
        </p:grpSpPr>
        <p:cxnSp>
          <p:nvCxnSpPr>
            <p:cNvPr id="36" name="Straight Connector 101">
              <a:extLst>
                <a:ext uri="{FF2B5EF4-FFF2-40B4-BE49-F238E27FC236}">
                  <a16:creationId xmlns:a16="http://schemas.microsoft.com/office/drawing/2014/main" xmlns="" id="{BF0FC459-410E-4096-9149-7AB9935F09A9}"/>
                </a:ext>
              </a:extLst>
            </p:cNvPr>
            <p:cNvCxnSpPr>
              <a:cxnSpLocks/>
            </p:cNvCxnSpPr>
            <p:nvPr/>
          </p:nvCxnSpPr>
          <p:spPr>
            <a:xfrm>
              <a:off x="4553219" y="804197"/>
              <a:ext cx="0" cy="1391121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102">
              <a:extLst>
                <a:ext uri="{FF2B5EF4-FFF2-40B4-BE49-F238E27FC236}">
                  <a16:creationId xmlns:a16="http://schemas.microsoft.com/office/drawing/2014/main" xmlns="" id="{E88BB701-86D8-40B9-9F0C-E472613D3675}"/>
                </a:ext>
              </a:extLst>
            </p:cNvPr>
            <p:cNvCxnSpPr>
              <a:cxnSpLocks/>
            </p:cNvCxnSpPr>
            <p:nvPr/>
          </p:nvCxnSpPr>
          <p:spPr>
            <a:xfrm>
              <a:off x="4635500" y="973649"/>
              <a:ext cx="0" cy="1034122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103">
              <a:extLst>
                <a:ext uri="{FF2B5EF4-FFF2-40B4-BE49-F238E27FC236}">
                  <a16:creationId xmlns:a16="http://schemas.microsoft.com/office/drawing/2014/main" xmlns="" id="{E88BB701-86D8-40B9-9F0C-E472613D3675}"/>
                </a:ext>
              </a:extLst>
            </p:cNvPr>
            <p:cNvCxnSpPr>
              <a:cxnSpLocks/>
            </p:cNvCxnSpPr>
            <p:nvPr/>
          </p:nvCxnSpPr>
          <p:spPr>
            <a:xfrm>
              <a:off x="4472736" y="973649"/>
              <a:ext cx="0" cy="1034122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100"/>
          <p:cNvGrpSpPr/>
          <p:nvPr/>
        </p:nvGrpSpPr>
        <p:grpSpPr>
          <a:xfrm>
            <a:off x="8045466" y="1251721"/>
            <a:ext cx="113621" cy="356012"/>
            <a:chOff x="4472736" y="804197"/>
            <a:chExt cx="162764" cy="1391121"/>
          </a:xfrm>
        </p:grpSpPr>
        <p:cxnSp>
          <p:nvCxnSpPr>
            <p:cNvPr id="40" name="Straight Connector 101">
              <a:extLst>
                <a:ext uri="{FF2B5EF4-FFF2-40B4-BE49-F238E27FC236}">
                  <a16:creationId xmlns:a16="http://schemas.microsoft.com/office/drawing/2014/main" xmlns="" id="{BF0FC459-410E-4096-9149-7AB9935F09A9}"/>
                </a:ext>
              </a:extLst>
            </p:cNvPr>
            <p:cNvCxnSpPr>
              <a:cxnSpLocks/>
            </p:cNvCxnSpPr>
            <p:nvPr/>
          </p:nvCxnSpPr>
          <p:spPr>
            <a:xfrm>
              <a:off x="4553219" y="804197"/>
              <a:ext cx="0" cy="1391121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102">
              <a:extLst>
                <a:ext uri="{FF2B5EF4-FFF2-40B4-BE49-F238E27FC236}">
                  <a16:creationId xmlns:a16="http://schemas.microsoft.com/office/drawing/2014/main" xmlns="" id="{E88BB701-86D8-40B9-9F0C-E472613D3675}"/>
                </a:ext>
              </a:extLst>
            </p:cNvPr>
            <p:cNvCxnSpPr>
              <a:cxnSpLocks/>
            </p:cNvCxnSpPr>
            <p:nvPr/>
          </p:nvCxnSpPr>
          <p:spPr>
            <a:xfrm>
              <a:off x="4635500" y="973649"/>
              <a:ext cx="0" cy="1034122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103">
              <a:extLst>
                <a:ext uri="{FF2B5EF4-FFF2-40B4-BE49-F238E27FC236}">
                  <a16:creationId xmlns:a16="http://schemas.microsoft.com/office/drawing/2014/main" xmlns="" id="{E88BB701-86D8-40B9-9F0C-E472613D3675}"/>
                </a:ext>
              </a:extLst>
            </p:cNvPr>
            <p:cNvCxnSpPr>
              <a:cxnSpLocks/>
            </p:cNvCxnSpPr>
            <p:nvPr/>
          </p:nvCxnSpPr>
          <p:spPr>
            <a:xfrm>
              <a:off x="4472736" y="973649"/>
              <a:ext cx="0" cy="1034122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Пятиугольник 3">
            <a:extLst>
              <a:ext uri="{FF2B5EF4-FFF2-40B4-BE49-F238E27FC236}">
                <a16:creationId xmlns:a16="http://schemas.microsoft.com/office/drawing/2014/main" xmlns="" id="{6E48720C-5D75-4BE2-8B0D-D814E381AB48}"/>
              </a:ext>
            </a:extLst>
          </p:cNvPr>
          <p:cNvSpPr/>
          <p:nvPr/>
        </p:nvSpPr>
        <p:spPr>
          <a:xfrm>
            <a:off x="1431162" y="2491411"/>
            <a:ext cx="344358" cy="331902"/>
          </a:xfrm>
          <a:prstGeom prst="homePlate">
            <a:avLst>
              <a:gd name="adj" fmla="val 26596"/>
            </a:avLst>
          </a:prstGeom>
          <a:pattFill prst="dkUpDiag">
            <a:fgClr>
              <a:srgbClr val="2DBDEF">
                <a:lumMod val="20000"/>
                <a:lumOff val="80000"/>
              </a:srgbClr>
            </a:fgClr>
            <a:bgClr>
              <a:srgbClr val="FFFFFF"/>
            </a:bgClr>
          </a:pattFill>
          <a:ln w="3175">
            <a:noFill/>
            <a:miter lim="800000"/>
            <a:headEnd/>
            <a:tailEnd/>
          </a:ln>
        </p:spPr>
        <p:txBody>
          <a:bodyPr lIns="35999" tIns="0" rIns="35999" bIns="0" anchor="ctr"/>
          <a:lstStyle/>
          <a:p>
            <a:pPr algn="ctr">
              <a:buClr>
                <a:srgbClr val="000000"/>
              </a:buClr>
            </a:pP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61" name="Пятиугольник 3">
            <a:extLst>
              <a:ext uri="{FF2B5EF4-FFF2-40B4-BE49-F238E27FC236}">
                <a16:creationId xmlns:a16="http://schemas.microsoft.com/office/drawing/2014/main" xmlns="" id="{6E48720C-5D75-4BE2-8B0D-D814E381AB48}"/>
              </a:ext>
            </a:extLst>
          </p:cNvPr>
          <p:cNvSpPr/>
          <p:nvPr/>
        </p:nvSpPr>
        <p:spPr>
          <a:xfrm>
            <a:off x="1431162" y="3707462"/>
            <a:ext cx="344358" cy="331902"/>
          </a:xfrm>
          <a:prstGeom prst="homePlate">
            <a:avLst>
              <a:gd name="adj" fmla="val 26596"/>
            </a:avLst>
          </a:prstGeom>
          <a:pattFill prst="dkUpDiag">
            <a:fgClr>
              <a:srgbClr val="2DBDEF">
                <a:lumMod val="20000"/>
                <a:lumOff val="80000"/>
              </a:srgbClr>
            </a:fgClr>
            <a:bgClr>
              <a:srgbClr val="FFFFFF"/>
            </a:bgClr>
          </a:pattFill>
          <a:ln w="3175">
            <a:noFill/>
            <a:miter lim="800000"/>
            <a:headEnd/>
            <a:tailEnd/>
          </a:ln>
        </p:spPr>
        <p:txBody>
          <a:bodyPr lIns="35999" tIns="0" rIns="35999" bIns="0" anchor="ctr"/>
          <a:lstStyle/>
          <a:p>
            <a:pPr algn="ctr">
              <a:buClr>
                <a:srgbClr val="000000"/>
              </a:buClr>
            </a:pP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62" name="Пятиугольник 3">
            <a:extLst>
              <a:ext uri="{FF2B5EF4-FFF2-40B4-BE49-F238E27FC236}">
                <a16:creationId xmlns:a16="http://schemas.microsoft.com/office/drawing/2014/main" xmlns="" id="{6E48720C-5D75-4BE2-8B0D-D814E381AB48}"/>
              </a:ext>
            </a:extLst>
          </p:cNvPr>
          <p:cNvSpPr/>
          <p:nvPr/>
        </p:nvSpPr>
        <p:spPr>
          <a:xfrm>
            <a:off x="1431162" y="4863323"/>
            <a:ext cx="344358" cy="331902"/>
          </a:xfrm>
          <a:prstGeom prst="homePlate">
            <a:avLst>
              <a:gd name="adj" fmla="val 26596"/>
            </a:avLst>
          </a:prstGeom>
          <a:pattFill prst="dkUpDiag">
            <a:fgClr>
              <a:srgbClr val="2DBDEF">
                <a:lumMod val="20000"/>
                <a:lumOff val="80000"/>
              </a:srgbClr>
            </a:fgClr>
            <a:bgClr>
              <a:srgbClr val="FFFFFF"/>
            </a:bgClr>
          </a:pattFill>
          <a:ln w="3175">
            <a:noFill/>
            <a:miter lim="800000"/>
            <a:headEnd/>
            <a:tailEnd/>
          </a:ln>
        </p:spPr>
        <p:txBody>
          <a:bodyPr lIns="35999" tIns="0" rIns="35999" bIns="0" anchor="ctr"/>
          <a:lstStyle/>
          <a:p>
            <a:pPr algn="ctr">
              <a:buClr>
                <a:srgbClr val="000000"/>
              </a:buClr>
            </a:pP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63" name="Пятиугольник 3">
            <a:extLst>
              <a:ext uri="{FF2B5EF4-FFF2-40B4-BE49-F238E27FC236}">
                <a16:creationId xmlns:a16="http://schemas.microsoft.com/office/drawing/2014/main" xmlns="" id="{6E48720C-5D75-4BE2-8B0D-D814E381AB48}"/>
              </a:ext>
            </a:extLst>
          </p:cNvPr>
          <p:cNvSpPr/>
          <p:nvPr/>
        </p:nvSpPr>
        <p:spPr>
          <a:xfrm>
            <a:off x="1431162" y="6121434"/>
            <a:ext cx="344358" cy="331902"/>
          </a:xfrm>
          <a:prstGeom prst="homePlate">
            <a:avLst>
              <a:gd name="adj" fmla="val 26596"/>
            </a:avLst>
          </a:prstGeom>
          <a:pattFill prst="dkUpDiag">
            <a:fgClr>
              <a:srgbClr val="2DBDEF">
                <a:lumMod val="20000"/>
                <a:lumOff val="80000"/>
              </a:srgbClr>
            </a:fgClr>
            <a:bgClr>
              <a:srgbClr val="FFFFFF"/>
            </a:bgClr>
          </a:pattFill>
          <a:ln w="3175">
            <a:noFill/>
            <a:miter lim="800000"/>
            <a:headEnd/>
            <a:tailEnd/>
          </a:ln>
        </p:spPr>
        <p:txBody>
          <a:bodyPr lIns="35999" tIns="0" rIns="35999" bIns="0" anchor="ctr"/>
          <a:lstStyle/>
          <a:p>
            <a:pPr algn="ctr">
              <a:buClr>
                <a:srgbClr val="000000"/>
              </a:buClr>
            </a:pP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64" name="Пятиугольник 3">
            <a:extLst>
              <a:ext uri="{FF2B5EF4-FFF2-40B4-BE49-F238E27FC236}">
                <a16:creationId xmlns:a16="http://schemas.microsoft.com/office/drawing/2014/main" xmlns="" id="{6E48720C-5D75-4BE2-8B0D-D814E381AB48}"/>
              </a:ext>
            </a:extLst>
          </p:cNvPr>
          <p:cNvSpPr/>
          <p:nvPr/>
        </p:nvSpPr>
        <p:spPr>
          <a:xfrm>
            <a:off x="7555288" y="2491411"/>
            <a:ext cx="344358" cy="331902"/>
          </a:xfrm>
          <a:prstGeom prst="homePlate">
            <a:avLst>
              <a:gd name="adj" fmla="val 26596"/>
            </a:avLst>
          </a:prstGeom>
          <a:pattFill prst="dkUpDiag">
            <a:fgClr>
              <a:srgbClr val="2DBDEF">
                <a:lumMod val="20000"/>
                <a:lumOff val="80000"/>
              </a:srgbClr>
            </a:fgClr>
            <a:bgClr>
              <a:srgbClr val="FFFFFF"/>
            </a:bgClr>
          </a:pattFill>
          <a:ln w="3175">
            <a:noFill/>
            <a:miter lim="800000"/>
            <a:headEnd/>
            <a:tailEnd/>
          </a:ln>
        </p:spPr>
        <p:txBody>
          <a:bodyPr lIns="35999" tIns="0" rIns="35999" bIns="0" anchor="ctr"/>
          <a:lstStyle/>
          <a:p>
            <a:pPr algn="ctr">
              <a:buClr>
                <a:srgbClr val="000000"/>
              </a:buClr>
            </a:pP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65" name="Пятиугольник 3">
            <a:extLst>
              <a:ext uri="{FF2B5EF4-FFF2-40B4-BE49-F238E27FC236}">
                <a16:creationId xmlns:a16="http://schemas.microsoft.com/office/drawing/2014/main" xmlns="" id="{6E48720C-5D75-4BE2-8B0D-D814E381AB48}"/>
              </a:ext>
            </a:extLst>
          </p:cNvPr>
          <p:cNvSpPr/>
          <p:nvPr/>
        </p:nvSpPr>
        <p:spPr>
          <a:xfrm>
            <a:off x="7555288" y="3724158"/>
            <a:ext cx="344358" cy="331902"/>
          </a:xfrm>
          <a:prstGeom prst="homePlate">
            <a:avLst>
              <a:gd name="adj" fmla="val 26596"/>
            </a:avLst>
          </a:prstGeom>
          <a:pattFill prst="dkUpDiag">
            <a:fgClr>
              <a:srgbClr val="2DBDEF">
                <a:lumMod val="20000"/>
                <a:lumOff val="80000"/>
              </a:srgbClr>
            </a:fgClr>
            <a:bgClr>
              <a:srgbClr val="FFFFFF"/>
            </a:bgClr>
          </a:pattFill>
          <a:ln w="3175">
            <a:noFill/>
            <a:miter lim="800000"/>
            <a:headEnd/>
            <a:tailEnd/>
          </a:ln>
        </p:spPr>
        <p:txBody>
          <a:bodyPr lIns="35999" tIns="0" rIns="35999" bIns="0" anchor="ctr"/>
          <a:lstStyle/>
          <a:p>
            <a:pPr algn="ctr">
              <a:buClr>
                <a:srgbClr val="000000"/>
              </a:buClr>
            </a:pP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66" name="Пятиугольник 3">
            <a:extLst>
              <a:ext uri="{FF2B5EF4-FFF2-40B4-BE49-F238E27FC236}">
                <a16:creationId xmlns:a16="http://schemas.microsoft.com/office/drawing/2014/main" xmlns="" id="{6E48720C-5D75-4BE2-8B0D-D814E381AB48}"/>
              </a:ext>
            </a:extLst>
          </p:cNvPr>
          <p:cNvSpPr/>
          <p:nvPr/>
        </p:nvSpPr>
        <p:spPr>
          <a:xfrm>
            <a:off x="7555288" y="4863323"/>
            <a:ext cx="344358" cy="331902"/>
          </a:xfrm>
          <a:prstGeom prst="homePlate">
            <a:avLst>
              <a:gd name="adj" fmla="val 26596"/>
            </a:avLst>
          </a:prstGeom>
          <a:pattFill prst="dkUpDiag">
            <a:fgClr>
              <a:srgbClr val="2DBDEF">
                <a:lumMod val="20000"/>
                <a:lumOff val="80000"/>
              </a:srgbClr>
            </a:fgClr>
            <a:bgClr>
              <a:srgbClr val="FFFFFF"/>
            </a:bgClr>
          </a:pattFill>
          <a:ln w="3175">
            <a:noFill/>
            <a:miter lim="800000"/>
            <a:headEnd/>
            <a:tailEnd/>
          </a:ln>
        </p:spPr>
        <p:txBody>
          <a:bodyPr lIns="35999" tIns="0" rIns="35999" bIns="0" anchor="ctr"/>
          <a:lstStyle/>
          <a:p>
            <a:pPr algn="ctr">
              <a:buClr>
                <a:srgbClr val="000000"/>
              </a:buClr>
            </a:pP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67" name="Пятиугольник 3">
            <a:extLst>
              <a:ext uri="{FF2B5EF4-FFF2-40B4-BE49-F238E27FC236}">
                <a16:creationId xmlns:a16="http://schemas.microsoft.com/office/drawing/2014/main" xmlns="" id="{6E48720C-5D75-4BE2-8B0D-D814E381AB48}"/>
              </a:ext>
            </a:extLst>
          </p:cNvPr>
          <p:cNvSpPr/>
          <p:nvPr/>
        </p:nvSpPr>
        <p:spPr>
          <a:xfrm>
            <a:off x="7555288" y="6112215"/>
            <a:ext cx="344358" cy="331902"/>
          </a:xfrm>
          <a:prstGeom prst="homePlate">
            <a:avLst>
              <a:gd name="adj" fmla="val 26596"/>
            </a:avLst>
          </a:prstGeom>
          <a:pattFill prst="dkUpDiag">
            <a:fgClr>
              <a:srgbClr val="2DBDEF">
                <a:lumMod val="20000"/>
                <a:lumOff val="80000"/>
              </a:srgbClr>
            </a:fgClr>
            <a:bgClr>
              <a:srgbClr val="FFFFFF"/>
            </a:bgClr>
          </a:pattFill>
          <a:ln w="3175">
            <a:noFill/>
            <a:miter lim="800000"/>
            <a:headEnd/>
            <a:tailEnd/>
          </a:ln>
        </p:spPr>
        <p:txBody>
          <a:bodyPr lIns="35999" tIns="0" rIns="35999" bIns="0" anchor="ctr"/>
          <a:lstStyle/>
          <a:p>
            <a:pPr algn="ctr">
              <a:buClr>
                <a:srgbClr val="000000"/>
              </a:buClr>
            </a:pPr>
            <a:endParaRPr lang="ru-RU" sz="1400" b="1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>
            <a:off x="6096000" y="2298343"/>
            <a:ext cx="0" cy="816232"/>
          </a:xfrm>
          <a:prstGeom prst="line">
            <a:avLst/>
          </a:prstGeom>
          <a:ln w="1270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6096000" y="3479326"/>
            <a:ext cx="0" cy="816232"/>
          </a:xfrm>
          <a:prstGeom prst="line">
            <a:avLst/>
          </a:prstGeom>
          <a:ln w="1270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6096000" y="4694646"/>
            <a:ext cx="0" cy="816232"/>
          </a:xfrm>
          <a:prstGeom prst="line">
            <a:avLst/>
          </a:prstGeom>
          <a:ln w="1270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>
            <a:off x="6096000" y="5853128"/>
            <a:ext cx="0" cy="816232"/>
          </a:xfrm>
          <a:prstGeom prst="line">
            <a:avLst/>
          </a:prstGeom>
          <a:ln w="12700">
            <a:solidFill>
              <a:srgbClr val="FBDD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424183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с двумя скругленными противолежащими углами 9"/>
          <p:cNvSpPr/>
          <p:nvPr/>
        </p:nvSpPr>
        <p:spPr>
          <a:xfrm>
            <a:off x="7176120" y="781705"/>
            <a:ext cx="4750310" cy="791199"/>
          </a:xfrm>
          <a:prstGeom prst="round2Diag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2" name="AutoShape 6" descr="Флаг Японии — Википедия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38" name="Прямоугольник 3">
            <a:extLst>
              <a:ext uri="{FF2B5EF4-FFF2-40B4-BE49-F238E27FC236}">
                <a16:creationId xmlns:a16="http://schemas.microsoft.com/office/drawing/2014/main" xmlns="" id="{7729ED16-64F6-47F0-BB2B-40CE0A748F19}"/>
              </a:ext>
            </a:extLst>
          </p:cNvPr>
          <p:cNvSpPr/>
          <p:nvPr/>
        </p:nvSpPr>
        <p:spPr>
          <a:xfrm>
            <a:off x="856488" y="5217331"/>
            <a:ext cx="1841021" cy="9639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7" name="Диаграмма 26"/>
          <p:cNvGraphicFramePr/>
          <p:nvPr>
            <p:extLst>
              <p:ext uri="{D42A27DB-BD31-4B8C-83A1-F6EECF244321}">
                <p14:modId xmlns:p14="http://schemas.microsoft.com/office/powerpoint/2010/main" xmlns="" val="504751277"/>
              </p:ext>
            </p:extLst>
          </p:nvPr>
        </p:nvGraphicFramePr>
        <p:xfrm>
          <a:off x="6871345" y="1925581"/>
          <a:ext cx="5499475" cy="26618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7314640" y="814067"/>
            <a:ext cx="18056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3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$</a:t>
            </a:r>
            <a:r>
              <a:rPr lang="ru-RU" sz="3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5</a:t>
            </a:r>
            <a:r>
              <a:rPr lang="en-US" sz="3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</a:t>
            </a:r>
            <a:endParaRPr lang="en-US" sz="2400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8783663" y="933176"/>
            <a:ext cx="29705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sz="14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vestováno do doprabního průmyslu za posledních 15 let</a:t>
            </a:r>
            <a:endParaRPr lang="ru-RU" sz="1400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9448800" y="6547154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BC0DC2-9AC7-4AF2-ABC3-6798633670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D742657C-030D-4679-8F25-D351127F3F62}"/>
              </a:ext>
            </a:extLst>
          </p:cNvPr>
          <p:cNvSpPr/>
          <p:nvPr/>
        </p:nvSpPr>
        <p:spPr>
          <a:xfrm rot="10800000">
            <a:off x="-8" y="-10"/>
            <a:ext cx="7968215" cy="6240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9F07B031-507A-4B7A-8F68-C20C8A23F3C7}"/>
              </a:ext>
            </a:extLst>
          </p:cNvPr>
          <p:cNvSpPr/>
          <p:nvPr/>
        </p:nvSpPr>
        <p:spPr>
          <a:xfrm>
            <a:off x="200303" y="107112"/>
            <a:ext cx="77945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altLang="ru-RU" sz="2400" b="1" noProof="0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  <a:sym typeface="Futura"/>
              </a:rPr>
              <a:t>DŮVOD 1</a:t>
            </a:r>
            <a:r>
              <a:rPr lang="ru-RU" altLang="ru-RU" sz="2400" b="1" noProof="0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  <a:sym typeface="Futura"/>
              </a:rPr>
              <a:t>: </a:t>
            </a:r>
            <a:r>
              <a:rPr lang="cs-CZ" altLang="ru-RU" sz="2400" b="1" noProof="0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  <a:sym typeface="Futura"/>
              </a:rPr>
              <a:t>STRATEGICKÝ PŘÍSTUP NA HLAVNÍ TRHY</a:t>
            </a:r>
            <a:endParaRPr kumimoji="0" lang="en-US" alt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ea typeface="Futura"/>
              <a:cs typeface="Arial" panose="020B0604020202020204" pitchFamily="34" charset="0"/>
              <a:sym typeface="Futura"/>
            </a:endParaRPr>
          </a:p>
        </p:txBody>
      </p:sp>
      <p:sp>
        <p:nvSpPr>
          <p:cNvPr id="35" name="Rectangle 350"/>
          <p:cNvSpPr>
            <a:spLocks/>
          </p:cNvSpPr>
          <p:nvPr/>
        </p:nvSpPr>
        <p:spPr bwMode="gray">
          <a:xfrm>
            <a:off x="132431" y="1456396"/>
            <a:ext cx="6744355" cy="28388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36" name="Rectangle 28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2431" y="791431"/>
            <a:ext cx="6738914" cy="656781"/>
          </a:xfrm>
          <a:prstGeom prst="roundRect">
            <a:avLst>
              <a:gd name="adj" fmla="val 0"/>
            </a:avLst>
          </a:prstGeom>
          <a:pattFill prst="ltDnDiag">
            <a:fgClr>
              <a:srgbClr val="F9C61B">
                <a:lumMod val="40000"/>
                <a:lumOff val="6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200" lvl="1" indent="0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1" kern="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37" name="Rectangle 351"/>
          <p:cNvSpPr>
            <a:spLocks/>
          </p:cNvSpPr>
          <p:nvPr/>
        </p:nvSpPr>
        <p:spPr bwMode="gray">
          <a:xfrm>
            <a:off x="134682" y="791355"/>
            <a:ext cx="6741325" cy="45719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39" name="Rectangle 28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42678" y="5233825"/>
            <a:ext cx="2354832" cy="1533869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47" name="Овал 46">
            <a:extLst>
              <a:ext uri="{FF2B5EF4-FFF2-40B4-BE49-F238E27FC236}">
                <a16:creationId xmlns:a16="http://schemas.microsoft.com/office/drawing/2014/main" xmlns="" id="{0E55C0B2-6396-4FC6-9AE4-8FFC96D83CB9}"/>
              </a:ext>
            </a:extLst>
          </p:cNvPr>
          <p:cNvSpPr/>
          <p:nvPr/>
        </p:nvSpPr>
        <p:spPr>
          <a:xfrm>
            <a:off x="348178" y="4653136"/>
            <a:ext cx="868260" cy="868260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4100" name="Picture 4" descr="Railway Pause08 Lineal icon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8087" y="4750409"/>
            <a:ext cx="650128" cy="650128"/>
          </a:xfrm>
          <a:prstGeom prst="ellipse">
            <a:avLst/>
          </a:prstGeom>
          <a:noFill/>
        </p:spPr>
      </p:pic>
      <p:sp>
        <p:nvSpPr>
          <p:cNvPr id="81" name="Rectangle 28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423325" y="5233825"/>
            <a:ext cx="2354832" cy="1533869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</a:defRPr>
            </a:lvl1pPr>
            <a:lvl2pPr lvl="1"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82" name="Овал 81">
            <a:extLst>
              <a:ext uri="{FF2B5EF4-FFF2-40B4-BE49-F238E27FC236}">
                <a16:creationId xmlns:a16="http://schemas.microsoft.com/office/drawing/2014/main" xmlns="" id="{0E55C0B2-6396-4FC6-9AE4-8FFC96D83CB9}"/>
              </a:ext>
            </a:extLst>
          </p:cNvPr>
          <p:cNvSpPr/>
          <p:nvPr/>
        </p:nvSpPr>
        <p:spPr>
          <a:xfrm>
            <a:off x="9428825" y="4653136"/>
            <a:ext cx="868260" cy="868260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prstClr val="white"/>
              </a:solidFill>
              <a:latin typeface="Century Gothic" panose="020B0502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4" name="Rectangle 28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96442" y="5233825"/>
            <a:ext cx="2354832" cy="1533869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</a:defRPr>
            </a:lvl1pPr>
            <a:lvl2pPr lvl="1"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85" name="Овал 84">
            <a:extLst>
              <a:ext uri="{FF2B5EF4-FFF2-40B4-BE49-F238E27FC236}">
                <a16:creationId xmlns:a16="http://schemas.microsoft.com/office/drawing/2014/main" xmlns="" id="{0E55C0B2-6396-4FC6-9AE4-8FFC96D83CB9}"/>
              </a:ext>
            </a:extLst>
          </p:cNvPr>
          <p:cNvSpPr/>
          <p:nvPr/>
        </p:nvSpPr>
        <p:spPr>
          <a:xfrm>
            <a:off x="6396441" y="4653136"/>
            <a:ext cx="868260" cy="868260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prstClr val="white"/>
              </a:solidFill>
              <a:latin typeface="Century Gothic" panose="020B0502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87" name="Rectangle 28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69560" y="5233825"/>
            <a:ext cx="2354832" cy="1533869"/>
          </a:xfrm>
          <a:prstGeom prst="round2Diag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>
                <a:solidFill>
                  <a:schemeClr val="lt1"/>
                </a:solidFill>
              </a:defRPr>
            </a:lvl1pPr>
            <a:lvl2pPr lvl="1"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88" name="Овал 87">
            <a:extLst>
              <a:ext uri="{FF2B5EF4-FFF2-40B4-BE49-F238E27FC236}">
                <a16:creationId xmlns:a16="http://schemas.microsoft.com/office/drawing/2014/main" xmlns="" id="{0E55C0B2-6396-4FC6-9AE4-8FFC96D83CB9}"/>
              </a:ext>
            </a:extLst>
          </p:cNvPr>
          <p:cNvSpPr/>
          <p:nvPr/>
        </p:nvSpPr>
        <p:spPr>
          <a:xfrm>
            <a:off x="3350402" y="4653136"/>
            <a:ext cx="868260" cy="868260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>
              <a:solidFill>
                <a:prstClr val="white"/>
              </a:solidFill>
              <a:latin typeface="Century Gothic" panose="020B0502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pic>
        <p:nvPicPr>
          <p:cNvPr id="4104" name="Picture 8" descr="Trailer Truck - Free transport icons"/>
          <p:cNvPicPr>
            <a:picLocks noChangeAspect="1" noChangeArrowheads="1"/>
          </p:cNvPicPr>
          <p:nvPr/>
        </p:nvPicPr>
        <p:blipFill rotWithShape="1"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2980" b="24321"/>
          <a:stretch/>
        </p:blipFill>
        <p:spPr bwMode="auto">
          <a:xfrm>
            <a:off x="3514249" y="4825773"/>
            <a:ext cx="555234" cy="541684"/>
          </a:xfrm>
          <a:prstGeom prst="ellipse">
            <a:avLst/>
          </a:prstGeom>
          <a:noFill/>
        </p:spPr>
      </p:pic>
      <p:pic>
        <p:nvPicPr>
          <p:cNvPr id="4106" name="Picture 10" descr="Sea - Free shipping and delivery icons"/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03468" y="4776249"/>
            <a:ext cx="600644" cy="600644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2" descr="C:\Users\N.Baizakov\Downloads\tourism.png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06186" y="4825774"/>
            <a:ext cx="541684" cy="54168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27267" y="5542075"/>
            <a:ext cx="2778682" cy="12208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5 </a:t>
            </a:r>
            <a:r>
              <a:rPr lang="en-US" sz="1200" b="1" dirty="0" err="1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tran</a:t>
            </a: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zitních koridorů</a:t>
            </a:r>
            <a:endParaRPr lang="en-US" sz="12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>
              <a:spcAft>
                <a:spcPts val="400"/>
              </a:spcAft>
            </a:pP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17K km </a:t>
            </a: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železnic</a:t>
            </a:r>
            <a:endParaRPr lang="en-US" sz="12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>
              <a:spcAft>
                <a:spcPts val="400"/>
              </a:spcAft>
            </a:pP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135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K </a:t>
            </a: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nákladních vagonů</a:t>
            </a:r>
            <a:endParaRPr lang="en-US" sz="12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>
              <a:spcAft>
                <a:spcPts val="400"/>
              </a:spcAft>
            </a:pP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27</a:t>
            </a: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 mezistátních kontrolních</a:t>
            </a:r>
          </a:p>
          <a:p>
            <a:pPr>
              <a:spcAft>
                <a:spcPts val="400"/>
              </a:spcAft>
            </a:pP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bodu</a:t>
            </a:r>
            <a:endParaRPr lang="ru-RU" sz="12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3357472" y="5621325"/>
            <a:ext cx="2477630" cy="9335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8 </a:t>
            </a:r>
            <a:r>
              <a:rPr lang="en-US" sz="1200" b="1" dirty="0" err="1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tran</a:t>
            </a: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zitních koridorů</a:t>
            </a:r>
            <a:endParaRPr lang="en-US" sz="12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>
              <a:spcAft>
                <a:spcPts val="400"/>
              </a:spcAft>
            </a:pP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95K km </a:t>
            </a: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silnic</a:t>
            </a:r>
            <a:endParaRPr lang="en-US" sz="12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>
              <a:spcAft>
                <a:spcPts val="400"/>
              </a:spcAft>
            </a:pP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80% </a:t>
            </a: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objemu přepravováného zboží</a:t>
            </a:r>
            <a:endParaRPr lang="en-US" sz="12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6358803" y="5587067"/>
            <a:ext cx="2477630" cy="1436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00"/>
              </a:spcAft>
            </a:pP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2 </a:t>
            </a: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námořní přístavy 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(Aktau, Kuryk)</a:t>
            </a:r>
          </a:p>
          <a:p>
            <a:pPr>
              <a:spcAft>
                <a:spcPts val="400"/>
              </a:spcAft>
            </a:pP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Kapacita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 27M t</a:t>
            </a: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un</a:t>
            </a:r>
            <a:endParaRPr lang="kk-KZ" sz="12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>
              <a:spcAft>
                <a:spcPts val="400"/>
              </a:spcAft>
            </a:pP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Skladování nákladu a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200" b="1" dirty="0" err="1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termin</a:t>
            </a: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á</a:t>
            </a: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l</a:t>
            </a:r>
            <a:endParaRPr lang="kk-KZ" sz="12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>
              <a:spcAft>
                <a:spcPts val="400"/>
              </a:spcAft>
            </a:pP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Manipulace s kontejnery</a:t>
            </a:r>
            <a:endParaRPr lang="en-US" sz="12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>
              <a:spcAft>
                <a:spcPts val="400"/>
              </a:spcAft>
            </a:pPr>
            <a:endParaRPr lang="en-US" sz="14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9448800" y="5621325"/>
            <a:ext cx="247763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00"/>
              </a:spcAft>
            </a:pP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25 </a:t>
            </a: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letiště</a:t>
            </a:r>
            <a:endParaRPr lang="en-US" sz="12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>
              <a:spcAft>
                <a:spcPts val="400"/>
              </a:spcAft>
            </a:pP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18 </a:t>
            </a: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mezinárodní letiště</a:t>
            </a:r>
          </a:p>
          <a:p>
            <a:pPr>
              <a:spcAft>
                <a:spcPts val="400"/>
              </a:spcAft>
            </a:pPr>
            <a:r>
              <a:rPr lang="en-US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 7 </a:t>
            </a: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v soukromém vlastnictví</a:t>
            </a:r>
            <a:endParaRPr lang="en-US" sz="12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>
              <a:spcAft>
                <a:spcPts val="400"/>
              </a:spcAft>
            </a:pPr>
            <a:endParaRPr lang="en-US" sz="14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34682" y="944179"/>
            <a:ext cx="673666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cs-CZ" b="1" kern="0" dirty="0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STŘEDNÍ KORIDOR</a:t>
            </a:r>
            <a:endParaRPr lang="en-US" kern="0" dirty="0">
              <a:solidFill>
                <a:schemeClr val="tx1">
                  <a:lumMod val="85000"/>
                  <a:lumOff val="15000"/>
                </a:schemeClr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919" t="32929" r="28683" b="23446"/>
          <a:stretch/>
        </p:blipFill>
        <p:spPr>
          <a:xfrm>
            <a:off x="494959" y="1521448"/>
            <a:ext cx="5586970" cy="2380293"/>
          </a:xfrm>
          <a:prstGeom prst="rect">
            <a:avLst/>
          </a:prstGeom>
        </p:spPr>
      </p:pic>
      <p:sp>
        <p:nvSpPr>
          <p:cNvPr id="60" name="object 33"/>
          <p:cNvSpPr/>
          <p:nvPr/>
        </p:nvSpPr>
        <p:spPr>
          <a:xfrm>
            <a:off x="2093406" y="3930999"/>
            <a:ext cx="232335" cy="232335"/>
          </a:xfrm>
          <a:custGeom>
            <a:avLst/>
            <a:gdLst/>
            <a:ahLst/>
            <a:cxnLst/>
            <a:rect l="l" t="t" r="r" b="b"/>
            <a:pathLst>
              <a:path w="259080" h="259080">
                <a:moveTo>
                  <a:pt x="259079" y="0"/>
                </a:moveTo>
                <a:lnTo>
                  <a:pt x="0" y="0"/>
                </a:lnTo>
                <a:lnTo>
                  <a:pt x="0" y="259080"/>
                </a:lnTo>
                <a:lnTo>
                  <a:pt x="259079" y="259080"/>
                </a:lnTo>
                <a:lnTo>
                  <a:pt x="259079" y="0"/>
                </a:lnTo>
                <a:close/>
              </a:path>
            </a:pathLst>
          </a:custGeom>
          <a:solidFill>
            <a:srgbClr val="7A4D9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34"/>
          <p:cNvSpPr/>
          <p:nvPr/>
        </p:nvSpPr>
        <p:spPr>
          <a:xfrm>
            <a:off x="494959" y="3931000"/>
            <a:ext cx="232335" cy="232335"/>
          </a:xfrm>
          <a:custGeom>
            <a:avLst/>
            <a:gdLst/>
            <a:ahLst/>
            <a:cxnLst/>
            <a:rect l="l" t="t" r="r" b="b"/>
            <a:pathLst>
              <a:path w="259079" h="259080">
                <a:moveTo>
                  <a:pt x="259079" y="0"/>
                </a:moveTo>
                <a:lnTo>
                  <a:pt x="0" y="0"/>
                </a:lnTo>
                <a:lnTo>
                  <a:pt x="0" y="259080"/>
                </a:lnTo>
                <a:lnTo>
                  <a:pt x="259079" y="259080"/>
                </a:lnTo>
                <a:lnTo>
                  <a:pt x="259079" y="0"/>
                </a:lnTo>
                <a:close/>
              </a:path>
            </a:pathLst>
          </a:custGeom>
          <a:solidFill>
            <a:srgbClr val="1D88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35"/>
          <p:cNvSpPr/>
          <p:nvPr/>
        </p:nvSpPr>
        <p:spPr>
          <a:xfrm>
            <a:off x="2093406" y="4251805"/>
            <a:ext cx="232335" cy="230058"/>
          </a:xfrm>
          <a:custGeom>
            <a:avLst/>
            <a:gdLst/>
            <a:ahLst/>
            <a:cxnLst/>
            <a:rect l="l" t="t" r="r" b="b"/>
            <a:pathLst>
              <a:path w="259080" h="256539">
                <a:moveTo>
                  <a:pt x="259079" y="0"/>
                </a:moveTo>
                <a:lnTo>
                  <a:pt x="0" y="0"/>
                </a:lnTo>
                <a:lnTo>
                  <a:pt x="0" y="256031"/>
                </a:lnTo>
                <a:lnTo>
                  <a:pt x="259079" y="256031"/>
                </a:lnTo>
                <a:lnTo>
                  <a:pt x="259079" y="0"/>
                </a:lnTo>
                <a:close/>
              </a:path>
            </a:pathLst>
          </a:custGeom>
          <a:solidFill>
            <a:srgbClr val="FCA81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36"/>
          <p:cNvSpPr/>
          <p:nvPr/>
        </p:nvSpPr>
        <p:spPr>
          <a:xfrm>
            <a:off x="494959" y="4251805"/>
            <a:ext cx="232335" cy="230058"/>
          </a:xfrm>
          <a:custGeom>
            <a:avLst/>
            <a:gdLst/>
            <a:ahLst/>
            <a:cxnLst/>
            <a:rect l="l" t="t" r="r" b="b"/>
            <a:pathLst>
              <a:path w="259079" h="256539">
                <a:moveTo>
                  <a:pt x="259079" y="0"/>
                </a:moveTo>
                <a:lnTo>
                  <a:pt x="0" y="0"/>
                </a:lnTo>
                <a:lnTo>
                  <a:pt x="0" y="256031"/>
                </a:lnTo>
                <a:lnTo>
                  <a:pt x="259079" y="256031"/>
                </a:lnTo>
                <a:lnTo>
                  <a:pt x="259079" y="0"/>
                </a:lnTo>
                <a:close/>
              </a:path>
            </a:pathLst>
          </a:custGeom>
          <a:solidFill>
            <a:srgbClr val="2F4E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41"/>
          <p:cNvSpPr txBox="1"/>
          <p:nvPr/>
        </p:nvSpPr>
        <p:spPr>
          <a:xfrm>
            <a:off x="2372694" y="3973390"/>
            <a:ext cx="2485013" cy="508473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cs-CZ" sz="1100" b="1" spc="-75" dirty="0">
                <a:latin typeface="Verdana"/>
                <a:cs typeface="Verdana"/>
              </a:rPr>
              <a:t>Západní Evropa </a:t>
            </a:r>
            <a:r>
              <a:rPr lang="en-US" sz="1100" b="1" spc="-75" dirty="0">
                <a:latin typeface="Verdana"/>
                <a:cs typeface="Verdana"/>
              </a:rPr>
              <a:t>– </a:t>
            </a:r>
            <a:r>
              <a:rPr lang="cs-CZ" sz="1100" b="1" spc="-75" dirty="0">
                <a:latin typeface="Verdana"/>
                <a:cs typeface="Verdana"/>
              </a:rPr>
              <a:t>Západní Čina</a:t>
            </a:r>
            <a:endParaRPr lang="en-US" sz="1100" b="1" spc="-75" dirty="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1080"/>
              </a:spcBef>
            </a:pPr>
            <a:r>
              <a:rPr lang="cs-CZ" sz="1100" b="1" spc="-75" dirty="0">
                <a:latin typeface="Verdana"/>
                <a:cs typeface="Verdana"/>
              </a:rPr>
              <a:t>Čina – </a:t>
            </a:r>
            <a:r>
              <a:rPr lang="cs-CZ" sz="1100" b="1" spc="-25" dirty="0">
                <a:latin typeface="Verdana"/>
                <a:cs typeface="Verdana"/>
              </a:rPr>
              <a:t>Střední Asie</a:t>
            </a:r>
            <a:endParaRPr sz="1100" dirty="0">
              <a:latin typeface="Verdana"/>
              <a:cs typeface="Verdana"/>
            </a:endParaRPr>
          </a:p>
        </p:txBody>
      </p:sp>
      <p:sp>
        <p:nvSpPr>
          <p:cNvPr id="65" name="object 42"/>
          <p:cNvSpPr txBox="1"/>
          <p:nvPr/>
        </p:nvSpPr>
        <p:spPr>
          <a:xfrm>
            <a:off x="765891" y="3967513"/>
            <a:ext cx="1262380" cy="49308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cs-CZ" sz="1100" b="1" spc="-70" dirty="0">
                <a:latin typeface="Verdana"/>
                <a:cs typeface="Verdana"/>
              </a:rPr>
              <a:t>Střední koridor</a:t>
            </a:r>
            <a:endParaRPr lang="cs-CZ" sz="1100" dirty="0">
              <a:latin typeface="Verdana"/>
              <a:cs typeface="Verdana"/>
            </a:endParaRPr>
          </a:p>
          <a:p>
            <a:pPr marL="12700">
              <a:lnSpc>
                <a:spcPct val="100000"/>
              </a:lnSpc>
              <a:spcBef>
                <a:spcPts val="1080"/>
              </a:spcBef>
            </a:pPr>
            <a:r>
              <a:rPr lang="cs-CZ" sz="1100" b="1" spc="-75" dirty="0">
                <a:latin typeface="Verdana"/>
                <a:cs typeface="Verdana"/>
              </a:rPr>
              <a:t>Severo - jižní</a:t>
            </a:r>
            <a:endParaRPr lang="cs-CZ" sz="1100" dirty="0"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63436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Прямоугольник 92"/>
          <p:cNvSpPr/>
          <p:nvPr/>
        </p:nvSpPr>
        <p:spPr>
          <a:xfrm>
            <a:off x="4249298" y="4375452"/>
            <a:ext cx="1926504" cy="7463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Прямоугольник 89"/>
          <p:cNvSpPr/>
          <p:nvPr/>
        </p:nvSpPr>
        <p:spPr>
          <a:xfrm>
            <a:off x="2231115" y="4375452"/>
            <a:ext cx="1926504" cy="7463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209056" y="4375452"/>
            <a:ext cx="1926504" cy="7463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Rectangle 28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42603" y="5537970"/>
            <a:ext cx="11597182" cy="1205569"/>
          </a:xfrm>
          <a:prstGeom prst="roundRect">
            <a:avLst>
              <a:gd name="adj" fmla="val 0"/>
            </a:avLst>
          </a:prstGeom>
          <a:pattFill prst="ltDnDiag">
            <a:fgClr>
              <a:srgbClr val="F9C61B">
                <a:lumMod val="40000"/>
                <a:lumOff val="6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200" lvl="1" indent="0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71" name="Rectangle 350"/>
          <p:cNvSpPr>
            <a:spLocks/>
          </p:cNvSpPr>
          <p:nvPr/>
        </p:nvSpPr>
        <p:spPr bwMode="gray">
          <a:xfrm>
            <a:off x="241262" y="1376172"/>
            <a:ext cx="5207015" cy="17626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72" name="Rectangle 28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27467" y="921880"/>
            <a:ext cx="5220623" cy="438398"/>
          </a:xfrm>
          <a:prstGeom prst="roundRect">
            <a:avLst>
              <a:gd name="adj" fmla="val 0"/>
            </a:avLst>
          </a:prstGeom>
          <a:pattFill prst="ltDnDiag">
            <a:fgClr>
              <a:srgbClr val="F9C61B">
                <a:lumMod val="40000"/>
                <a:lumOff val="6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200" lvl="1" indent="0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73" name="Rectangle 351"/>
          <p:cNvSpPr>
            <a:spLocks/>
          </p:cNvSpPr>
          <p:nvPr/>
        </p:nvSpPr>
        <p:spPr bwMode="gray">
          <a:xfrm>
            <a:off x="243635" y="930036"/>
            <a:ext cx="5204674" cy="34350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5738C48A-B59A-435B-9F0D-FA19C2C9DBA4}"/>
              </a:ext>
            </a:extLst>
          </p:cNvPr>
          <p:cNvSpPr txBox="1"/>
          <p:nvPr/>
        </p:nvSpPr>
        <p:spPr>
          <a:xfrm>
            <a:off x="215553" y="967085"/>
            <a:ext cx="523237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100639" hangingPunct="0">
              <a:spcAft>
                <a:spcPts val="1600"/>
              </a:spcAft>
              <a:defRPr/>
            </a:pPr>
            <a:r>
              <a:rPr lang="cs-CZ" sz="2000" b="1" kern="0" dirty="0">
                <a:solidFill>
                  <a:srgbClr val="1F5FA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MINERÁLNÍ ZDROJE</a:t>
            </a:r>
            <a:endParaRPr lang="ru-RU" sz="2000" b="1" kern="0" dirty="0">
              <a:solidFill>
                <a:srgbClr val="1F5FA0"/>
              </a:solidFill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Helvetica Neue Medium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040216" y="495425"/>
            <a:ext cx="4041491" cy="400110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pPr defTabSz="1100639" hangingPunct="0">
              <a:spcAft>
                <a:spcPts val="1600"/>
              </a:spcAft>
              <a:defRPr/>
            </a:pPr>
            <a:r>
              <a:rPr lang="cs-CZ" sz="2000" b="1" kern="0" dirty="0">
                <a:solidFill>
                  <a:srgbClr val="1F5FA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Globální žebříčky Kazachstánu</a:t>
            </a:r>
            <a:endParaRPr lang="ru-RU" sz="2000" b="1" kern="0" dirty="0">
              <a:solidFill>
                <a:srgbClr val="1F5FA0"/>
              </a:solidFill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Helvetica Neue Medium"/>
            </a:endParaRPr>
          </a:p>
        </p:txBody>
      </p:sp>
      <p:sp>
        <p:nvSpPr>
          <p:cNvPr id="3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9448800" y="6547154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BC0DC2-9AC7-4AF2-ABC3-6798633670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5738C48A-B59A-435B-9F0D-FA19C2C9DBA4}"/>
              </a:ext>
            </a:extLst>
          </p:cNvPr>
          <p:cNvSpPr txBox="1"/>
          <p:nvPr/>
        </p:nvSpPr>
        <p:spPr>
          <a:xfrm>
            <a:off x="407368" y="5592523"/>
            <a:ext cx="576064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100639" hangingPunct="0">
              <a:spcAft>
                <a:spcPts val="1600"/>
              </a:spcAft>
              <a:defRPr/>
            </a:pPr>
            <a:r>
              <a:rPr lang="cs-CZ" sz="2000" b="1" kern="0" dirty="0">
                <a:solidFill>
                  <a:srgbClr val="1F5FA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OBNOVITELNÉ ZDROJE ENERGIE</a:t>
            </a:r>
            <a:endParaRPr lang="en-US" b="1" dirty="0">
              <a:solidFill>
                <a:schemeClr val="accent5"/>
              </a:solidFill>
              <a:latin typeface="Century Gothic" panose="020B0502020202020204" pitchFamily="34" charset="0"/>
              <a:cs typeface="Arial" panose="020B0604020202020204" pitchFamily="34" charset="0"/>
              <a:sym typeface="Helvetica Neue Medium"/>
            </a:endParaRPr>
          </a:p>
        </p:txBody>
      </p:sp>
      <p:grpSp>
        <p:nvGrpSpPr>
          <p:cNvPr id="52" name="Группа 51"/>
          <p:cNvGrpSpPr/>
          <p:nvPr/>
        </p:nvGrpSpPr>
        <p:grpSpPr>
          <a:xfrm>
            <a:off x="136302" y="1650425"/>
            <a:ext cx="8551986" cy="2520280"/>
            <a:chOff x="398854" y="2780928"/>
            <a:chExt cx="7065298" cy="2520280"/>
          </a:xfrm>
        </p:grpSpPr>
        <p:grpSp>
          <p:nvGrpSpPr>
            <p:cNvPr id="53" name="Группа 52"/>
            <p:cNvGrpSpPr/>
            <p:nvPr/>
          </p:nvGrpSpPr>
          <p:grpSpPr>
            <a:xfrm>
              <a:off x="473612" y="4046706"/>
              <a:ext cx="1787922" cy="558332"/>
              <a:chOff x="620439" y="3179816"/>
              <a:chExt cx="1787922" cy="482283"/>
            </a:xfrm>
          </p:grpSpPr>
          <p:sp>
            <p:nvSpPr>
              <p:cNvPr id="64" name="Скругленный прямоугольник 63"/>
              <p:cNvSpPr/>
              <p:nvPr/>
            </p:nvSpPr>
            <p:spPr>
              <a:xfrm>
                <a:off x="620439" y="3179816"/>
                <a:ext cx="1781728" cy="482283"/>
              </a:xfrm>
              <a:prstGeom prst="roundRect">
                <a:avLst/>
              </a:prstGeom>
              <a:solidFill>
                <a:srgbClr val="25ACE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00"/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694951" y="3200436"/>
                <a:ext cx="1713410" cy="4519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cs-CZ" sz="1400" b="1" spc="15" dirty="0">
                    <a:solidFill>
                      <a:schemeClr val="bg1"/>
                    </a:solidFill>
                    <a:latin typeface="Century Gothic" panose="020B0502020202020204" pitchFamily="34" charset="0"/>
                    <a:cs typeface="Calibri" pitchFamily="34" charset="0"/>
                  </a:rPr>
                  <a:t>Podloží a kod použití podloží</a:t>
                </a:r>
                <a:endParaRPr lang="ru-RU" sz="1400" dirty="0">
                  <a:solidFill>
                    <a:schemeClr val="bg1"/>
                  </a:solidFill>
                  <a:latin typeface="Century Gothic" panose="020B0502020202020204" pitchFamily="34" charset="0"/>
                </a:endParaRPr>
              </a:p>
            </p:txBody>
          </p:sp>
        </p:grpSp>
        <p:grpSp>
          <p:nvGrpSpPr>
            <p:cNvPr id="54" name="Группа 53"/>
            <p:cNvGrpSpPr/>
            <p:nvPr/>
          </p:nvGrpSpPr>
          <p:grpSpPr>
            <a:xfrm>
              <a:off x="458958" y="3393934"/>
              <a:ext cx="1802576" cy="524776"/>
              <a:chOff x="599591" y="1796096"/>
              <a:chExt cx="1802576" cy="524776"/>
            </a:xfrm>
          </p:grpSpPr>
          <p:sp>
            <p:nvSpPr>
              <p:cNvPr id="62" name="Скругленный прямоугольник 61"/>
              <p:cNvSpPr/>
              <p:nvPr/>
            </p:nvSpPr>
            <p:spPr>
              <a:xfrm>
                <a:off x="620439" y="1796096"/>
                <a:ext cx="1781728" cy="524776"/>
              </a:xfrm>
              <a:prstGeom prst="roundRect">
                <a:avLst/>
              </a:prstGeom>
              <a:solidFill>
                <a:srgbClr val="25ACE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00"/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599591" y="1797651"/>
                <a:ext cx="1781728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cs-CZ" sz="1400" b="1" spc="15" dirty="0">
                    <a:solidFill>
                      <a:schemeClr val="bg1"/>
                    </a:solidFill>
                    <a:latin typeface="Century Gothic" panose="020B0502020202020204" pitchFamily="34" charset="0"/>
                    <a:cs typeface="Calibri" pitchFamily="34" charset="0"/>
                  </a:rPr>
                  <a:t>Člen </a:t>
                </a:r>
                <a:r>
                  <a:rPr lang="en-US" sz="1400" b="1" spc="15" dirty="0">
                    <a:solidFill>
                      <a:schemeClr val="bg1"/>
                    </a:solidFill>
                    <a:latin typeface="Century Gothic" panose="020B0502020202020204" pitchFamily="34" charset="0"/>
                    <a:cs typeface="Calibri" pitchFamily="34" charset="0"/>
                  </a:rPr>
                  <a:t>CRIRSCO</a:t>
                </a:r>
                <a:endParaRPr lang="ru-RU" sz="1400" b="1" spc="15" dirty="0">
                  <a:solidFill>
                    <a:schemeClr val="bg1"/>
                  </a:solidFill>
                  <a:latin typeface="Century Gothic" panose="020B0502020202020204" pitchFamily="34" charset="0"/>
                  <a:cs typeface="Calibri" pitchFamily="34" charset="0"/>
                </a:endParaRPr>
              </a:p>
            </p:txBody>
          </p:sp>
        </p:grpSp>
        <p:grpSp>
          <p:nvGrpSpPr>
            <p:cNvPr id="55" name="Группа 54"/>
            <p:cNvGrpSpPr/>
            <p:nvPr/>
          </p:nvGrpSpPr>
          <p:grpSpPr>
            <a:xfrm>
              <a:off x="398854" y="4723775"/>
              <a:ext cx="1856055" cy="501301"/>
              <a:chOff x="529342" y="4016101"/>
              <a:chExt cx="1856055" cy="1134867"/>
            </a:xfrm>
          </p:grpSpPr>
          <p:sp>
            <p:nvSpPr>
              <p:cNvPr id="60" name="Скругленный прямоугольник 59"/>
              <p:cNvSpPr/>
              <p:nvPr/>
            </p:nvSpPr>
            <p:spPr>
              <a:xfrm>
                <a:off x="603669" y="4016101"/>
                <a:ext cx="1781728" cy="1134867"/>
              </a:xfrm>
              <a:prstGeom prst="roundRect">
                <a:avLst/>
              </a:prstGeom>
              <a:solidFill>
                <a:srgbClr val="25ACE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00"/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529342" y="4224429"/>
                <a:ext cx="1836789" cy="69675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en-US" sz="1400" b="1" spc="15" dirty="0">
                    <a:solidFill>
                      <a:schemeClr val="bg1"/>
                    </a:solidFill>
                    <a:latin typeface="Century Gothic" panose="020B0502020202020204" pitchFamily="34" charset="0"/>
                    <a:cs typeface="Calibri" pitchFamily="34" charset="0"/>
                  </a:rPr>
                  <a:t>EITI standard</a:t>
                </a:r>
                <a:endParaRPr lang="ru-RU" sz="1400" b="1" spc="15" dirty="0">
                  <a:solidFill>
                    <a:schemeClr val="bg1"/>
                  </a:solidFill>
                  <a:latin typeface="Century Gothic" panose="020B0502020202020204" pitchFamily="34" charset="0"/>
                  <a:cs typeface="Calibri" pitchFamily="34" charset="0"/>
                </a:endParaRPr>
              </a:p>
            </p:txBody>
          </p:sp>
        </p:grpSp>
        <p:sp>
          <p:nvSpPr>
            <p:cNvPr id="56" name="Прямоугольник 55"/>
            <p:cNvSpPr/>
            <p:nvPr/>
          </p:nvSpPr>
          <p:spPr>
            <a:xfrm>
              <a:off x="2784050" y="3513733"/>
              <a:ext cx="4680102" cy="1641988"/>
            </a:xfrm>
            <a:prstGeom prst="rect">
              <a:avLst/>
            </a:prstGeom>
            <a:no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marL="182967" indent="-171450" defTabSz="412750">
                <a:spcBef>
                  <a:spcPts val="259"/>
                </a:spcBef>
                <a:spcAft>
                  <a:spcPts val="800"/>
                </a:spcAft>
                <a:buFont typeface="Wingdings" panose="05000000000000000000" pitchFamily="2" charset="2"/>
                <a:buChar char="§"/>
              </a:pPr>
              <a:r>
                <a:rPr lang="cs-CZ" sz="1000" b="1" spc="64" dirty="0">
                  <a:solidFill>
                    <a:schemeClr val="tx2"/>
                  </a:solidFill>
                  <a:latin typeface="Century Gothic" panose="020B0502020202020204" pitchFamily="34" charset="0"/>
                  <a:cs typeface="Calibri" pitchFamily="34" charset="0"/>
                </a:rPr>
                <a:t>PRINCIP </a:t>
              </a:r>
              <a:r>
                <a:rPr lang="ru-RU" sz="1000" b="1" spc="64" dirty="0">
                  <a:solidFill>
                    <a:schemeClr val="tx2"/>
                  </a:solidFill>
                  <a:latin typeface="Century Gothic" panose="020B0502020202020204" pitchFamily="34" charset="0"/>
                  <a:cs typeface="Calibri" pitchFamily="34" charset="0"/>
                </a:rPr>
                <a:t>«</a:t>
              </a:r>
              <a:r>
                <a:rPr lang="cs-CZ" sz="1000" b="1" spc="64" dirty="0">
                  <a:solidFill>
                    <a:schemeClr val="tx2"/>
                  </a:solidFill>
                  <a:latin typeface="Century Gothic" panose="020B0502020202020204" pitchFamily="34" charset="0"/>
                  <a:cs typeface="Calibri" pitchFamily="34" charset="0"/>
                </a:rPr>
                <a:t>PRVNÍ PŘÍJDE, JE PRVNÍ SLOUŽÍ</a:t>
              </a:r>
              <a:r>
                <a:rPr lang="ru-RU" sz="1000" b="1" spc="64" dirty="0">
                  <a:solidFill>
                    <a:schemeClr val="tx2"/>
                  </a:solidFill>
                  <a:latin typeface="Century Gothic" panose="020B0502020202020204" pitchFamily="34" charset="0"/>
                  <a:cs typeface="Calibri" pitchFamily="34" charset="0"/>
                </a:rPr>
                <a:t>»</a:t>
              </a:r>
              <a:r>
                <a:rPr lang="cs-CZ" sz="1000" b="1" spc="64" dirty="0">
                  <a:solidFill>
                    <a:schemeClr val="tx2"/>
                  </a:solidFill>
                  <a:latin typeface="Century Gothic" panose="020B0502020202020204" pitchFamily="34" charset="0"/>
                  <a:cs typeface="Calibri" pitchFamily="34" charset="0"/>
                </a:rPr>
                <a:t> NA KONKURENČNÍ ZÁKLADNĚ</a:t>
              </a:r>
              <a:endParaRPr lang="en-US" sz="1000" b="1" spc="50" dirty="0">
                <a:solidFill>
                  <a:schemeClr val="tx2"/>
                </a:solidFill>
                <a:latin typeface="Century Gothic" panose="020B0502020202020204" pitchFamily="34" charset="0"/>
                <a:cs typeface="Calibri" pitchFamily="34" charset="0"/>
              </a:endParaRPr>
            </a:p>
            <a:p>
              <a:pPr marL="182967" indent="-171450" defTabSz="412750">
                <a:spcBef>
                  <a:spcPts val="5"/>
                </a:spcBef>
                <a:spcAft>
                  <a:spcPts val="800"/>
                </a:spcAft>
                <a:buFont typeface="Wingdings" panose="05000000000000000000" pitchFamily="2" charset="2"/>
                <a:buChar char="§"/>
              </a:pPr>
              <a:r>
                <a:rPr lang="cs-CZ" sz="1000" b="1" spc="50" dirty="0">
                  <a:solidFill>
                    <a:schemeClr val="tx2"/>
                  </a:solidFill>
                  <a:latin typeface="Century Gothic" panose="020B0502020202020204" pitchFamily="34" charset="0"/>
                  <a:cs typeface="Calibri" pitchFamily="34" charset="0"/>
                </a:rPr>
                <a:t>OTEVŘENÝ PŘÍSTUP KE GEOLOGICKÝM INFORMACÍM </a:t>
              </a:r>
              <a:endParaRPr lang="ru-RU" sz="1000" dirty="0">
                <a:solidFill>
                  <a:schemeClr val="tx2"/>
                </a:solidFill>
                <a:latin typeface="Century Gothic" panose="020B0502020202020204" pitchFamily="34" charset="0"/>
                <a:cs typeface="Calibri" pitchFamily="34" charset="0"/>
              </a:endParaRPr>
            </a:p>
            <a:p>
              <a:pPr marL="182967" marR="17851" indent="-171450" defTabSz="412750">
                <a:spcAft>
                  <a:spcPts val="800"/>
                </a:spcAft>
                <a:buFont typeface="Wingdings" panose="05000000000000000000" pitchFamily="2" charset="2"/>
                <a:buChar char="§"/>
              </a:pPr>
              <a:r>
                <a:rPr lang="cs-CZ" sz="1000" b="1" spc="50" dirty="0">
                  <a:solidFill>
                    <a:schemeClr val="tx2"/>
                  </a:solidFill>
                  <a:latin typeface="Century Gothic" panose="020B0502020202020204" pitchFamily="34" charset="0"/>
                  <a:cs typeface="Calibri" pitchFamily="34" charset="0"/>
                </a:rPr>
                <a:t>SNÍŽENÍ ADMINISTRATIVNÍCH BARIÉR</a:t>
              </a:r>
              <a:endParaRPr lang="ru-RU" sz="1000" dirty="0">
                <a:solidFill>
                  <a:schemeClr val="tx2"/>
                </a:solidFill>
                <a:latin typeface="Century Gothic" panose="020B0502020202020204" pitchFamily="34" charset="0"/>
                <a:cs typeface="Calibri" pitchFamily="34" charset="0"/>
              </a:endParaRPr>
            </a:p>
            <a:p>
              <a:pPr marL="182967" marR="95010" indent="-171450" defTabSz="412750">
                <a:lnSpc>
                  <a:spcPct val="113500"/>
                </a:lnSpc>
                <a:spcAft>
                  <a:spcPts val="800"/>
                </a:spcAft>
                <a:buFont typeface="Wingdings" panose="05000000000000000000" pitchFamily="2" charset="2"/>
                <a:buChar char="§"/>
              </a:pPr>
              <a:r>
                <a:rPr lang="cs-CZ" sz="1000" b="1" spc="32" dirty="0">
                  <a:solidFill>
                    <a:schemeClr val="tx2"/>
                  </a:solidFill>
                  <a:latin typeface="Century Gothic" panose="020B0502020202020204" pitchFamily="34" charset="0"/>
                  <a:cs typeface="Calibri" pitchFamily="34" charset="0"/>
                </a:rPr>
                <a:t>POSKYTOVÁNÍ ZÁRUK STABILITY </a:t>
              </a:r>
              <a:endParaRPr lang="ru-RU" sz="1000" dirty="0">
                <a:solidFill>
                  <a:schemeClr val="tx2"/>
                </a:solidFill>
                <a:latin typeface="Century Gothic" panose="020B0502020202020204" pitchFamily="34" charset="0"/>
                <a:cs typeface="Calibri" pitchFamily="34" charset="0"/>
              </a:endParaRPr>
            </a:p>
            <a:p>
              <a:pPr marL="182967" marR="763535" indent="-171450" defTabSz="412750">
                <a:lnSpc>
                  <a:spcPct val="113500"/>
                </a:lnSpc>
                <a:spcBef>
                  <a:spcPts val="5"/>
                </a:spcBef>
                <a:spcAft>
                  <a:spcPts val="800"/>
                </a:spcAft>
                <a:buFont typeface="Wingdings" panose="05000000000000000000" pitchFamily="2" charset="2"/>
                <a:buChar char="§"/>
              </a:pPr>
              <a:r>
                <a:rPr lang="cs-CZ" sz="1000" b="1" spc="37" dirty="0">
                  <a:solidFill>
                    <a:schemeClr val="tx2"/>
                  </a:solidFill>
                  <a:latin typeface="Century Gothic" panose="020B0502020202020204" pitchFamily="34" charset="0"/>
                  <a:cs typeface="Calibri" pitchFamily="34" charset="0"/>
                </a:rPr>
                <a:t>ZAJIŠTĚNÍ FUNGOVÁNÍ TRHU JUNIOR FIREM A PŘÍLEŽITOSTÍ ZVÝŠIT KAPITÁL</a:t>
              </a:r>
              <a:endParaRPr lang="ru-RU" sz="1000" b="1" spc="37" dirty="0">
                <a:solidFill>
                  <a:schemeClr val="tx2"/>
                </a:solidFill>
                <a:latin typeface="Century Gothic" panose="020B0502020202020204" pitchFamily="34" charset="0"/>
                <a:cs typeface="Calibri" pitchFamily="34" charset="0"/>
              </a:endParaRPr>
            </a:p>
            <a:p>
              <a:pPr marL="182967" marR="763535" indent="-171450" defTabSz="412750">
                <a:lnSpc>
                  <a:spcPct val="113500"/>
                </a:lnSpc>
                <a:spcBef>
                  <a:spcPts val="5"/>
                </a:spcBef>
                <a:spcAft>
                  <a:spcPts val="800"/>
                </a:spcAft>
                <a:buFont typeface="Wingdings" panose="05000000000000000000" pitchFamily="2" charset="2"/>
                <a:buChar char="§"/>
              </a:pPr>
              <a:r>
                <a:rPr lang="cs-CZ" sz="1000" b="1" spc="64" dirty="0">
                  <a:solidFill>
                    <a:schemeClr val="tx2"/>
                  </a:solidFill>
                  <a:latin typeface="Century Gothic" panose="020B0502020202020204" pitchFamily="34" charset="0"/>
                  <a:ea typeface="Helvetica"/>
                  <a:cs typeface="Calibri" pitchFamily="34" charset="0"/>
                </a:rPr>
                <a:t>NOVÝ KOD JE PLNĚ KONZISTENTNÍ S NEJLEPŠÍ GLOBÁLNÍ PRAXÍ</a:t>
              </a:r>
              <a:endParaRPr lang="en-US" sz="1000" b="1" spc="37" dirty="0">
                <a:solidFill>
                  <a:schemeClr val="tx2"/>
                </a:solidFill>
                <a:latin typeface="Century Gothic" panose="020B0502020202020204" pitchFamily="34" charset="0"/>
                <a:cs typeface="Calibri" pitchFamily="34" charset="0"/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2630216" y="2780928"/>
              <a:ext cx="287804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1100639" hangingPunct="0">
                <a:spcAft>
                  <a:spcPts val="1600"/>
                </a:spcAft>
                <a:defRPr/>
              </a:pPr>
              <a:r>
                <a:rPr lang="cs-CZ" sz="1400" b="1" kern="0" dirty="0">
                  <a:solidFill>
                    <a:srgbClr val="1F5FA0"/>
                  </a:solidFill>
                  <a:latin typeface="Century Gothic" panose="020B0502020202020204" pitchFamily="34" charset="0"/>
                  <a:ea typeface="Tahoma" panose="020B0604030504040204" pitchFamily="34" charset="0"/>
                  <a:cs typeface="Arial" pitchFamily="34" charset="0"/>
                </a:rPr>
                <a:t>KONCEPČNÍ INOVACE NOVÉHO KODU</a:t>
              </a:r>
              <a:endParaRPr lang="ru-RU" sz="1400" b="1" kern="0" dirty="0">
                <a:solidFill>
                  <a:srgbClr val="1F5FA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</a:endParaRPr>
            </a:p>
          </p:txBody>
        </p:sp>
        <p:cxnSp>
          <p:nvCxnSpPr>
            <p:cNvPr id="58" name="Прямая соединительная линия 57"/>
            <p:cNvCxnSpPr/>
            <p:nvPr/>
          </p:nvCxnSpPr>
          <p:spPr>
            <a:xfrm>
              <a:off x="2605197" y="3261357"/>
              <a:ext cx="0" cy="2039851"/>
            </a:xfrm>
            <a:prstGeom prst="line">
              <a:avLst/>
            </a:prstGeom>
            <a:ln w="19050">
              <a:solidFill>
                <a:srgbClr val="1F49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Прямая соединительная линия 58"/>
            <p:cNvCxnSpPr/>
            <p:nvPr/>
          </p:nvCxnSpPr>
          <p:spPr>
            <a:xfrm flipH="1">
              <a:off x="2262620" y="4334727"/>
              <a:ext cx="348519" cy="0"/>
            </a:xfrm>
            <a:prstGeom prst="line">
              <a:avLst/>
            </a:prstGeom>
            <a:ln w="19050">
              <a:solidFill>
                <a:srgbClr val="1F497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xmlns="" id="{D742657C-030D-4679-8F25-D351127F3F62}"/>
              </a:ext>
            </a:extLst>
          </p:cNvPr>
          <p:cNvSpPr/>
          <p:nvPr/>
        </p:nvSpPr>
        <p:spPr>
          <a:xfrm>
            <a:off x="-6" y="-8"/>
            <a:ext cx="6600061" cy="6240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  <a:defRPr/>
            </a:pPr>
            <a:r>
              <a:rPr lang="cs-CZ" altLang="ru-RU" sz="2400" b="1" noProof="0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  <a:sym typeface="Futura"/>
              </a:rPr>
              <a:t>DŮVOD 2</a:t>
            </a:r>
            <a:r>
              <a:rPr lang="ru-RU" altLang="ru-RU" sz="2400" b="1" noProof="0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  <a:sym typeface="Futura"/>
              </a:rPr>
              <a:t>: </a:t>
            </a:r>
            <a:r>
              <a:rPr lang="cs-CZ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BOHATÉ PŘÍRODNÍ ZDROJE</a:t>
            </a:r>
            <a:endParaRPr lang="ru-RU" sz="2400" b="1" dirty="0">
              <a:solidFill>
                <a:schemeClr val="bg1"/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  <p:sp>
        <p:nvSpPr>
          <p:cNvPr id="74" name="Rectangle 350"/>
          <p:cNvSpPr>
            <a:spLocks/>
          </p:cNvSpPr>
          <p:nvPr/>
        </p:nvSpPr>
        <p:spPr bwMode="gray">
          <a:xfrm>
            <a:off x="154021" y="6755582"/>
            <a:ext cx="11584697" cy="45719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76" name="Rectangle 351"/>
          <p:cNvSpPr>
            <a:spLocks/>
          </p:cNvSpPr>
          <p:nvPr/>
        </p:nvSpPr>
        <p:spPr bwMode="gray">
          <a:xfrm>
            <a:off x="144749" y="5512915"/>
            <a:ext cx="11582551" cy="76208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747257" y="4437552"/>
            <a:ext cx="14623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8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99 </a:t>
            </a: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rvky</a:t>
            </a:r>
            <a:endParaRPr lang="en-US" sz="10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2227239" y="4344939"/>
            <a:ext cx="19303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70</a:t>
            </a:r>
            <a:r>
              <a:rPr lang="ru-RU" sz="36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vyšetřováno</a:t>
            </a:r>
            <a:endParaRPr lang="en-US" sz="10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4249298" y="4376604"/>
            <a:ext cx="1899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0</a:t>
            </a:r>
            <a:r>
              <a:rPr lang="ru-RU" sz="36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vytěženo</a:t>
            </a:r>
            <a:endParaRPr lang="en-US" sz="12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78" name="Picture 10" descr="Mineral - Free nature icons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5497" y="4463646"/>
            <a:ext cx="514114" cy="514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Прямоугольник 93"/>
          <p:cNvSpPr/>
          <p:nvPr/>
        </p:nvSpPr>
        <p:spPr>
          <a:xfrm>
            <a:off x="6267481" y="4375452"/>
            <a:ext cx="1926504" cy="7463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5" name="TextBox 94"/>
          <p:cNvSpPr txBox="1"/>
          <p:nvPr/>
        </p:nvSpPr>
        <p:spPr>
          <a:xfrm>
            <a:off x="6168008" y="4141256"/>
            <a:ext cx="212861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16</a:t>
            </a:r>
            <a:r>
              <a:rPr lang="ru-RU" sz="36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en-US" sz="36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cs-CZ" sz="12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ěžených kovů a minerálů vzácných zemin</a:t>
            </a:r>
            <a:endParaRPr lang="en-US" sz="12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4">
            <a:extLst>
              <a:ext uri="{FF2B5EF4-FFF2-40B4-BE49-F238E27FC236}">
                <a16:creationId xmlns:a16="http://schemas.microsoft.com/office/drawing/2014/main" xmlns="" id="{3BF55446-4F95-890C-0963-040F367BE9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730655014"/>
              </p:ext>
            </p:extLst>
          </p:nvPr>
        </p:nvGraphicFramePr>
        <p:xfrm>
          <a:off x="8106725" y="887466"/>
          <a:ext cx="3631992" cy="457200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210664">
                  <a:extLst>
                    <a:ext uri="{9D8B030D-6E8A-4147-A177-3AD203B41FA5}">
                      <a16:colId xmlns:a16="http://schemas.microsoft.com/office/drawing/2014/main" xmlns="" val="4230621126"/>
                    </a:ext>
                  </a:extLst>
                </a:gridCol>
                <a:gridCol w="1210664">
                  <a:extLst>
                    <a:ext uri="{9D8B030D-6E8A-4147-A177-3AD203B41FA5}">
                      <a16:colId xmlns:a16="http://schemas.microsoft.com/office/drawing/2014/main" xmlns="" val="1285726558"/>
                    </a:ext>
                  </a:extLst>
                </a:gridCol>
                <a:gridCol w="1210664">
                  <a:extLst>
                    <a:ext uri="{9D8B030D-6E8A-4147-A177-3AD203B41FA5}">
                      <a16:colId xmlns:a16="http://schemas.microsoft.com/office/drawing/2014/main" xmlns="" val="3887258863"/>
                    </a:ext>
                  </a:extLst>
                </a:gridCol>
              </a:tblGrid>
              <a:tr h="269656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R</a:t>
                      </a:r>
                      <a:r>
                        <a:rPr lang="cs-CZ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ezervy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Century Gothic" panose="020B0502020202020204" pitchFamily="34" charset="0"/>
                        </a:rPr>
                        <a:t>Výroba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510915166"/>
                  </a:ext>
                </a:extLst>
              </a:tr>
              <a:tr h="269656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err="1">
                          <a:solidFill>
                            <a:schemeClr val="bg1"/>
                          </a:solidFill>
                        </a:rPr>
                        <a:t>Chrom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4BD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515909472"/>
                  </a:ext>
                </a:extLst>
              </a:tr>
              <a:tr h="269656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Uran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6C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90211019"/>
                  </a:ext>
                </a:extLst>
              </a:tr>
              <a:tr h="269656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2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Bar</a:t>
                      </a:r>
                      <a:r>
                        <a:rPr lang="cs-CZ" sz="1400" b="1" dirty="0"/>
                        <a:t>yt </a:t>
                      </a:r>
                      <a:endParaRPr lang="ru-RU" sz="1400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4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679516177"/>
                  </a:ext>
                </a:extLst>
              </a:tr>
              <a:tr h="269656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4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Rhenium</a:t>
                      </a:r>
                      <a:endParaRPr lang="ru-RU" sz="1400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7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45115464"/>
                  </a:ext>
                </a:extLst>
              </a:tr>
              <a:tr h="269656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Zin</a:t>
                      </a:r>
                      <a:r>
                        <a:rPr lang="cs-CZ" sz="1400" b="1" dirty="0">
                          <a:solidFill>
                            <a:schemeClr val="bg1"/>
                          </a:solidFill>
                        </a:rPr>
                        <a:t>ek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1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939811323"/>
                  </a:ext>
                </a:extLst>
              </a:tr>
              <a:tr h="269656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7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ovo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F7F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2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40877407"/>
                  </a:ext>
                </a:extLst>
              </a:tr>
              <a:tr h="269656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8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Mangan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4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949676879"/>
                  </a:ext>
                </a:extLst>
              </a:tr>
              <a:tr h="269656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9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Uhlí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8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71936730"/>
                  </a:ext>
                </a:extLst>
              </a:tr>
              <a:tr h="269656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9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err="1">
                          <a:solidFill>
                            <a:schemeClr val="bg1"/>
                          </a:solidFill>
                        </a:rPr>
                        <a:t>Bauxit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685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1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4278865642"/>
                  </a:ext>
                </a:extLst>
              </a:tr>
              <a:tr h="269656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1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ěd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0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74555028"/>
                  </a:ext>
                </a:extLst>
              </a:tr>
              <a:tr h="269656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1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Železná ruda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5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150852867"/>
                  </a:ext>
                </a:extLst>
              </a:tr>
              <a:tr h="269656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2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opa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1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194957115"/>
                  </a:ext>
                </a:extLst>
              </a:tr>
              <a:tr h="269656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3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lato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905732736"/>
                  </a:ext>
                </a:extLst>
              </a:tr>
              <a:tr h="269656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4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/>
                        <a:t>Zemní plyn</a:t>
                      </a:r>
                      <a:endParaRPr lang="ru-RU" sz="1400" b="1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17</a:t>
                      </a:r>
                      <a:endParaRPr lang="ru-RU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003020616"/>
                  </a:ext>
                </a:extLst>
              </a:tr>
            </a:tbl>
          </a:graphicData>
        </a:graphic>
      </p:graphicFrame>
      <p:sp>
        <p:nvSpPr>
          <p:cNvPr id="66" name="object 19"/>
          <p:cNvSpPr txBox="1"/>
          <p:nvPr/>
        </p:nvSpPr>
        <p:spPr>
          <a:xfrm>
            <a:off x="1180350" y="6163521"/>
            <a:ext cx="1819306" cy="360996"/>
          </a:xfrm>
          <a:prstGeom prst="rect">
            <a:avLst/>
          </a:prstGeom>
        </p:spPr>
        <p:txBody>
          <a:bodyPr vert="horz" wrap="square" lIns="0" tIns="247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5"/>
              </a:spcBef>
            </a:pPr>
            <a:r>
              <a:rPr lang="cs-CZ" sz="1050" b="1" spc="-50" dirty="0">
                <a:latin typeface="Tahoma"/>
                <a:cs typeface="Tahoma"/>
              </a:rPr>
              <a:t>Větrná energie</a:t>
            </a:r>
            <a:endParaRPr sz="105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50" dirty="0">
                <a:latin typeface="Verdana"/>
                <a:cs typeface="Verdana"/>
              </a:rPr>
              <a:t>1</a:t>
            </a:r>
            <a:r>
              <a:rPr sz="1050" spc="-50" dirty="0">
                <a:latin typeface="Verdana"/>
                <a:cs typeface="Verdana"/>
              </a:rPr>
              <a:t> </a:t>
            </a:r>
            <a:r>
              <a:rPr sz="1050" spc="-20" dirty="0">
                <a:latin typeface="Verdana"/>
                <a:cs typeface="Verdana"/>
              </a:rPr>
              <a:t>820</a:t>
            </a:r>
            <a:r>
              <a:rPr sz="1050" spc="15" dirty="0">
                <a:latin typeface="Verdana"/>
                <a:cs typeface="Verdana"/>
              </a:rPr>
              <a:t> </a:t>
            </a:r>
            <a:r>
              <a:rPr sz="1050" dirty="0" err="1">
                <a:latin typeface="Verdana"/>
                <a:cs typeface="Verdana"/>
              </a:rPr>
              <a:t>mln</a:t>
            </a:r>
            <a:r>
              <a:rPr sz="1050" spc="-50" dirty="0">
                <a:latin typeface="Verdana"/>
                <a:cs typeface="Verdana"/>
              </a:rPr>
              <a:t> </a:t>
            </a:r>
            <a:r>
              <a:rPr sz="1050" dirty="0">
                <a:latin typeface="Verdana"/>
                <a:cs typeface="Verdana"/>
              </a:rPr>
              <a:t>MWh</a:t>
            </a:r>
            <a:r>
              <a:rPr sz="1050" spc="-10" dirty="0">
                <a:latin typeface="Verdana"/>
                <a:cs typeface="Verdana"/>
              </a:rPr>
              <a:t> </a:t>
            </a:r>
            <a:r>
              <a:rPr sz="1050" spc="-20" dirty="0">
                <a:latin typeface="Verdana"/>
                <a:cs typeface="Verdana"/>
              </a:rPr>
              <a:t>/</a:t>
            </a:r>
            <a:r>
              <a:rPr sz="1050" spc="-55" dirty="0">
                <a:latin typeface="Verdana"/>
                <a:cs typeface="Verdana"/>
              </a:rPr>
              <a:t> </a:t>
            </a:r>
            <a:r>
              <a:rPr lang="cs-CZ" sz="1050" spc="-20" dirty="0">
                <a:latin typeface="Verdana"/>
                <a:cs typeface="Verdana"/>
              </a:rPr>
              <a:t>rok</a:t>
            </a:r>
            <a:endParaRPr sz="1050" dirty="0">
              <a:latin typeface="Verdana"/>
              <a:cs typeface="Verdana"/>
            </a:endParaRPr>
          </a:p>
        </p:txBody>
      </p:sp>
      <p:pic>
        <p:nvPicPr>
          <p:cNvPr id="67" name="object 20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667270" y="6087525"/>
            <a:ext cx="518159" cy="435864"/>
          </a:xfrm>
          <a:prstGeom prst="rect">
            <a:avLst/>
          </a:prstGeom>
        </p:spPr>
      </p:pic>
      <p:sp>
        <p:nvSpPr>
          <p:cNvPr id="69" name="object 21"/>
          <p:cNvSpPr txBox="1"/>
          <p:nvPr/>
        </p:nvSpPr>
        <p:spPr>
          <a:xfrm>
            <a:off x="4127149" y="6163521"/>
            <a:ext cx="1557028" cy="360996"/>
          </a:xfrm>
          <a:prstGeom prst="rect">
            <a:avLst/>
          </a:prstGeom>
        </p:spPr>
        <p:txBody>
          <a:bodyPr vert="horz" wrap="square" lIns="0" tIns="247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5"/>
              </a:spcBef>
            </a:pPr>
            <a:r>
              <a:rPr lang="cs-CZ" sz="1050" b="1" spc="-10" dirty="0">
                <a:latin typeface="Tahoma"/>
                <a:cs typeface="Tahoma"/>
              </a:rPr>
              <a:t>Vodní energie</a:t>
            </a:r>
            <a:endParaRPr sz="105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50" spc="-75" dirty="0">
                <a:latin typeface="Verdana"/>
                <a:cs typeface="Verdana"/>
              </a:rPr>
              <a:t>62</a:t>
            </a:r>
            <a:r>
              <a:rPr sz="1050" spc="-40" dirty="0">
                <a:latin typeface="Verdana"/>
                <a:cs typeface="Verdana"/>
              </a:rPr>
              <a:t> </a:t>
            </a:r>
            <a:r>
              <a:rPr sz="1050" spc="-10" dirty="0" err="1">
                <a:latin typeface="Verdana"/>
                <a:cs typeface="Verdana"/>
              </a:rPr>
              <a:t>mln</a:t>
            </a:r>
            <a:r>
              <a:rPr sz="1050" spc="-30" dirty="0">
                <a:latin typeface="Verdana"/>
                <a:cs typeface="Verdana"/>
              </a:rPr>
              <a:t> </a:t>
            </a:r>
            <a:r>
              <a:rPr sz="1050" dirty="0">
                <a:latin typeface="Verdana"/>
                <a:cs typeface="Verdana"/>
              </a:rPr>
              <a:t>MWh</a:t>
            </a:r>
            <a:r>
              <a:rPr sz="1050" spc="20" dirty="0">
                <a:latin typeface="Verdana"/>
                <a:cs typeface="Verdana"/>
              </a:rPr>
              <a:t> </a:t>
            </a:r>
            <a:r>
              <a:rPr sz="1050" spc="-20" dirty="0">
                <a:latin typeface="Verdana"/>
                <a:cs typeface="Verdana"/>
              </a:rPr>
              <a:t>/</a:t>
            </a:r>
            <a:r>
              <a:rPr sz="1050" spc="-40" dirty="0">
                <a:latin typeface="Verdana"/>
                <a:cs typeface="Verdana"/>
              </a:rPr>
              <a:t> </a:t>
            </a:r>
            <a:r>
              <a:rPr lang="cs-CZ" sz="1050" spc="-20" dirty="0">
                <a:latin typeface="Verdana"/>
                <a:cs typeface="Verdana"/>
              </a:rPr>
              <a:t>rok</a:t>
            </a:r>
            <a:endParaRPr sz="1050" dirty="0">
              <a:latin typeface="Verdana"/>
              <a:cs typeface="Verdana"/>
            </a:endParaRPr>
          </a:p>
        </p:txBody>
      </p:sp>
      <p:pic>
        <p:nvPicPr>
          <p:cNvPr id="77" name="object 23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564635" y="6087525"/>
            <a:ext cx="518160" cy="435864"/>
          </a:xfrm>
          <a:prstGeom prst="rect">
            <a:avLst/>
          </a:prstGeom>
        </p:spPr>
      </p:pic>
      <p:pic>
        <p:nvPicPr>
          <p:cNvPr id="78" name="object 24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6206409" y="6104254"/>
            <a:ext cx="518160" cy="435864"/>
          </a:xfrm>
          <a:prstGeom prst="rect">
            <a:avLst/>
          </a:prstGeom>
        </p:spPr>
      </p:pic>
      <p:pic>
        <p:nvPicPr>
          <p:cNvPr id="82" name="object 25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914248" y="6087525"/>
            <a:ext cx="518159" cy="435864"/>
          </a:xfrm>
          <a:prstGeom prst="rect">
            <a:avLst/>
          </a:prstGeom>
        </p:spPr>
      </p:pic>
      <p:sp>
        <p:nvSpPr>
          <p:cNvPr id="83" name="object 29"/>
          <p:cNvSpPr txBox="1"/>
          <p:nvPr/>
        </p:nvSpPr>
        <p:spPr>
          <a:xfrm>
            <a:off x="6811670" y="6163521"/>
            <a:ext cx="1584430" cy="360996"/>
          </a:xfrm>
          <a:prstGeom prst="rect">
            <a:avLst/>
          </a:prstGeom>
        </p:spPr>
        <p:txBody>
          <a:bodyPr vert="horz" wrap="square" lIns="0" tIns="247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5"/>
              </a:spcBef>
            </a:pPr>
            <a:r>
              <a:rPr lang="cs-CZ" sz="1050" b="1" spc="-40" dirty="0">
                <a:latin typeface="Tahoma"/>
                <a:cs typeface="Tahoma"/>
              </a:rPr>
              <a:t>Solární energie</a:t>
            </a:r>
            <a:endParaRPr sz="105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50" spc="-85" dirty="0">
                <a:latin typeface="Verdana"/>
                <a:cs typeface="Verdana"/>
              </a:rPr>
              <a:t>2.5</a:t>
            </a:r>
            <a:r>
              <a:rPr sz="1050" spc="-110" dirty="0">
                <a:latin typeface="Verdana"/>
                <a:cs typeface="Verdana"/>
              </a:rPr>
              <a:t> </a:t>
            </a:r>
            <a:r>
              <a:rPr sz="1050" spc="-10" dirty="0" err="1">
                <a:latin typeface="Verdana"/>
                <a:cs typeface="Verdana"/>
              </a:rPr>
              <a:t>mln</a:t>
            </a:r>
            <a:r>
              <a:rPr sz="1050" spc="-30" dirty="0">
                <a:latin typeface="Verdana"/>
                <a:cs typeface="Verdana"/>
              </a:rPr>
              <a:t> </a:t>
            </a:r>
            <a:r>
              <a:rPr sz="1050" dirty="0">
                <a:latin typeface="Verdana"/>
                <a:cs typeface="Verdana"/>
              </a:rPr>
              <a:t>MWh</a:t>
            </a:r>
            <a:r>
              <a:rPr sz="1050" spc="45" dirty="0">
                <a:latin typeface="Verdana"/>
                <a:cs typeface="Verdana"/>
              </a:rPr>
              <a:t> </a:t>
            </a:r>
            <a:r>
              <a:rPr sz="1050" spc="-20" dirty="0">
                <a:latin typeface="Verdana"/>
                <a:cs typeface="Verdana"/>
              </a:rPr>
              <a:t>/</a:t>
            </a:r>
            <a:r>
              <a:rPr sz="1050" spc="-40" dirty="0">
                <a:latin typeface="Verdana"/>
                <a:cs typeface="Verdana"/>
              </a:rPr>
              <a:t> </a:t>
            </a:r>
            <a:r>
              <a:rPr lang="cs-CZ" sz="1050" spc="-20" dirty="0">
                <a:latin typeface="Verdana"/>
                <a:cs typeface="Verdana"/>
              </a:rPr>
              <a:t>rok</a:t>
            </a:r>
            <a:endParaRPr sz="1050" dirty="0">
              <a:latin typeface="Verdana"/>
              <a:cs typeface="Verdana"/>
            </a:endParaRPr>
          </a:p>
        </p:txBody>
      </p:sp>
      <p:sp>
        <p:nvSpPr>
          <p:cNvPr id="84" name="object 30"/>
          <p:cNvSpPr txBox="1"/>
          <p:nvPr/>
        </p:nvSpPr>
        <p:spPr>
          <a:xfrm>
            <a:off x="9523594" y="6163521"/>
            <a:ext cx="1468950" cy="360996"/>
          </a:xfrm>
          <a:prstGeom prst="rect">
            <a:avLst/>
          </a:prstGeom>
        </p:spPr>
        <p:txBody>
          <a:bodyPr vert="horz" wrap="square" lIns="0" tIns="247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95"/>
              </a:spcBef>
            </a:pPr>
            <a:r>
              <a:rPr lang="cs-CZ" sz="1050" b="1" spc="-25" dirty="0">
                <a:latin typeface="Tahoma"/>
                <a:cs typeface="Tahoma"/>
              </a:rPr>
              <a:t>Geotermální energie</a:t>
            </a:r>
            <a:endParaRPr sz="105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050" spc="-70" dirty="0">
                <a:latin typeface="Verdana"/>
                <a:cs typeface="Verdana"/>
              </a:rPr>
              <a:t>4.3</a:t>
            </a:r>
            <a:r>
              <a:rPr sz="1050" spc="-10" dirty="0">
                <a:latin typeface="Verdana"/>
                <a:cs typeface="Verdana"/>
              </a:rPr>
              <a:t> </a:t>
            </a:r>
            <a:r>
              <a:rPr sz="1050" spc="25" dirty="0">
                <a:latin typeface="Verdana"/>
                <a:cs typeface="Verdana"/>
              </a:rPr>
              <a:t>GW </a:t>
            </a:r>
            <a:endParaRPr sz="1050" dirty="0"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410186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Rectangle 28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20524" y="3489683"/>
            <a:ext cx="2883188" cy="147494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29" name="Номер слайда 6"/>
          <p:cNvSpPr txBox="1">
            <a:spLocks/>
          </p:cNvSpPr>
          <p:nvPr/>
        </p:nvSpPr>
        <p:spPr>
          <a:xfrm>
            <a:off x="9448800" y="65471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ABC0DC2-9AC7-4AF2-ABC3-679863367095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>
                <a:defRPr/>
              </a:pPr>
              <a:t>8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8446239" y="3004394"/>
            <a:ext cx="3683223" cy="871556"/>
          </a:xfrm>
          <a:prstGeom prst="roundRect">
            <a:avLst/>
          </a:prstGeom>
          <a:pattFill prst="ltDnDiag">
            <a:fgClr>
              <a:srgbClr val="F9C61B">
                <a:lumMod val="40000"/>
                <a:lumOff val="6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rgbClr val="FBDD76"/>
            </a:outerShdw>
          </a:effectLst>
        </p:spPr>
        <p:txBody>
          <a:bodyPr anchor="ctr"/>
          <a:lstStyle/>
          <a:p>
            <a:pPr algn="ctr"/>
            <a:endParaRPr lang="ru-RU" sz="1100"/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8249950" y="1768047"/>
            <a:ext cx="3879512" cy="780671"/>
          </a:xfrm>
          <a:prstGeom prst="roundRect">
            <a:avLst/>
          </a:prstGeom>
          <a:pattFill prst="ltDnDiag">
            <a:fgClr>
              <a:srgbClr val="F9C61B">
                <a:lumMod val="40000"/>
                <a:lumOff val="6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rgbClr val="FBDD76"/>
            </a:outerShdw>
          </a:effectLst>
        </p:spPr>
        <p:txBody>
          <a:bodyPr anchor="ctr"/>
          <a:lstStyle/>
          <a:p>
            <a:pPr algn="ctr"/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8579225" y="4361255"/>
            <a:ext cx="3550237" cy="907941"/>
          </a:xfrm>
          <a:prstGeom prst="roundRect">
            <a:avLst/>
          </a:prstGeom>
          <a:pattFill prst="ltDnDiag">
            <a:fgClr>
              <a:srgbClr val="F9C61B">
                <a:lumMod val="40000"/>
                <a:lumOff val="6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rgbClr val="FBDD76"/>
            </a:outerShdw>
          </a:effectLst>
        </p:spPr>
        <p:txBody>
          <a:bodyPr anchor="ctr"/>
          <a:lstStyle/>
          <a:p>
            <a:pPr algn="ctr"/>
            <a:endParaRPr lang="ru-RU" sz="1100"/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8239913" y="5724872"/>
            <a:ext cx="3889550" cy="907941"/>
          </a:xfrm>
          <a:prstGeom prst="roundRect">
            <a:avLst/>
          </a:prstGeom>
          <a:pattFill prst="ltDnDiag">
            <a:fgClr>
              <a:srgbClr val="F9C61B">
                <a:lumMod val="40000"/>
                <a:lumOff val="6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rgbClr val="FBDD76"/>
            </a:outerShdw>
          </a:effectLst>
        </p:spPr>
        <p:txBody>
          <a:bodyPr anchor="ctr"/>
          <a:lstStyle/>
          <a:p>
            <a:pPr algn="ctr"/>
            <a:endParaRPr lang="ru-RU" sz="1100"/>
          </a:p>
        </p:txBody>
      </p:sp>
      <p:graphicFrame>
        <p:nvGraphicFramePr>
          <p:cNvPr id="38" name="Схема 37"/>
          <p:cNvGraphicFramePr/>
          <p:nvPr>
            <p:extLst>
              <p:ext uri="{D42A27DB-BD31-4B8C-83A1-F6EECF244321}">
                <p14:modId xmlns:p14="http://schemas.microsoft.com/office/powerpoint/2010/main" xmlns="" val="2088340100"/>
              </p:ext>
            </p:extLst>
          </p:nvPr>
        </p:nvGraphicFramePr>
        <p:xfrm>
          <a:off x="7544545" y="1256460"/>
          <a:ext cx="4074937" cy="56289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BE1A8F02-A4BB-4714-A11E-13E9E01931CD}"/>
              </a:ext>
            </a:extLst>
          </p:cNvPr>
          <p:cNvSpPr/>
          <p:nvPr/>
        </p:nvSpPr>
        <p:spPr>
          <a:xfrm>
            <a:off x="7667508" y="1107004"/>
            <a:ext cx="4548826" cy="325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4607" algn="ctr" defTabSz="1100639" hangingPunct="0">
              <a:lnSpc>
                <a:spcPct val="120000"/>
              </a:lnSpc>
              <a:spcBef>
                <a:spcPts val="553"/>
              </a:spcBef>
              <a:spcAft>
                <a:spcPts val="1600"/>
              </a:spcAft>
              <a:tabLst>
                <a:tab pos="322458" algn="l"/>
                <a:tab pos="323034" algn="l"/>
              </a:tabLst>
              <a:defRPr/>
            </a:pPr>
            <a:r>
              <a:rPr lang="cs-CZ" sz="1400" b="1" kern="0" dirty="0">
                <a:solidFill>
                  <a:srgbClr val="1F5FA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</a:rPr>
              <a:t>ROZVOJ AGROPRŮMYSLOVÉHO KOMPLEXU</a:t>
            </a:r>
            <a:endParaRPr lang="ru-RU" sz="1400" b="1" kern="0" dirty="0">
              <a:solidFill>
                <a:srgbClr val="1F5FA0"/>
              </a:solidFill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647336" y="2028925"/>
            <a:ext cx="9012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kol</a:t>
            </a:r>
            <a:r>
              <a:rPr lang="en-US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1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7986326" y="3265870"/>
            <a:ext cx="9562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kol</a:t>
            </a:r>
            <a:r>
              <a:rPr lang="ru-RU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</a:t>
            </a:r>
            <a:endParaRPr lang="en-US" b="1" dirty="0">
              <a:solidFill>
                <a:srgbClr val="00B0F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8138721" y="4611072"/>
            <a:ext cx="8978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kol</a:t>
            </a:r>
            <a:r>
              <a:rPr lang="ru-RU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3</a:t>
            </a:r>
            <a:endParaRPr lang="en-US" b="1" dirty="0">
              <a:solidFill>
                <a:srgbClr val="00B0F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586927" y="5999791"/>
            <a:ext cx="8775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kol</a:t>
            </a:r>
            <a:r>
              <a:rPr lang="en-US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4</a:t>
            </a:r>
            <a:endParaRPr lang="en-US" b="1" dirty="0">
              <a:solidFill>
                <a:srgbClr val="00B0F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8861133" y="2044398"/>
            <a:ext cx="321991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cs-CZ" sz="1400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Zvýšení produktivity 2,5krát</a:t>
            </a:r>
            <a:endParaRPr lang="ru-RU" sz="1400" b="1" dirty="0">
              <a:solidFill>
                <a:srgbClr val="00B0F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9147936" y="3174467"/>
            <a:ext cx="298152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cs-CZ" sz="1400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Zajištění základních potravin z domácí produkce</a:t>
            </a:r>
            <a:endParaRPr lang="en-US" sz="1400" b="1" dirty="0">
              <a:solidFill>
                <a:srgbClr val="00B0F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3246" y="4423452"/>
            <a:ext cx="293448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cs-CZ" sz="1400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Zvýšení vývozu na dvojnásobek a zvýšení podílu zpracovaných výrobků na 70</a:t>
            </a:r>
            <a:r>
              <a:rPr lang="ru-RU" sz="1400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%</a:t>
            </a:r>
            <a:endParaRPr lang="en-US" sz="1400" b="1" dirty="0">
              <a:solidFill>
                <a:srgbClr val="00B0F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8689032" y="5855520"/>
            <a:ext cx="33092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cs-CZ" sz="1400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ozvoj zavlažovacího systému pro efektivní využívání vody </a:t>
            </a:r>
            <a:endParaRPr lang="en-US" sz="1400" b="1" dirty="0">
              <a:solidFill>
                <a:srgbClr val="00B0F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Номер слайда 6"/>
          <p:cNvSpPr txBox="1">
            <a:spLocks/>
          </p:cNvSpPr>
          <p:nvPr/>
        </p:nvSpPr>
        <p:spPr>
          <a:xfrm>
            <a:off x="9601200" y="66995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ABC0DC2-9AC7-4AF2-ABC3-679863367095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</a:rPr>
              <a:pPr>
                <a:defRPr/>
              </a:pPr>
              <a:t>8</a:t>
            </a:fld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xmlns="" id="{D742657C-030D-4679-8F25-D351127F3F62}"/>
              </a:ext>
            </a:extLst>
          </p:cNvPr>
          <p:cNvSpPr/>
          <p:nvPr/>
        </p:nvSpPr>
        <p:spPr>
          <a:xfrm>
            <a:off x="-6" y="-8"/>
            <a:ext cx="6600061" cy="6240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  <a:defRPr/>
            </a:pPr>
            <a:r>
              <a:rPr lang="cs-CZ" altLang="ru-RU" sz="2400" b="1" noProof="0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  <a:sym typeface="Futura"/>
              </a:rPr>
              <a:t>DŮVOD 2</a:t>
            </a:r>
            <a:r>
              <a:rPr lang="ru-RU" altLang="ru-RU" sz="2400" b="1" noProof="0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  <a:sym typeface="Futura"/>
              </a:rPr>
              <a:t>: </a:t>
            </a:r>
            <a:r>
              <a:rPr lang="cs-CZ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BOHATÉ PŘÍRODNÍ ZDROJE</a:t>
            </a:r>
            <a:endParaRPr lang="ru-RU" sz="2400" b="1" dirty="0">
              <a:solidFill>
                <a:schemeClr val="bg1"/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  <p:sp>
        <p:nvSpPr>
          <p:cNvPr id="57" name="Rectangle 350"/>
          <p:cNvSpPr>
            <a:spLocks/>
          </p:cNvSpPr>
          <p:nvPr/>
        </p:nvSpPr>
        <p:spPr bwMode="gray">
          <a:xfrm>
            <a:off x="601804" y="1513151"/>
            <a:ext cx="6090586" cy="41563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58" name="Rectangle 28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20523" y="863439"/>
            <a:ext cx="6071867" cy="656781"/>
          </a:xfrm>
          <a:prstGeom prst="roundRect">
            <a:avLst>
              <a:gd name="adj" fmla="val 0"/>
            </a:avLst>
          </a:prstGeom>
          <a:pattFill prst="ltDnDiag">
            <a:fgClr>
              <a:srgbClr val="F9C61B">
                <a:lumMod val="40000"/>
                <a:lumOff val="6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200" lvl="1" indent="0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59" name="Rectangle 351"/>
          <p:cNvSpPr>
            <a:spLocks/>
          </p:cNvSpPr>
          <p:nvPr/>
        </p:nvSpPr>
        <p:spPr bwMode="gray">
          <a:xfrm>
            <a:off x="620523" y="863363"/>
            <a:ext cx="6071867" cy="58137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5738C48A-B59A-435B-9F0D-FA19C2C9DBA4}"/>
              </a:ext>
            </a:extLst>
          </p:cNvPr>
          <p:cNvSpPr txBox="1"/>
          <p:nvPr/>
        </p:nvSpPr>
        <p:spPr>
          <a:xfrm>
            <a:off x="620523" y="975519"/>
            <a:ext cx="608304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100639" hangingPunct="0">
              <a:spcAft>
                <a:spcPts val="1600"/>
              </a:spcAft>
              <a:defRPr/>
            </a:pPr>
            <a:r>
              <a:rPr lang="cs-CZ" sz="2400" b="1" kern="0" dirty="0">
                <a:solidFill>
                  <a:srgbClr val="1F5FA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  <a:sym typeface="Helvetica Neue Medium"/>
              </a:rPr>
              <a:t>AGROPODNIKÁNÍ</a:t>
            </a:r>
            <a:endParaRPr lang="ru-RU" sz="2400" b="1" kern="0" dirty="0">
              <a:solidFill>
                <a:srgbClr val="1F5FA0"/>
              </a:solidFill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  <a:sym typeface="Helvetica Neue Medium"/>
            </a:endParaRPr>
          </a:p>
        </p:txBody>
      </p:sp>
      <p:sp>
        <p:nvSpPr>
          <p:cNvPr id="82" name="Rectangle 28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20524" y="1790925"/>
            <a:ext cx="2883188" cy="147494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52" name="TextBox 51"/>
          <p:cNvSpPr txBox="1"/>
          <p:nvPr/>
        </p:nvSpPr>
        <p:spPr>
          <a:xfrm>
            <a:off x="753247" y="1914227"/>
            <a:ext cx="2557148" cy="11900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en-US" sz="40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220M </a:t>
            </a:r>
          </a:p>
          <a:p>
            <a:pPr algn="ctr">
              <a:spcAft>
                <a:spcPts val="400"/>
              </a:spcAft>
            </a:pPr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ha </a:t>
            </a:r>
            <a:r>
              <a:rPr lang="cs-CZ" sz="14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zemědělské půdy, včetně </a:t>
            </a:r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180M</a:t>
            </a:r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ha </a:t>
            </a:r>
            <a:r>
              <a:rPr lang="cs-CZ" sz="14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pastvin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590034" y="3666408"/>
            <a:ext cx="2913677" cy="124136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>
              <a:spcAft>
                <a:spcPts val="800"/>
              </a:spcAft>
            </a:pPr>
            <a:r>
              <a:rPr lang="cs-CZ" sz="20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PŘÍSTUP NA HLAVNÍ GLOBÁLNÍ TRHY</a:t>
            </a:r>
            <a:endParaRPr lang="en-US" sz="20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algn="ctr">
              <a:spcAft>
                <a:spcPts val="400"/>
              </a:spcAft>
            </a:pPr>
            <a:r>
              <a:rPr lang="cs-CZ" sz="14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Čína, SNS, Střední východ a jižní Asie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90" name="Rectangle 28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20376" y="1790925"/>
            <a:ext cx="2883188" cy="147494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92" name="Rectangle 286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820376" y="3489683"/>
            <a:ext cx="2883188" cy="147494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93" name="Rectangle 28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20524" y="5176179"/>
            <a:ext cx="2883188" cy="147494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94" name="Rectangle 28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820376" y="5176179"/>
            <a:ext cx="2883188" cy="147494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62" name="TextBox 61"/>
          <p:cNvSpPr txBox="1"/>
          <p:nvPr/>
        </p:nvSpPr>
        <p:spPr>
          <a:xfrm>
            <a:off x="620523" y="5322326"/>
            <a:ext cx="288318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en-US" sz="40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32</a:t>
            </a:r>
            <a: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/>
            </a:r>
            <a:br>
              <a:rPr lang="en-US" sz="14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</a:br>
            <a:r>
              <a:rPr lang="cs-CZ" sz="14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místo v </a:t>
            </a:r>
            <a:r>
              <a:rPr lang="en-US" sz="14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Global Food Security Index 2022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816188" y="1913740"/>
            <a:ext cx="2887376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en-US" sz="40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6   </a:t>
            </a:r>
            <a:br>
              <a:rPr lang="en-US" sz="40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</a:br>
            <a:r>
              <a:rPr lang="cs-CZ" sz="14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místo na světě podle rozlohy zemědělské půdy </a:t>
            </a:r>
            <a:r>
              <a:rPr lang="en-US" sz="1200" i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(FAO)</a:t>
            </a:r>
            <a:endParaRPr lang="ru-RU" sz="1200" i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3778713" y="3666408"/>
            <a:ext cx="2913677" cy="119006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>
              <a:spcAft>
                <a:spcPts val="400"/>
              </a:spcAft>
            </a:pPr>
            <a:r>
              <a:rPr lang="cs-CZ" sz="20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PLNÁ VLÁDNÍ PODPORA</a:t>
            </a:r>
            <a:endParaRPr lang="en-US" sz="20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algn="ctr">
              <a:spcAft>
                <a:spcPts val="800"/>
              </a:spcAft>
            </a:pPr>
            <a:r>
              <a:rPr lang="cs-CZ" sz="14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Pobídky, příznivé podnikatelské prostředí, ochrana</a:t>
            </a:r>
            <a:endParaRPr lang="en-US" sz="1400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3778713" y="5398121"/>
            <a:ext cx="2913677" cy="11798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>
              <a:spcAft>
                <a:spcPts val="800"/>
              </a:spcAft>
            </a:pPr>
            <a:r>
              <a:rPr lang="cs-CZ" sz="2000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PRACOVNÍ SÍLA</a:t>
            </a:r>
            <a:endParaRPr lang="en-US" sz="2000" b="1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algn="ctr">
              <a:spcAft>
                <a:spcPts val="800"/>
              </a:spcAft>
            </a:pPr>
            <a:r>
              <a:rPr lang="en-US" sz="16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1/3 </a:t>
            </a:r>
            <a:r>
              <a:rPr lang="cs-CZ" sz="1400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</a:rPr>
              <a:t>obyvatel je zaměstnána v zemědělství a potravinářské výrobě</a:t>
            </a:r>
            <a:endParaRPr lang="en-US" sz="1400" dirty="0">
              <a:solidFill>
                <a:schemeClr val="accent1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51" name="Group 100"/>
          <p:cNvGrpSpPr/>
          <p:nvPr/>
        </p:nvGrpSpPr>
        <p:grpSpPr>
          <a:xfrm>
            <a:off x="3590286" y="2367754"/>
            <a:ext cx="113621" cy="356012"/>
            <a:chOff x="4472736" y="804197"/>
            <a:chExt cx="162764" cy="1391121"/>
          </a:xfrm>
        </p:grpSpPr>
        <p:cxnSp>
          <p:nvCxnSpPr>
            <p:cNvPr id="53" name="Straight Connector 101">
              <a:extLst>
                <a:ext uri="{FF2B5EF4-FFF2-40B4-BE49-F238E27FC236}">
                  <a16:creationId xmlns:a16="http://schemas.microsoft.com/office/drawing/2014/main" xmlns="" id="{BF0FC459-410E-4096-9149-7AB9935F09A9}"/>
                </a:ext>
              </a:extLst>
            </p:cNvPr>
            <p:cNvCxnSpPr>
              <a:cxnSpLocks/>
            </p:cNvCxnSpPr>
            <p:nvPr/>
          </p:nvCxnSpPr>
          <p:spPr>
            <a:xfrm>
              <a:off x="4553219" y="804197"/>
              <a:ext cx="0" cy="1391121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102">
              <a:extLst>
                <a:ext uri="{FF2B5EF4-FFF2-40B4-BE49-F238E27FC236}">
                  <a16:creationId xmlns:a16="http://schemas.microsoft.com/office/drawing/2014/main" xmlns="" id="{E88BB701-86D8-40B9-9F0C-E472613D3675}"/>
                </a:ext>
              </a:extLst>
            </p:cNvPr>
            <p:cNvCxnSpPr>
              <a:cxnSpLocks/>
            </p:cNvCxnSpPr>
            <p:nvPr/>
          </p:nvCxnSpPr>
          <p:spPr>
            <a:xfrm>
              <a:off x="4635500" y="973649"/>
              <a:ext cx="0" cy="1034122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103">
              <a:extLst>
                <a:ext uri="{FF2B5EF4-FFF2-40B4-BE49-F238E27FC236}">
                  <a16:creationId xmlns:a16="http://schemas.microsoft.com/office/drawing/2014/main" xmlns="" id="{E88BB701-86D8-40B9-9F0C-E472613D3675}"/>
                </a:ext>
              </a:extLst>
            </p:cNvPr>
            <p:cNvCxnSpPr>
              <a:cxnSpLocks/>
            </p:cNvCxnSpPr>
            <p:nvPr/>
          </p:nvCxnSpPr>
          <p:spPr>
            <a:xfrm>
              <a:off x="4472736" y="973649"/>
              <a:ext cx="0" cy="1034122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Group 100"/>
          <p:cNvGrpSpPr/>
          <p:nvPr/>
        </p:nvGrpSpPr>
        <p:grpSpPr>
          <a:xfrm>
            <a:off x="3590286" y="4109084"/>
            <a:ext cx="113621" cy="356012"/>
            <a:chOff x="4472736" y="804197"/>
            <a:chExt cx="162764" cy="1391121"/>
          </a:xfrm>
        </p:grpSpPr>
        <p:cxnSp>
          <p:nvCxnSpPr>
            <p:cNvPr id="63" name="Straight Connector 101">
              <a:extLst>
                <a:ext uri="{FF2B5EF4-FFF2-40B4-BE49-F238E27FC236}">
                  <a16:creationId xmlns:a16="http://schemas.microsoft.com/office/drawing/2014/main" xmlns="" id="{BF0FC459-410E-4096-9149-7AB9935F09A9}"/>
                </a:ext>
              </a:extLst>
            </p:cNvPr>
            <p:cNvCxnSpPr>
              <a:cxnSpLocks/>
            </p:cNvCxnSpPr>
            <p:nvPr/>
          </p:nvCxnSpPr>
          <p:spPr>
            <a:xfrm>
              <a:off x="4553219" y="804197"/>
              <a:ext cx="0" cy="1391121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102">
              <a:extLst>
                <a:ext uri="{FF2B5EF4-FFF2-40B4-BE49-F238E27FC236}">
                  <a16:creationId xmlns:a16="http://schemas.microsoft.com/office/drawing/2014/main" xmlns="" id="{E88BB701-86D8-40B9-9F0C-E472613D3675}"/>
                </a:ext>
              </a:extLst>
            </p:cNvPr>
            <p:cNvCxnSpPr>
              <a:cxnSpLocks/>
            </p:cNvCxnSpPr>
            <p:nvPr/>
          </p:nvCxnSpPr>
          <p:spPr>
            <a:xfrm>
              <a:off x="4635500" y="973649"/>
              <a:ext cx="0" cy="1034122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103">
              <a:extLst>
                <a:ext uri="{FF2B5EF4-FFF2-40B4-BE49-F238E27FC236}">
                  <a16:creationId xmlns:a16="http://schemas.microsoft.com/office/drawing/2014/main" xmlns="" id="{E88BB701-86D8-40B9-9F0C-E472613D3675}"/>
                </a:ext>
              </a:extLst>
            </p:cNvPr>
            <p:cNvCxnSpPr>
              <a:cxnSpLocks/>
            </p:cNvCxnSpPr>
            <p:nvPr/>
          </p:nvCxnSpPr>
          <p:spPr>
            <a:xfrm>
              <a:off x="4472736" y="973649"/>
              <a:ext cx="0" cy="1034122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oup 100"/>
          <p:cNvGrpSpPr/>
          <p:nvPr/>
        </p:nvGrpSpPr>
        <p:grpSpPr>
          <a:xfrm>
            <a:off x="3590286" y="5794631"/>
            <a:ext cx="113621" cy="356012"/>
            <a:chOff x="4472736" y="804197"/>
            <a:chExt cx="162764" cy="1391121"/>
          </a:xfrm>
        </p:grpSpPr>
        <p:cxnSp>
          <p:nvCxnSpPr>
            <p:cNvPr id="67" name="Straight Connector 101">
              <a:extLst>
                <a:ext uri="{FF2B5EF4-FFF2-40B4-BE49-F238E27FC236}">
                  <a16:creationId xmlns:a16="http://schemas.microsoft.com/office/drawing/2014/main" xmlns="" id="{BF0FC459-410E-4096-9149-7AB9935F09A9}"/>
                </a:ext>
              </a:extLst>
            </p:cNvPr>
            <p:cNvCxnSpPr>
              <a:cxnSpLocks/>
            </p:cNvCxnSpPr>
            <p:nvPr/>
          </p:nvCxnSpPr>
          <p:spPr>
            <a:xfrm>
              <a:off x="4553219" y="804197"/>
              <a:ext cx="0" cy="1391121"/>
            </a:xfrm>
            <a:prstGeom prst="line">
              <a:avLst/>
            </a:prstGeom>
            <a:ln w="28575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102">
              <a:extLst>
                <a:ext uri="{FF2B5EF4-FFF2-40B4-BE49-F238E27FC236}">
                  <a16:creationId xmlns:a16="http://schemas.microsoft.com/office/drawing/2014/main" xmlns="" id="{E88BB701-86D8-40B9-9F0C-E472613D3675}"/>
                </a:ext>
              </a:extLst>
            </p:cNvPr>
            <p:cNvCxnSpPr>
              <a:cxnSpLocks/>
            </p:cNvCxnSpPr>
            <p:nvPr/>
          </p:nvCxnSpPr>
          <p:spPr>
            <a:xfrm>
              <a:off x="4635500" y="973649"/>
              <a:ext cx="0" cy="1034122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103">
              <a:extLst>
                <a:ext uri="{FF2B5EF4-FFF2-40B4-BE49-F238E27FC236}">
                  <a16:creationId xmlns:a16="http://schemas.microsoft.com/office/drawing/2014/main" xmlns="" id="{E88BB701-86D8-40B9-9F0C-E472613D3675}"/>
                </a:ext>
              </a:extLst>
            </p:cNvPr>
            <p:cNvCxnSpPr>
              <a:cxnSpLocks/>
            </p:cNvCxnSpPr>
            <p:nvPr/>
          </p:nvCxnSpPr>
          <p:spPr>
            <a:xfrm>
              <a:off x="4472736" y="973649"/>
              <a:ext cx="0" cy="1034122"/>
            </a:xfrm>
            <a:prstGeom prst="line">
              <a:avLst/>
            </a:prstGeom>
            <a:ln w="28575">
              <a:solidFill>
                <a:srgbClr val="FBDD7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xmlns="" val="40010241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Прямая соединительная линия 17"/>
          <p:cNvCxnSpPr/>
          <p:nvPr/>
        </p:nvCxnSpPr>
        <p:spPr>
          <a:xfrm>
            <a:off x="1771317" y="1954602"/>
            <a:ext cx="3964643" cy="0"/>
          </a:xfrm>
          <a:prstGeom prst="line">
            <a:avLst/>
          </a:prstGeom>
          <a:ln w="19050">
            <a:solidFill>
              <a:srgbClr val="558E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1754692" y="2916237"/>
            <a:ext cx="3964643" cy="0"/>
          </a:xfrm>
          <a:prstGeom prst="line">
            <a:avLst/>
          </a:prstGeom>
          <a:ln w="19050">
            <a:solidFill>
              <a:srgbClr val="558E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1771317" y="3874678"/>
            <a:ext cx="3964643" cy="0"/>
          </a:xfrm>
          <a:prstGeom prst="line">
            <a:avLst/>
          </a:prstGeom>
          <a:ln w="19050">
            <a:solidFill>
              <a:srgbClr val="558E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/>
          <p:cNvCxnSpPr/>
          <p:nvPr/>
        </p:nvCxnSpPr>
        <p:spPr>
          <a:xfrm>
            <a:off x="1771317" y="4754091"/>
            <a:ext cx="3964643" cy="0"/>
          </a:xfrm>
          <a:prstGeom prst="line">
            <a:avLst/>
          </a:prstGeom>
          <a:ln w="19050">
            <a:solidFill>
              <a:srgbClr val="558E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/>
          <p:nvPr/>
        </p:nvCxnSpPr>
        <p:spPr>
          <a:xfrm>
            <a:off x="1771317" y="5733255"/>
            <a:ext cx="3964643" cy="0"/>
          </a:xfrm>
          <a:prstGeom prst="line">
            <a:avLst/>
          </a:prstGeom>
          <a:ln w="19050">
            <a:solidFill>
              <a:srgbClr val="558ED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28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939112" y="1128600"/>
            <a:ext cx="3661134" cy="471928"/>
          </a:xfrm>
          <a:prstGeom prst="roundRect">
            <a:avLst>
              <a:gd name="adj" fmla="val 0"/>
            </a:avLst>
          </a:prstGeom>
          <a:pattFill prst="ltDnDiag">
            <a:fgClr>
              <a:srgbClr val="F9C61B">
                <a:lumMod val="40000"/>
                <a:lumOff val="60000"/>
              </a:srgbClr>
            </a:fgClr>
            <a:bgClr>
              <a:srgbClr val="FFFFFF"/>
            </a:bgClr>
          </a:patt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200" lvl="1" indent="0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79" name="Овал 78"/>
          <p:cNvSpPr/>
          <p:nvPr/>
        </p:nvSpPr>
        <p:spPr>
          <a:xfrm>
            <a:off x="6511301" y="4475272"/>
            <a:ext cx="1144412" cy="96995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Rectangle 28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914689" y="1662578"/>
            <a:ext cx="3661134" cy="10671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41" name="Rectangle 28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18037" y="836712"/>
            <a:ext cx="1828037" cy="5904656"/>
          </a:xfrm>
          <a:prstGeom prst="roundRect">
            <a:avLst>
              <a:gd name="adj" fmla="val 0"/>
            </a:avLst>
          </a:prstGeom>
          <a:solidFill>
            <a:schemeClr val="tx2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>
            <a:outerShdw blurRad="50800" dist="38100" dir="5400000" algn="t" rotWithShape="0">
              <a:schemeClr val="tx2">
                <a:lumMod val="60000"/>
                <a:lumOff val="40000"/>
                <a:alpha val="40000"/>
              </a:schemeClr>
            </a:outerShdw>
          </a:effectLst>
        </p:spPr>
        <p:txBody>
          <a:bodyPr anchor="ctr"/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marL="457200" lvl="1" indent="0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srgbClr val="FFFFFF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79FD5FF1-8D58-41AC-A8C3-27353A525A29}"/>
              </a:ext>
            </a:extLst>
          </p:cNvPr>
          <p:cNvSpPr txBox="1"/>
          <p:nvPr/>
        </p:nvSpPr>
        <p:spPr>
          <a:xfrm>
            <a:off x="2138609" y="4850597"/>
            <a:ext cx="392159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0799" defTabSz="1219170">
              <a:defRPr/>
            </a:pPr>
            <a:r>
              <a:rPr lang="en-US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#</a:t>
            </a:r>
            <a:r>
              <a:rPr lang="ru-RU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5</a:t>
            </a:r>
            <a:r>
              <a:rPr lang="en-US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cs-CZ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místo mezi rozvojovými zeměmi podle mezinárodních investic do obnovitelných zdrojů</a:t>
            </a:r>
            <a:r>
              <a:rPr lang="en-US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, 2015-2022 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0D78A03F-6073-4227-A3BF-1F26BFBAF1AC}"/>
              </a:ext>
            </a:extLst>
          </p:cNvPr>
          <p:cNvSpPr txBox="1"/>
          <p:nvPr/>
        </p:nvSpPr>
        <p:spPr>
          <a:xfrm>
            <a:off x="2173958" y="2970163"/>
            <a:ext cx="3050863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defRPr/>
            </a:pPr>
            <a:r>
              <a:rPr lang="en-US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#37 </a:t>
            </a:r>
            <a:r>
              <a:rPr lang="cs-CZ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místo v indexu světové konkurenceschopnosti</a:t>
            </a:r>
            <a:endParaRPr lang="en-US" sz="1600" b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defTabSz="1219170">
              <a:defRPr/>
            </a:pPr>
            <a:r>
              <a:rPr lang="en-US" sz="1600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#</a:t>
            </a:r>
            <a:r>
              <a:rPr lang="cs-CZ" sz="1600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1 místo mezi SNS</a:t>
            </a:r>
            <a:endParaRPr lang="en-US" sz="1600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defTabSz="1219170">
              <a:defRPr/>
            </a:pPr>
            <a:endParaRPr lang="en-US" sz="1600" b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0D78A03F-6073-4227-A3BF-1F26BFBAF1AC}"/>
              </a:ext>
            </a:extLst>
          </p:cNvPr>
          <p:cNvSpPr txBox="1"/>
          <p:nvPr/>
        </p:nvSpPr>
        <p:spPr>
          <a:xfrm>
            <a:off x="2173958" y="2016054"/>
            <a:ext cx="39940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defRPr/>
            </a:pPr>
            <a:r>
              <a:rPr lang="en-US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#28 </a:t>
            </a:r>
            <a:r>
              <a:rPr lang="cs-CZ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místo v celosvětovém indexu rozvoje e-governmentu</a:t>
            </a:r>
            <a:r>
              <a:rPr lang="en-US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/>
            </a:r>
            <a:br>
              <a:rPr lang="en-US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</a:br>
            <a:r>
              <a:rPr lang="en-US" sz="1600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#1 </a:t>
            </a:r>
            <a:r>
              <a:rPr lang="cs-CZ" sz="1600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místo mezi SNS</a:t>
            </a:r>
            <a:endParaRPr lang="en-US" sz="1600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33" name="Номер слайда 32"/>
          <p:cNvSpPr>
            <a:spLocks noGrp="1"/>
          </p:cNvSpPr>
          <p:nvPr>
            <p:ph type="sldNum" sz="quarter" idx="12"/>
          </p:nvPr>
        </p:nvSpPr>
        <p:spPr>
          <a:xfrm>
            <a:off x="11575823" y="6492875"/>
            <a:ext cx="616175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BC0DC2-9AC7-4AF2-ABC3-6798633670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0" name="Picture 2" descr="Records Management Publications for Local Governments and State 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5397"/>
          <a:stretch/>
        </p:blipFill>
        <p:spPr bwMode="auto">
          <a:xfrm>
            <a:off x="6799307" y="4574312"/>
            <a:ext cx="591356" cy="633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extBox 47"/>
          <p:cNvSpPr txBox="1"/>
          <p:nvPr/>
        </p:nvSpPr>
        <p:spPr>
          <a:xfrm>
            <a:off x="7870711" y="1133952"/>
            <a:ext cx="37979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/>
            <a:r>
              <a:rPr lang="cs-CZ" sz="2400" b="1" kern="0" dirty="0">
                <a:solidFill>
                  <a:schemeClr val="accent1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itchFamily="34" charset="0"/>
              </a:rPr>
              <a:t>DIALOGOVÉ PLATFORMY</a:t>
            </a:r>
            <a:endParaRPr lang="en-US" sz="2400" b="1" kern="0" dirty="0">
              <a:solidFill>
                <a:schemeClr val="accent1"/>
              </a:solidFill>
              <a:latin typeface="Century Gothic" panose="020B0502020202020204" pitchFamily="34" charset="0"/>
              <a:ea typeface="Tahoma" panose="020B0604030504040204" pitchFamily="34" charset="0"/>
              <a:cs typeface="Arial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79FD5FF1-8D58-41AC-A8C3-27353A525A29}"/>
              </a:ext>
            </a:extLst>
          </p:cNvPr>
          <p:cNvSpPr txBox="1"/>
          <p:nvPr/>
        </p:nvSpPr>
        <p:spPr>
          <a:xfrm>
            <a:off x="2138609" y="5948541"/>
            <a:ext cx="392159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0799" defTabSz="1219170">
              <a:defRPr/>
            </a:pPr>
            <a:r>
              <a:rPr lang="en-US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#53 </a:t>
            </a:r>
            <a:r>
              <a:rPr lang="cs-CZ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místo ve světovém indexu ESG</a:t>
            </a:r>
            <a:endParaRPr lang="en-US" sz="1600" b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defTabSz="1219170">
              <a:defRPr/>
            </a:pPr>
            <a:r>
              <a:rPr lang="en-US" sz="1600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#</a:t>
            </a:r>
            <a:r>
              <a:rPr lang="cs-CZ" sz="1600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1 místo mezi SNS</a:t>
            </a:r>
            <a:endParaRPr lang="en-US" sz="1600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79FD5FF1-8D58-41AC-A8C3-27353A525A29}"/>
              </a:ext>
            </a:extLst>
          </p:cNvPr>
          <p:cNvSpPr txBox="1"/>
          <p:nvPr/>
        </p:nvSpPr>
        <p:spPr>
          <a:xfrm>
            <a:off x="2129639" y="1241658"/>
            <a:ext cx="392159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0799" defTabSz="1219170">
              <a:defRPr/>
            </a:pPr>
            <a:r>
              <a:rPr lang="en-US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BBB-/A-3 </a:t>
            </a:r>
            <a:r>
              <a:rPr lang="ru-RU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«</a:t>
            </a:r>
            <a:r>
              <a:rPr lang="en-US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Stable</a:t>
            </a:r>
            <a:r>
              <a:rPr lang="ru-RU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»</a:t>
            </a:r>
            <a:endParaRPr lang="en-US" sz="1600" b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  <a:p>
            <a:pPr marL="50799" defTabSz="1219170">
              <a:defRPr/>
            </a:pPr>
            <a:r>
              <a:rPr lang="en-US" sz="1600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S</a:t>
            </a:r>
            <a:r>
              <a:rPr lang="cs-CZ" sz="1600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tátní uvěrový rating</a:t>
            </a:r>
            <a:r>
              <a:rPr lang="en-US" sz="1600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endParaRPr lang="en-US" sz="1600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0D78A03F-6073-4227-A3BF-1F26BFBAF1AC}"/>
              </a:ext>
            </a:extLst>
          </p:cNvPr>
          <p:cNvSpPr txBox="1"/>
          <p:nvPr/>
        </p:nvSpPr>
        <p:spPr>
          <a:xfrm>
            <a:off x="2187186" y="4196046"/>
            <a:ext cx="335987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defRPr/>
            </a:pPr>
            <a:r>
              <a:rPr lang="cs-CZ" sz="1600" b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Asociovaný člen</a:t>
            </a:r>
            <a:endParaRPr lang="en-US" sz="1600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18038" y="836712"/>
            <a:ext cx="83926" cy="590465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7981344" y="2058339"/>
            <a:ext cx="3515256" cy="5847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8820045" y="2344295"/>
            <a:ext cx="220996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57127">
              <a:defRPr/>
            </a:pPr>
            <a:r>
              <a:rPr lang="en-US" sz="1400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pro </a:t>
            </a:r>
            <a:r>
              <a:rPr lang="en-US" sz="1400" i="1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strategické</a:t>
            </a:r>
            <a:r>
              <a:rPr lang="en-US" sz="1400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sz="1400" i="1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otázky</a:t>
            </a:r>
            <a:endParaRPr lang="ru-RU" sz="1400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858498" y="2047285"/>
            <a:ext cx="37979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Rada </a:t>
            </a:r>
            <a:r>
              <a:rPr lang="en-US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zahraničních</a:t>
            </a:r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investorů</a:t>
            </a:r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914689" y="1682217"/>
            <a:ext cx="36611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PRE</a:t>
            </a:r>
            <a:r>
              <a:rPr lang="cs-CZ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Z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IDENT 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4" name="Rectangle 28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914689" y="3010590"/>
            <a:ext cx="3661134" cy="35116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>
            <a:defPPr>
              <a:defRPr lang="ru-RU"/>
            </a:defPPr>
            <a:lvl1pPr algn="ctr">
              <a:defRPr sz="1100"/>
            </a:lvl1pPr>
            <a:lvl2pPr lvl="1" indent="0" fontAlgn="auto">
              <a:spcBef>
                <a:spcPts val="0"/>
              </a:spcBef>
              <a:spcAft>
                <a:spcPts val="0"/>
              </a:spcAft>
              <a:defRPr sz="1500" kern="0">
                <a:solidFill>
                  <a:srgbClr val="FFFFFF"/>
                </a:solidFill>
                <a:latin typeface="Arial" panose="020B0604020202020204" pitchFamily="34" charset="0"/>
                <a:ea typeface="ＭＳ Ｐゴシック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1"/>
            <a:endParaRPr lang="en-US" dirty="0"/>
          </a:p>
        </p:txBody>
      </p:sp>
      <p:sp>
        <p:nvSpPr>
          <p:cNvPr id="65" name="Прямоугольник 64"/>
          <p:cNvSpPr/>
          <p:nvPr/>
        </p:nvSpPr>
        <p:spPr>
          <a:xfrm>
            <a:off x="7914689" y="3113220"/>
            <a:ext cx="36611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>
                <a:solidFill>
                  <a:schemeClr val="accent1">
                    <a:lumMod val="75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PŘEDSEDA VLÁDY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7981344" y="3607242"/>
            <a:ext cx="3515256" cy="8048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Прямоугольник 69"/>
          <p:cNvSpPr/>
          <p:nvPr/>
        </p:nvSpPr>
        <p:spPr>
          <a:xfrm>
            <a:off x="7981344" y="4582020"/>
            <a:ext cx="3515256" cy="8048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Прямоугольник 70"/>
          <p:cNvSpPr/>
          <p:nvPr/>
        </p:nvSpPr>
        <p:spPr>
          <a:xfrm>
            <a:off x="7981344" y="5556798"/>
            <a:ext cx="3515256" cy="8048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7962900" y="3674176"/>
            <a:ext cx="35337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Investiční</a:t>
            </a:r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rada</a:t>
            </a:r>
            <a:endParaRPr lang="ru-RU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7962900" y="3996175"/>
            <a:ext cx="35337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57127">
              <a:defRPr/>
            </a:pPr>
            <a:r>
              <a:rPr lang="en-US" sz="1400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pro </a:t>
            </a:r>
            <a:r>
              <a:rPr lang="en-US" sz="1400" i="1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provozní</a:t>
            </a:r>
            <a:r>
              <a:rPr lang="en-US" sz="1400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sz="1400" i="1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záležitosti</a:t>
            </a:r>
            <a:endParaRPr lang="ru-RU" sz="1400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962900" y="4562396"/>
            <a:ext cx="35337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Rada pro </a:t>
            </a:r>
            <a:r>
              <a:rPr lang="en-US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zlepšení</a:t>
            </a:r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investičního</a:t>
            </a:r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klimatu</a:t>
            </a:r>
            <a:endParaRPr lang="ru-RU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7962900" y="5098696"/>
            <a:ext cx="35337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57127">
              <a:defRPr/>
            </a:pPr>
            <a:r>
              <a:rPr lang="en-US" sz="1400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v </a:t>
            </a:r>
            <a:r>
              <a:rPr lang="en-US" sz="1400" i="1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systematických</a:t>
            </a:r>
            <a:r>
              <a:rPr lang="en-US" sz="1400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sz="1400" i="1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otázkách</a:t>
            </a:r>
            <a:endParaRPr lang="ru-RU" sz="1400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7962900" y="5553675"/>
            <a:ext cx="35337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b="1" dirty="0" err="1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Investiční</a:t>
            </a:r>
            <a:r>
              <a:rPr lang="en-US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cs typeface="Arial" pitchFamily="34" charset="0"/>
              </a:rPr>
              <a:t> ombudsman</a:t>
            </a:r>
            <a:endParaRPr lang="ru-RU" b="1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7962900" y="5860571"/>
            <a:ext cx="35337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57127">
              <a:defRPr/>
            </a:pPr>
            <a:r>
              <a:rPr lang="en-US" sz="1400" i="1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ochrana</a:t>
            </a:r>
            <a:r>
              <a:rPr lang="en-US" sz="1400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sz="1400" i="1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práv</a:t>
            </a:r>
            <a:r>
              <a:rPr lang="en-US" sz="1400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a </a:t>
            </a:r>
            <a:r>
              <a:rPr lang="en-US" sz="1400" i="1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zájmů</a:t>
            </a:r>
            <a:r>
              <a:rPr lang="en-US" sz="1400" i="1" dirty="0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 </a:t>
            </a:r>
            <a:r>
              <a:rPr lang="en-US" sz="1400" i="1" dirty="0" err="1">
                <a:solidFill>
                  <a:srgbClr val="1F5FA0"/>
                </a:solidFill>
                <a:latin typeface="Century Gothic" panose="020B0502020202020204" pitchFamily="34" charset="0"/>
                <a:cs typeface="Arial" pitchFamily="34" charset="0"/>
              </a:rPr>
              <a:t>investorů</a:t>
            </a:r>
            <a:endParaRPr lang="ru-RU" sz="1400" i="1" dirty="0">
              <a:solidFill>
                <a:srgbClr val="1F5FA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77" name="Овал 76"/>
          <p:cNvSpPr/>
          <p:nvPr/>
        </p:nvSpPr>
        <p:spPr>
          <a:xfrm>
            <a:off x="6511301" y="1738968"/>
            <a:ext cx="1144412" cy="969952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0800000" flipH="1" flipV="1">
            <a:off x="6745167" y="1950182"/>
            <a:ext cx="721276" cy="590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1" name="Rectangle 350"/>
          <p:cNvSpPr>
            <a:spLocks/>
          </p:cNvSpPr>
          <p:nvPr/>
        </p:nvSpPr>
        <p:spPr bwMode="gray">
          <a:xfrm flipH="1" flipV="1">
            <a:off x="7939111" y="1556792"/>
            <a:ext cx="3636711" cy="25282"/>
          </a:xfrm>
          <a:prstGeom prst="rect">
            <a:avLst/>
          </a:prstGeom>
          <a:solidFill>
            <a:srgbClr val="F9C61B">
              <a:lumMod val="60000"/>
              <a:lumOff val="40000"/>
            </a:srgbClr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5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+mn-cs"/>
            </a:endParaRPr>
          </a:p>
        </p:txBody>
      </p:sp>
      <p:sp>
        <p:nvSpPr>
          <p:cNvPr id="83" name="Прямоугольник 82">
            <a:extLst>
              <a:ext uri="{FF2B5EF4-FFF2-40B4-BE49-F238E27FC236}">
                <a16:creationId xmlns:a16="http://schemas.microsoft.com/office/drawing/2014/main" xmlns="" id="{D742657C-030D-4679-8F25-D351127F3F62}"/>
              </a:ext>
            </a:extLst>
          </p:cNvPr>
          <p:cNvSpPr/>
          <p:nvPr/>
        </p:nvSpPr>
        <p:spPr>
          <a:xfrm>
            <a:off x="-6" y="-8"/>
            <a:ext cx="7104118" cy="6240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  <a:defRPr/>
            </a:pPr>
            <a:r>
              <a:rPr lang="cs-CZ" altLang="ru-RU" sz="2400" b="1" noProof="0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  <a:sym typeface="Futura"/>
              </a:rPr>
              <a:t>DŮVOD</a:t>
            </a:r>
            <a:r>
              <a:rPr lang="en-US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 3: </a:t>
            </a:r>
            <a:r>
              <a:rPr lang="cs-CZ" sz="2400" b="1" dirty="0">
                <a:solidFill>
                  <a:schemeClr val="bg1"/>
                </a:solidFill>
                <a:latin typeface="Century Gothic" panose="020B0502020202020204" pitchFamily="34" charset="0"/>
                <a:ea typeface="Futura"/>
                <a:cs typeface="Arial" panose="020B0604020202020204" pitchFamily="34" charset="0"/>
              </a:rPr>
              <a:t>PROSTŘEDÍ PŘÍZNIVÉ PRO PODNIKÁNÍ</a:t>
            </a:r>
            <a:endParaRPr lang="ru-RU" sz="2400" b="1" dirty="0">
              <a:solidFill>
                <a:schemeClr val="bg1"/>
              </a:solidFill>
              <a:latin typeface="Century Gothic" panose="020B0502020202020204" pitchFamily="34" charset="0"/>
              <a:ea typeface="Futura"/>
              <a:cs typeface="Arial" panose="020B0604020202020204" pitchFamily="34" charset="0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564332" y="2962862"/>
            <a:ext cx="876084" cy="795082"/>
            <a:chOff x="467728" y="2820414"/>
            <a:chExt cx="876084" cy="795082"/>
          </a:xfrm>
        </p:grpSpPr>
        <p:sp>
          <p:nvSpPr>
            <p:cNvPr id="53" name="object 4"/>
            <p:cNvSpPr/>
            <p:nvPr/>
          </p:nvSpPr>
          <p:spPr>
            <a:xfrm>
              <a:off x="467728" y="2820414"/>
              <a:ext cx="876084" cy="795082"/>
            </a:xfrm>
            <a:custGeom>
              <a:avLst/>
              <a:gdLst/>
              <a:ahLst/>
              <a:cxnLst/>
              <a:rect l="l" t="t" r="r" b="b"/>
              <a:pathLst>
                <a:path w="771525" h="774700">
                  <a:moveTo>
                    <a:pt x="385572" y="0"/>
                  </a:moveTo>
                  <a:lnTo>
                    <a:pt x="337207" y="3016"/>
                  </a:lnTo>
                  <a:lnTo>
                    <a:pt x="290635" y="11825"/>
                  </a:lnTo>
                  <a:lnTo>
                    <a:pt x="246217" y="26061"/>
                  </a:lnTo>
                  <a:lnTo>
                    <a:pt x="204314" y="45363"/>
                  </a:lnTo>
                  <a:lnTo>
                    <a:pt x="165288" y="69367"/>
                  </a:lnTo>
                  <a:lnTo>
                    <a:pt x="129500" y="97710"/>
                  </a:lnTo>
                  <a:lnTo>
                    <a:pt x="97311" y="130028"/>
                  </a:lnTo>
                  <a:lnTo>
                    <a:pt x="69082" y="165959"/>
                  </a:lnTo>
                  <a:lnTo>
                    <a:pt x="45176" y="205140"/>
                  </a:lnTo>
                  <a:lnTo>
                    <a:pt x="25953" y="247207"/>
                  </a:lnTo>
                  <a:lnTo>
                    <a:pt x="11776" y="291798"/>
                  </a:lnTo>
                  <a:lnTo>
                    <a:pt x="3004" y="338548"/>
                  </a:lnTo>
                  <a:lnTo>
                    <a:pt x="0" y="387095"/>
                  </a:lnTo>
                  <a:lnTo>
                    <a:pt x="3004" y="435643"/>
                  </a:lnTo>
                  <a:lnTo>
                    <a:pt x="11776" y="482393"/>
                  </a:lnTo>
                  <a:lnTo>
                    <a:pt x="25953" y="526984"/>
                  </a:lnTo>
                  <a:lnTo>
                    <a:pt x="45176" y="569051"/>
                  </a:lnTo>
                  <a:lnTo>
                    <a:pt x="69082" y="608232"/>
                  </a:lnTo>
                  <a:lnTo>
                    <a:pt x="97311" y="644163"/>
                  </a:lnTo>
                  <a:lnTo>
                    <a:pt x="129500" y="676481"/>
                  </a:lnTo>
                  <a:lnTo>
                    <a:pt x="165288" y="704824"/>
                  </a:lnTo>
                  <a:lnTo>
                    <a:pt x="204314" y="728828"/>
                  </a:lnTo>
                  <a:lnTo>
                    <a:pt x="246217" y="748130"/>
                  </a:lnTo>
                  <a:lnTo>
                    <a:pt x="290635" y="762366"/>
                  </a:lnTo>
                  <a:lnTo>
                    <a:pt x="337207" y="771175"/>
                  </a:lnTo>
                  <a:lnTo>
                    <a:pt x="385572" y="774192"/>
                  </a:lnTo>
                  <a:lnTo>
                    <a:pt x="433943" y="771175"/>
                  </a:lnTo>
                  <a:lnTo>
                    <a:pt x="480520" y="762366"/>
                  </a:lnTo>
                  <a:lnTo>
                    <a:pt x="524942" y="748130"/>
                  </a:lnTo>
                  <a:lnTo>
                    <a:pt x="566846" y="728828"/>
                  </a:lnTo>
                  <a:lnTo>
                    <a:pt x="605872" y="704824"/>
                  </a:lnTo>
                  <a:lnTo>
                    <a:pt x="641659" y="676481"/>
                  </a:lnTo>
                  <a:lnTo>
                    <a:pt x="673845" y="644163"/>
                  </a:lnTo>
                  <a:lnTo>
                    <a:pt x="702071" y="608232"/>
                  </a:lnTo>
                  <a:lnTo>
                    <a:pt x="725974" y="569051"/>
                  </a:lnTo>
                  <a:lnTo>
                    <a:pt x="745194" y="526984"/>
                  </a:lnTo>
                  <a:lnTo>
                    <a:pt x="759370" y="482393"/>
                  </a:lnTo>
                  <a:lnTo>
                    <a:pt x="768140" y="435643"/>
                  </a:lnTo>
                  <a:lnTo>
                    <a:pt x="771144" y="387095"/>
                  </a:lnTo>
                  <a:lnTo>
                    <a:pt x="768140" y="338548"/>
                  </a:lnTo>
                  <a:lnTo>
                    <a:pt x="759370" y="291798"/>
                  </a:lnTo>
                  <a:lnTo>
                    <a:pt x="745194" y="247207"/>
                  </a:lnTo>
                  <a:lnTo>
                    <a:pt x="725974" y="205140"/>
                  </a:lnTo>
                  <a:lnTo>
                    <a:pt x="702071" y="165959"/>
                  </a:lnTo>
                  <a:lnTo>
                    <a:pt x="673845" y="130028"/>
                  </a:lnTo>
                  <a:lnTo>
                    <a:pt x="641659" y="97710"/>
                  </a:lnTo>
                  <a:lnTo>
                    <a:pt x="605872" y="69367"/>
                  </a:lnTo>
                  <a:lnTo>
                    <a:pt x="566846" y="45363"/>
                  </a:lnTo>
                  <a:lnTo>
                    <a:pt x="524942" y="26061"/>
                  </a:lnTo>
                  <a:lnTo>
                    <a:pt x="480520" y="11825"/>
                  </a:lnTo>
                  <a:lnTo>
                    <a:pt x="433943" y="3016"/>
                  </a:lnTo>
                  <a:lnTo>
                    <a:pt x="385572" y="0"/>
                  </a:ln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sz="2033"/>
            </a:p>
          </p:txBody>
        </p:sp>
        <p:sp>
          <p:nvSpPr>
            <p:cNvPr id="54" name="object 5"/>
            <p:cNvSpPr/>
            <p:nvPr/>
          </p:nvSpPr>
          <p:spPr>
            <a:xfrm>
              <a:off x="467728" y="2820414"/>
              <a:ext cx="876084" cy="795082"/>
            </a:xfrm>
            <a:custGeom>
              <a:avLst/>
              <a:gdLst/>
              <a:ahLst/>
              <a:cxnLst/>
              <a:rect l="l" t="t" r="r" b="b"/>
              <a:pathLst>
                <a:path w="771525" h="774700">
                  <a:moveTo>
                    <a:pt x="0" y="387095"/>
                  </a:moveTo>
                  <a:lnTo>
                    <a:pt x="3004" y="338548"/>
                  </a:lnTo>
                  <a:lnTo>
                    <a:pt x="11776" y="291798"/>
                  </a:lnTo>
                  <a:lnTo>
                    <a:pt x="25953" y="247207"/>
                  </a:lnTo>
                  <a:lnTo>
                    <a:pt x="45176" y="205140"/>
                  </a:lnTo>
                  <a:lnTo>
                    <a:pt x="69082" y="165959"/>
                  </a:lnTo>
                  <a:lnTo>
                    <a:pt x="97311" y="130028"/>
                  </a:lnTo>
                  <a:lnTo>
                    <a:pt x="129500" y="97710"/>
                  </a:lnTo>
                  <a:lnTo>
                    <a:pt x="165288" y="69367"/>
                  </a:lnTo>
                  <a:lnTo>
                    <a:pt x="204314" y="45363"/>
                  </a:lnTo>
                  <a:lnTo>
                    <a:pt x="246217" y="26061"/>
                  </a:lnTo>
                  <a:lnTo>
                    <a:pt x="290635" y="11825"/>
                  </a:lnTo>
                  <a:lnTo>
                    <a:pt x="337207" y="3016"/>
                  </a:lnTo>
                  <a:lnTo>
                    <a:pt x="385572" y="0"/>
                  </a:lnTo>
                  <a:lnTo>
                    <a:pt x="433943" y="3016"/>
                  </a:lnTo>
                  <a:lnTo>
                    <a:pt x="480520" y="11825"/>
                  </a:lnTo>
                  <a:lnTo>
                    <a:pt x="524942" y="26061"/>
                  </a:lnTo>
                  <a:lnTo>
                    <a:pt x="566846" y="45363"/>
                  </a:lnTo>
                  <a:lnTo>
                    <a:pt x="605872" y="69367"/>
                  </a:lnTo>
                  <a:lnTo>
                    <a:pt x="641659" y="97710"/>
                  </a:lnTo>
                  <a:lnTo>
                    <a:pt x="673845" y="130028"/>
                  </a:lnTo>
                  <a:lnTo>
                    <a:pt x="702071" y="165959"/>
                  </a:lnTo>
                  <a:lnTo>
                    <a:pt x="725974" y="205140"/>
                  </a:lnTo>
                  <a:lnTo>
                    <a:pt x="745194" y="247207"/>
                  </a:lnTo>
                  <a:lnTo>
                    <a:pt x="759370" y="291798"/>
                  </a:lnTo>
                  <a:lnTo>
                    <a:pt x="768140" y="338548"/>
                  </a:lnTo>
                  <a:lnTo>
                    <a:pt x="771144" y="387095"/>
                  </a:lnTo>
                  <a:lnTo>
                    <a:pt x="768140" y="435643"/>
                  </a:lnTo>
                  <a:lnTo>
                    <a:pt x="759370" y="482393"/>
                  </a:lnTo>
                  <a:lnTo>
                    <a:pt x="745194" y="526984"/>
                  </a:lnTo>
                  <a:lnTo>
                    <a:pt x="725974" y="569051"/>
                  </a:lnTo>
                  <a:lnTo>
                    <a:pt x="702071" y="608232"/>
                  </a:lnTo>
                  <a:lnTo>
                    <a:pt x="673845" y="644163"/>
                  </a:lnTo>
                  <a:lnTo>
                    <a:pt x="641659" y="676481"/>
                  </a:lnTo>
                  <a:lnTo>
                    <a:pt x="605872" y="704824"/>
                  </a:lnTo>
                  <a:lnTo>
                    <a:pt x="566846" y="728828"/>
                  </a:lnTo>
                  <a:lnTo>
                    <a:pt x="524942" y="748130"/>
                  </a:lnTo>
                  <a:lnTo>
                    <a:pt x="480520" y="762366"/>
                  </a:lnTo>
                  <a:lnTo>
                    <a:pt x="433943" y="771175"/>
                  </a:lnTo>
                  <a:lnTo>
                    <a:pt x="385572" y="774192"/>
                  </a:lnTo>
                  <a:lnTo>
                    <a:pt x="337207" y="771175"/>
                  </a:lnTo>
                  <a:lnTo>
                    <a:pt x="290635" y="762366"/>
                  </a:lnTo>
                  <a:lnTo>
                    <a:pt x="246217" y="748130"/>
                  </a:lnTo>
                  <a:lnTo>
                    <a:pt x="204314" y="728828"/>
                  </a:lnTo>
                  <a:lnTo>
                    <a:pt x="165288" y="704824"/>
                  </a:lnTo>
                  <a:lnTo>
                    <a:pt x="129500" y="676481"/>
                  </a:lnTo>
                  <a:lnTo>
                    <a:pt x="97311" y="644163"/>
                  </a:lnTo>
                  <a:lnTo>
                    <a:pt x="69082" y="608232"/>
                  </a:lnTo>
                  <a:lnTo>
                    <a:pt x="45176" y="569051"/>
                  </a:lnTo>
                  <a:lnTo>
                    <a:pt x="25953" y="526984"/>
                  </a:lnTo>
                  <a:lnTo>
                    <a:pt x="11776" y="482393"/>
                  </a:lnTo>
                  <a:lnTo>
                    <a:pt x="3004" y="435643"/>
                  </a:lnTo>
                  <a:lnTo>
                    <a:pt x="0" y="387095"/>
                  </a:lnTo>
                  <a:close/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033"/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568481" y="1093866"/>
            <a:ext cx="867786" cy="791824"/>
            <a:chOff x="457542" y="1099567"/>
            <a:chExt cx="867786" cy="791824"/>
          </a:xfrm>
        </p:grpSpPr>
        <p:sp>
          <p:nvSpPr>
            <p:cNvPr id="88" name="object 20"/>
            <p:cNvSpPr/>
            <p:nvPr/>
          </p:nvSpPr>
          <p:spPr>
            <a:xfrm>
              <a:off x="457542" y="1099567"/>
              <a:ext cx="867786" cy="791824"/>
            </a:xfrm>
            <a:custGeom>
              <a:avLst/>
              <a:gdLst/>
              <a:ahLst/>
              <a:cxnLst/>
              <a:rect l="l" t="t" r="r" b="b"/>
              <a:pathLst>
                <a:path w="771525" h="771525">
                  <a:moveTo>
                    <a:pt x="385572" y="0"/>
                  </a:moveTo>
                  <a:lnTo>
                    <a:pt x="337207" y="3003"/>
                  </a:lnTo>
                  <a:lnTo>
                    <a:pt x="290635" y="11773"/>
                  </a:lnTo>
                  <a:lnTo>
                    <a:pt x="246217" y="25949"/>
                  </a:lnTo>
                  <a:lnTo>
                    <a:pt x="204314" y="45169"/>
                  </a:lnTo>
                  <a:lnTo>
                    <a:pt x="165288" y="69072"/>
                  </a:lnTo>
                  <a:lnTo>
                    <a:pt x="129500" y="97298"/>
                  </a:lnTo>
                  <a:lnTo>
                    <a:pt x="97311" y="129484"/>
                  </a:lnTo>
                  <a:lnTo>
                    <a:pt x="69082" y="165271"/>
                  </a:lnTo>
                  <a:lnTo>
                    <a:pt x="45176" y="204297"/>
                  </a:lnTo>
                  <a:lnTo>
                    <a:pt x="25953" y="246201"/>
                  </a:lnTo>
                  <a:lnTo>
                    <a:pt x="11776" y="290623"/>
                  </a:lnTo>
                  <a:lnTo>
                    <a:pt x="3004" y="337200"/>
                  </a:lnTo>
                  <a:lnTo>
                    <a:pt x="0" y="385572"/>
                  </a:lnTo>
                  <a:lnTo>
                    <a:pt x="3004" y="433943"/>
                  </a:lnTo>
                  <a:lnTo>
                    <a:pt x="11776" y="480520"/>
                  </a:lnTo>
                  <a:lnTo>
                    <a:pt x="25953" y="524942"/>
                  </a:lnTo>
                  <a:lnTo>
                    <a:pt x="45176" y="566846"/>
                  </a:lnTo>
                  <a:lnTo>
                    <a:pt x="69082" y="605872"/>
                  </a:lnTo>
                  <a:lnTo>
                    <a:pt x="97311" y="641659"/>
                  </a:lnTo>
                  <a:lnTo>
                    <a:pt x="129500" y="673845"/>
                  </a:lnTo>
                  <a:lnTo>
                    <a:pt x="165288" y="702071"/>
                  </a:lnTo>
                  <a:lnTo>
                    <a:pt x="204314" y="725974"/>
                  </a:lnTo>
                  <a:lnTo>
                    <a:pt x="246217" y="745194"/>
                  </a:lnTo>
                  <a:lnTo>
                    <a:pt x="290635" y="759370"/>
                  </a:lnTo>
                  <a:lnTo>
                    <a:pt x="337207" y="768140"/>
                  </a:lnTo>
                  <a:lnTo>
                    <a:pt x="385572" y="771143"/>
                  </a:lnTo>
                  <a:lnTo>
                    <a:pt x="433943" y="768140"/>
                  </a:lnTo>
                  <a:lnTo>
                    <a:pt x="480520" y="759370"/>
                  </a:lnTo>
                  <a:lnTo>
                    <a:pt x="524942" y="745194"/>
                  </a:lnTo>
                  <a:lnTo>
                    <a:pt x="566846" y="725974"/>
                  </a:lnTo>
                  <a:lnTo>
                    <a:pt x="605872" y="702071"/>
                  </a:lnTo>
                  <a:lnTo>
                    <a:pt x="641659" y="673845"/>
                  </a:lnTo>
                  <a:lnTo>
                    <a:pt x="673845" y="641659"/>
                  </a:lnTo>
                  <a:lnTo>
                    <a:pt x="702071" y="605872"/>
                  </a:lnTo>
                  <a:lnTo>
                    <a:pt x="725974" y="566846"/>
                  </a:lnTo>
                  <a:lnTo>
                    <a:pt x="745194" y="524942"/>
                  </a:lnTo>
                  <a:lnTo>
                    <a:pt x="759370" y="480520"/>
                  </a:lnTo>
                  <a:lnTo>
                    <a:pt x="768140" y="433943"/>
                  </a:lnTo>
                  <a:lnTo>
                    <a:pt x="771144" y="385572"/>
                  </a:lnTo>
                  <a:lnTo>
                    <a:pt x="768140" y="337200"/>
                  </a:lnTo>
                  <a:lnTo>
                    <a:pt x="759370" y="290623"/>
                  </a:lnTo>
                  <a:lnTo>
                    <a:pt x="745194" y="246201"/>
                  </a:lnTo>
                  <a:lnTo>
                    <a:pt x="725974" y="204297"/>
                  </a:lnTo>
                  <a:lnTo>
                    <a:pt x="702071" y="165271"/>
                  </a:lnTo>
                  <a:lnTo>
                    <a:pt x="673845" y="129484"/>
                  </a:lnTo>
                  <a:lnTo>
                    <a:pt x="641659" y="97298"/>
                  </a:lnTo>
                  <a:lnTo>
                    <a:pt x="605872" y="69072"/>
                  </a:lnTo>
                  <a:lnTo>
                    <a:pt x="566846" y="45169"/>
                  </a:lnTo>
                  <a:lnTo>
                    <a:pt x="524942" y="25949"/>
                  </a:lnTo>
                  <a:lnTo>
                    <a:pt x="480520" y="11773"/>
                  </a:lnTo>
                  <a:lnTo>
                    <a:pt x="433943" y="3003"/>
                  </a:lnTo>
                  <a:lnTo>
                    <a:pt x="385572" y="0"/>
                  </a:ln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sz="2033"/>
            </a:p>
          </p:txBody>
        </p:sp>
        <p:sp>
          <p:nvSpPr>
            <p:cNvPr id="89" name="object 21"/>
            <p:cNvSpPr/>
            <p:nvPr/>
          </p:nvSpPr>
          <p:spPr>
            <a:xfrm>
              <a:off x="457542" y="1099567"/>
              <a:ext cx="867786" cy="791824"/>
            </a:xfrm>
            <a:custGeom>
              <a:avLst/>
              <a:gdLst/>
              <a:ahLst/>
              <a:cxnLst/>
              <a:rect l="l" t="t" r="r" b="b"/>
              <a:pathLst>
                <a:path w="771525" h="771525">
                  <a:moveTo>
                    <a:pt x="0" y="385572"/>
                  </a:moveTo>
                  <a:lnTo>
                    <a:pt x="3004" y="337200"/>
                  </a:lnTo>
                  <a:lnTo>
                    <a:pt x="11776" y="290623"/>
                  </a:lnTo>
                  <a:lnTo>
                    <a:pt x="25953" y="246201"/>
                  </a:lnTo>
                  <a:lnTo>
                    <a:pt x="45176" y="204297"/>
                  </a:lnTo>
                  <a:lnTo>
                    <a:pt x="69082" y="165271"/>
                  </a:lnTo>
                  <a:lnTo>
                    <a:pt x="97311" y="129484"/>
                  </a:lnTo>
                  <a:lnTo>
                    <a:pt x="129500" y="97298"/>
                  </a:lnTo>
                  <a:lnTo>
                    <a:pt x="165288" y="69072"/>
                  </a:lnTo>
                  <a:lnTo>
                    <a:pt x="204314" y="45169"/>
                  </a:lnTo>
                  <a:lnTo>
                    <a:pt x="246217" y="25949"/>
                  </a:lnTo>
                  <a:lnTo>
                    <a:pt x="290635" y="11773"/>
                  </a:lnTo>
                  <a:lnTo>
                    <a:pt x="337207" y="3003"/>
                  </a:lnTo>
                  <a:lnTo>
                    <a:pt x="385572" y="0"/>
                  </a:lnTo>
                  <a:lnTo>
                    <a:pt x="433943" y="3003"/>
                  </a:lnTo>
                  <a:lnTo>
                    <a:pt x="480520" y="11773"/>
                  </a:lnTo>
                  <a:lnTo>
                    <a:pt x="524942" y="25949"/>
                  </a:lnTo>
                  <a:lnTo>
                    <a:pt x="566846" y="45169"/>
                  </a:lnTo>
                  <a:lnTo>
                    <a:pt x="605872" y="69072"/>
                  </a:lnTo>
                  <a:lnTo>
                    <a:pt x="641659" y="97298"/>
                  </a:lnTo>
                  <a:lnTo>
                    <a:pt x="673845" y="129484"/>
                  </a:lnTo>
                  <a:lnTo>
                    <a:pt x="702071" y="165271"/>
                  </a:lnTo>
                  <a:lnTo>
                    <a:pt x="725974" y="204297"/>
                  </a:lnTo>
                  <a:lnTo>
                    <a:pt x="745194" y="246201"/>
                  </a:lnTo>
                  <a:lnTo>
                    <a:pt x="759370" y="290623"/>
                  </a:lnTo>
                  <a:lnTo>
                    <a:pt x="768140" y="337200"/>
                  </a:lnTo>
                  <a:lnTo>
                    <a:pt x="771144" y="385572"/>
                  </a:lnTo>
                  <a:lnTo>
                    <a:pt x="768140" y="433943"/>
                  </a:lnTo>
                  <a:lnTo>
                    <a:pt x="759370" y="480520"/>
                  </a:lnTo>
                  <a:lnTo>
                    <a:pt x="745194" y="524942"/>
                  </a:lnTo>
                  <a:lnTo>
                    <a:pt x="725974" y="566846"/>
                  </a:lnTo>
                  <a:lnTo>
                    <a:pt x="702071" y="605872"/>
                  </a:lnTo>
                  <a:lnTo>
                    <a:pt x="673845" y="641659"/>
                  </a:lnTo>
                  <a:lnTo>
                    <a:pt x="641659" y="673845"/>
                  </a:lnTo>
                  <a:lnTo>
                    <a:pt x="605872" y="702071"/>
                  </a:lnTo>
                  <a:lnTo>
                    <a:pt x="566846" y="725974"/>
                  </a:lnTo>
                  <a:lnTo>
                    <a:pt x="524942" y="745194"/>
                  </a:lnTo>
                  <a:lnTo>
                    <a:pt x="480520" y="759370"/>
                  </a:lnTo>
                  <a:lnTo>
                    <a:pt x="433943" y="768140"/>
                  </a:lnTo>
                  <a:lnTo>
                    <a:pt x="385572" y="771143"/>
                  </a:lnTo>
                  <a:lnTo>
                    <a:pt x="337207" y="768140"/>
                  </a:lnTo>
                  <a:lnTo>
                    <a:pt x="290635" y="759370"/>
                  </a:lnTo>
                  <a:lnTo>
                    <a:pt x="246217" y="745194"/>
                  </a:lnTo>
                  <a:lnTo>
                    <a:pt x="204314" y="725974"/>
                  </a:lnTo>
                  <a:lnTo>
                    <a:pt x="165288" y="702071"/>
                  </a:lnTo>
                  <a:lnTo>
                    <a:pt x="129500" y="673845"/>
                  </a:lnTo>
                  <a:lnTo>
                    <a:pt x="97311" y="641659"/>
                  </a:lnTo>
                  <a:lnTo>
                    <a:pt x="69082" y="605872"/>
                  </a:lnTo>
                  <a:lnTo>
                    <a:pt x="45176" y="566846"/>
                  </a:lnTo>
                  <a:lnTo>
                    <a:pt x="25953" y="524942"/>
                  </a:lnTo>
                  <a:lnTo>
                    <a:pt x="11776" y="480520"/>
                  </a:lnTo>
                  <a:lnTo>
                    <a:pt x="3004" y="433943"/>
                  </a:lnTo>
                  <a:lnTo>
                    <a:pt x="0" y="385572"/>
                  </a:lnTo>
                  <a:close/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033"/>
            </a:p>
          </p:txBody>
        </p:sp>
      </p:grpSp>
      <p:pic>
        <p:nvPicPr>
          <p:cNvPr id="90" name="object 22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703018" y="1370260"/>
            <a:ext cx="620209" cy="309975"/>
          </a:xfrm>
          <a:prstGeom prst="rect">
            <a:avLst/>
          </a:prstGeom>
        </p:spPr>
      </p:pic>
      <p:grpSp>
        <p:nvGrpSpPr>
          <p:cNvPr id="11" name="Группа 10"/>
          <p:cNvGrpSpPr/>
          <p:nvPr/>
        </p:nvGrpSpPr>
        <p:grpSpPr>
          <a:xfrm>
            <a:off x="568481" y="3900618"/>
            <a:ext cx="867786" cy="791824"/>
            <a:chOff x="472852" y="3770771"/>
            <a:chExt cx="867786" cy="791824"/>
          </a:xfrm>
        </p:grpSpPr>
        <p:sp>
          <p:nvSpPr>
            <p:cNvPr id="91" name="object 23"/>
            <p:cNvSpPr/>
            <p:nvPr/>
          </p:nvSpPr>
          <p:spPr>
            <a:xfrm>
              <a:off x="472852" y="3770771"/>
              <a:ext cx="867786" cy="791824"/>
            </a:xfrm>
            <a:custGeom>
              <a:avLst/>
              <a:gdLst/>
              <a:ahLst/>
              <a:cxnLst/>
              <a:rect l="l" t="t" r="r" b="b"/>
              <a:pathLst>
                <a:path w="771525" h="771525">
                  <a:moveTo>
                    <a:pt x="385572" y="0"/>
                  </a:moveTo>
                  <a:lnTo>
                    <a:pt x="337207" y="3003"/>
                  </a:lnTo>
                  <a:lnTo>
                    <a:pt x="290635" y="11773"/>
                  </a:lnTo>
                  <a:lnTo>
                    <a:pt x="246217" y="25949"/>
                  </a:lnTo>
                  <a:lnTo>
                    <a:pt x="204314" y="45169"/>
                  </a:lnTo>
                  <a:lnTo>
                    <a:pt x="165288" y="69072"/>
                  </a:lnTo>
                  <a:lnTo>
                    <a:pt x="129500" y="97298"/>
                  </a:lnTo>
                  <a:lnTo>
                    <a:pt x="97311" y="129484"/>
                  </a:lnTo>
                  <a:lnTo>
                    <a:pt x="69082" y="165271"/>
                  </a:lnTo>
                  <a:lnTo>
                    <a:pt x="45176" y="204297"/>
                  </a:lnTo>
                  <a:lnTo>
                    <a:pt x="25953" y="246201"/>
                  </a:lnTo>
                  <a:lnTo>
                    <a:pt x="11776" y="290623"/>
                  </a:lnTo>
                  <a:lnTo>
                    <a:pt x="3004" y="337200"/>
                  </a:lnTo>
                  <a:lnTo>
                    <a:pt x="0" y="385572"/>
                  </a:lnTo>
                  <a:lnTo>
                    <a:pt x="3004" y="433943"/>
                  </a:lnTo>
                  <a:lnTo>
                    <a:pt x="11776" y="480520"/>
                  </a:lnTo>
                  <a:lnTo>
                    <a:pt x="25953" y="524942"/>
                  </a:lnTo>
                  <a:lnTo>
                    <a:pt x="45176" y="566846"/>
                  </a:lnTo>
                  <a:lnTo>
                    <a:pt x="69082" y="605872"/>
                  </a:lnTo>
                  <a:lnTo>
                    <a:pt x="97311" y="641659"/>
                  </a:lnTo>
                  <a:lnTo>
                    <a:pt x="129500" y="673845"/>
                  </a:lnTo>
                  <a:lnTo>
                    <a:pt x="165288" y="702071"/>
                  </a:lnTo>
                  <a:lnTo>
                    <a:pt x="204314" y="725974"/>
                  </a:lnTo>
                  <a:lnTo>
                    <a:pt x="246217" y="745194"/>
                  </a:lnTo>
                  <a:lnTo>
                    <a:pt x="290635" y="759370"/>
                  </a:lnTo>
                  <a:lnTo>
                    <a:pt x="337207" y="768140"/>
                  </a:lnTo>
                  <a:lnTo>
                    <a:pt x="385572" y="771144"/>
                  </a:lnTo>
                  <a:lnTo>
                    <a:pt x="433943" y="768140"/>
                  </a:lnTo>
                  <a:lnTo>
                    <a:pt x="480520" y="759370"/>
                  </a:lnTo>
                  <a:lnTo>
                    <a:pt x="524942" y="745194"/>
                  </a:lnTo>
                  <a:lnTo>
                    <a:pt x="566846" y="725974"/>
                  </a:lnTo>
                  <a:lnTo>
                    <a:pt x="605872" y="702071"/>
                  </a:lnTo>
                  <a:lnTo>
                    <a:pt x="641659" y="673845"/>
                  </a:lnTo>
                  <a:lnTo>
                    <a:pt x="673845" y="641659"/>
                  </a:lnTo>
                  <a:lnTo>
                    <a:pt x="702071" y="605872"/>
                  </a:lnTo>
                  <a:lnTo>
                    <a:pt x="725974" y="566846"/>
                  </a:lnTo>
                  <a:lnTo>
                    <a:pt x="745194" y="524942"/>
                  </a:lnTo>
                  <a:lnTo>
                    <a:pt x="759370" y="480520"/>
                  </a:lnTo>
                  <a:lnTo>
                    <a:pt x="768140" y="433943"/>
                  </a:lnTo>
                  <a:lnTo>
                    <a:pt x="771144" y="385572"/>
                  </a:lnTo>
                  <a:lnTo>
                    <a:pt x="768140" y="337200"/>
                  </a:lnTo>
                  <a:lnTo>
                    <a:pt x="759370" y="290623"/>
                  </a:lnTo>
                  <a:lnTo>
                    <a:pt x="745194" y="246201"/>
                  </a:lnTo>
                  <a:lnTo>
                    <a:pt x="725974" y="204297"/>
                  </a:lnTo>
                  <a:lnTo>
                    <a:pt x="702071" y="165271"/>
                  </a:lnTo>
                  <a:lnTo>
                    <a:pt x="673845" y="129484"/>
                  </a:lnTo>
                  <a:lnTo>
                    <a:pt x="641659" y="97298"/>
                  </a:lnTo>
                  <a:lnTo>
                    <a:pt x="605872" y="69072"/>
                  </a:lnTo>
                  <a:lnTo>
                    <a:pt x="566846" y="45169"/>
                  </a:lnTo>
                  <a:lnTo>
                    <a:pt x="524942" y="25949"/>
                  </a:lnTo>
                  <a:lnTo>
                    <a:pt x="480520" y="11773"/>
                  </a:lnTo>
                  <a:lnTo>
                    <a:pt x="433943" y="3003"/>
                  </a:lnTo>
                  <a:lnTo>
                    <a:pt x="385572" y="0"/>
                  </a:ln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sz="2033"/>
            </a:p>
          </p:txBody>
        </p:sp>
        <p:sp>
          <p:nvSpPr>
            <p:cNvPr id="92" name="object 24"/>
            <p:cNvSpPr/>
            <p:nvPr/>
          </p:nvSpPr>
          <p:spPr>
            <a:xfrm>
              <a:off x="472852" y="3770771"/>
              <a:ext cx="867786" cy="791824"/>
            </a:xfrm>
            <a:custGeom>
              <a:avLst/>
              <a:gdLst/>
              <a:ahLst/>
              <a:cxnLst/>
              <a:rect l="l" t="t" r="r" b="b"/>
              <a:pathLst>
                <a:path w="771525" h="771525">
                  <a:moveTo>
                    <a:pt x="0" y="385572"/>
                  </a:moveTo>
                  <a:lnTo>
                    <a:pt x="3004" y="337200"/>
                  </a:lnTo>
                  <a:lnTo>
                    <a:pt x="11776" y="290623"/>
                  </a:lnTo>
                  <a:lnTo>
                    <a:pt x="25953" y="246201"/>
                  </a:lnTo>
                  <a:lnTo>
                    <a:pt x="45176" y="204297"/>
                  </a:lnTo>
                  <a:lnTo>
                    <a:pt x="69082" y="165271"/>
                  </a:lnTo>
                  <a:lnTo>
                    <a:pt x="97311" y="129484"/>
                  </a:lnTo>
                  <a:lnTo>
                    <a:pt x="129500" y="97298"/>
                  </a:lnTo>
                  <a:lnTo>
                    <a:pt x="165288" y="69072"/>
                  </a:lnTo>
                  <a:lnTo>
                    <a:pt x="204314" y="45169"/>
                  </a:lnTo>
                  <a:lnTo>
                    <a:pt x="246217" y="25949"/>
                  </a:lnTo>
                  <a:lnTo>
                    <a:pt x="290635" y="11773"/>
                  </a:lnTo>
                  <a:lnTo>
                    <a:pt x="337207" y="3003"/>
                  </a:lnTo>
                  <a:lnTo>
                    <a:pt x="385572" y="0"/>
                  </a:lnTo>
                  <a:lnTo>
                    <a:pt x="433943" y="3003"/>
                  </a:lnTo>
                  <a:lnTo>
                    <a:pt x="480520" y="11773"/>
                  </a:lnTo>
                  <a:lnTo>
                    <a:pt x="524942" y="25949"/>
                  </a:lnTo>
                  <a:lnTo>
                    <a:pt x="566846" y="45169"/>
                  </a:lnTo>
                  <a:lnTo>
                    <a:pt x="605872" y="69072"/>
                  </a:lnTo>
                  <a:lnTo>
                    <a:pt x="641659" y="97298"/>
                  </a:lnTo>
                  <a:lnTo>
                    <a:pt x="673845" y="129484"/>
                  </a:lnTo>
                  <a:lnTo>
                    <a:pt x="702071" y="165271"/>
                  </a:lnTo>
                  <a:lnTo>
                    <a:pt x="725974" y="204297"/>
                  </a:lnTo>
                  <a:lnTo>
                    <a:pt x="745194" y="246201"/>
                  </a:lnTo>
                  <a:lnTo>
                    <a:pt x="759370" y="290623"/>
                  </a:lnTo>
                  <a:lnTo>
                    <a:pt x="768140" y="337200"/>
                  </a:lnTo>
                  <a:lnTo>
                    <a:pt x="771144" y="385572"/>
                  </a:lnTo>
                  <a:lnTo>
                    <a:pt x="768140" y="433943"/>
                  </a:lnTo>
                  <a:lnTo>
                    <a:pt x="759370" y="480520"/>
                  </a:lnTo>
                  <a:lnTo>
                    <a:pt x="745194" y="524942"/>
                  </a:lnTo>
                  <a:lnTo>
                    <a:pt x="725974" y="566846"/>
                  </a:lnTo>
                  <a:lnTo>
                    <a:pt x="702071" y="605872"/>
                  </a:lnTo>
                  <a:lnTo>
                    <a:pt x="673845" y="641659"/>
                  </a:lnTo>
                  <a:lnTo>
                    <a:pt x="641659" y="673845"/>
                  </a:lnTo>
                  <a:lnTo>
                    <a:pt x="605872" y="702071"/>
                  </a:lnTo>
                  <a:lnTo>
                    <a:pt x="566846" y="725974"/>
                  </a:lnTo>
                  <a:lnTo>
                    <a:pt x="524942" y="745194"/>
                  </a:lnTo>
                  <a:lnTo>
                    <a:pt x="480520" y="759370"/>
                  </a:lnTo>
                  <a:lnTo>
                    <a:pt x="433943" y="768140"/>
                  </a:lnTo>
                  <a:lnTo>
                    <a:pt x="385572" y="771144"/>
                  </a:lnTo>
                  <a:lnTo>
                    <a:pt x="337207" y="768140"/>
                  </a:lnTo>
                  <a:lnTo>
                    <a:pt x="290635" y="759370"/>
                  </a:lnTo>
                  <a:lnTo>
                    <a:pt x="246217" y="745194"/>
                  </a:lnTo>
                  <a:lnTo>
                    <a:pt x="204314" y="725974"/>
                  </a:lnTo>
                  <a:lnTo>
                    <a:pt x="165288" y="702071"/>
                  </a:lnTo>
                  <a:lnTo>
                    <a:pt x="129500" y="673845"/>
                  </a:lnTo>
                  <a:lnTo>
                    <a:pt x="97311" y="641659"/>
                  </a:lnTo>
                  <a:lnTo>
                    <a:pt x="69082" y="605872"/>
                  </a:lnTo>
                  <a:lnTo>
                    <a:pt x="45176" y="566846"/>
                  </a:lnTo>
                  <a:lnTo>
                    <a:pt x="25953" y="524942"/>
                  </a:lnTo>
                  <a:lnTo>
                    <a:pt x="11776" y="480520"/>
                  </a:lnTo>
                  <a:lnTo>
                    <a:pt x="3004" y="433943"/>
                  </a:lnTo>
                  <a:lnTo>
                    <a:pt x="0" y="385572"/>
                  </a:lnTo>
                  <a:close/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033"/>
            </a:p>
          </p:txBody>
        </p:sp>
      </p:grpSp>
      <p:pic>
        <p:nvPicPr>
          <p:cNvPr id="93" name="object 25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702760" y="4235518"/>
            <a:ext cx="620724" cy="176063"/>
          </a:xfrm>
          <a:prstGeom prst="rect">
            <a:avLst/>
          </a:prstGeom>
        </p:spPr>
      </p:pic>
      <p:grpSp>
        <p:nvGrpSpPr>
          <p:cNvPr id="7" name="Группа 6"/>
          <p:cNvGrpSpPr/>
          <p:nvPr/>
        </p:nvGrpSpPr>
        <p:grpSpPr>
          <a:xfrm>
            <a:off x="568481" y="2028364"/>
            <a:ext cx="867786" cy="791824"/>
            <a:chOff x="457542" y="2028650"/>
            <a:chExt cx="867786" cy="791824"/>
          </a:xfrm>
        </p:grpSpPr>
        <p:sp>
          <p:nvSpPr>
            <p:cNvPr id="94" name="object 37"/>
            <p:cNvSpPr/>
            <p:nvPr/>
          </p:nvSpPr>
          <p:spPr>
            <a:xfrm>
              <a:off x="457542" y="2028650"/>
              <a:ext cx="867786" cy="791824"/>
            </a:xfrm>
            <a:custGeom>
              <a:avLst/>
              <a:gdLst/>
              <a:ahLst/>
              <a:cxnLst/>
              <a:rect l="l" t="t" r="r" b="b"/>
              <a:pathLst>
                <a:path w="771525" h="771525">
                  <a:moveTo>
                    <a:pt x="385572" y="0"/>
                  </a:moveTo>
                  <a:lnTo>
                    <a:pt x="337207" y="3003"/>
                  </a:lnTo>
                  <a:lnTo>
                    <a:pt x="290635" y="11773"/>
                  </a:lnTo>
                  <a:lnTo>
                    <a:pt x="246217" y="25949"/>
                  </a:lnTo>
                  <a:lnTo>
                    <a:pt x="204314" y="45169"/>
                  </a:lnTo>
                  <a:lnTo>
                    <a:pt x="165288" y="69072"/>
                  </a:lnTo>
                  <a:lnTo>
                    <a:pt x="129500" y="97298"/>
                  </a:lnTo>
                  <a:lnTo>
                    <a:pt x="97311" y="129484"/>
                  </a:lnTo>
                  <a:lnTo>
                    <a:pt x="69082" y="165271"/>
                  </a:lnTo>
                  <a:lnTo>
                    <a:pt x="45176" y="204297"/>
                  </a:lnTo>
                  <a:lnTo>
                    <a:pt x="25953" y="246201"/>
                  </a:lnTo>
                  <a:lnTo>
                    <a:pt x="11776" y="290623"/>
                  </a:lnTo>
                  <a:lnTo>
                    <a:pt x="3004" y="337200"/>
                  </a:lnTo>
                  <a:lnTo>
                    <a:pt x="0" y="385572"/>
                  </a:lnTo>
                  <a:lnTo>
                    <a:pt x="3004" y="433943"/>
                  </a:lnTo>
                  <a:lnTo>
                    <a:pt x="11776" y="480520"/>
                  </a:lnTo>
                  <a:lnTo>
                    <a:pt x="25953" y="524942"/>
                  </a:lnTo>
                  <a:lnTo>
                    <a:pt x="45176" y="566846"/>
                  </a:lnTo>
                  <a:lnTo>
                    <a:pt x="69082" y="605872"/>
                  </a:lnTo>
                  <a:lnTo>
                    <a:pt x="97311" y="641659"/>
                  </a:lnTo>
                  <a:lnTo>
                    <a:pt x="129500" y="673845"/>
                  </a:lnTo>
                  <a:lnTo>
                    <a:pt x="165288" y="702071"/>
                  </a:lnTo>
                  <a:lnTo>
                    <a:pt x="204314" y="725974"/>
                  </a:lnTo>
                  <a:lnTo>
                    <a:pt x="246217" y="745194"/>
                  </a:lnTo>
                  <a:lnTo>
                    <a:pt x="290635" y="759370"/>
                  </a:lnTo>
                  <a:lnTo>
                    <a:pt x="337207" y="768140"/>
                  </a:lnTo>
                  <a:lnTo>
                    <a:pt x="385572" y="771144"/>
                  </a:lnTo>
                  <a:lnTo>
                    <a:pt x="433943" y="768140"/>
                  </a:lnTo>
                  <a:lnTo>
                    <a:pt x="480520" y="759370"/>
                  </a:lnTo>
                  <a:lnTo>
                    <a:pt x="524942" y="745194"/>
                  </a:lnTo>
                  <a:lnTo>
                    <a:pt x="566846" y="725974"/>
                  </a:lnTo>
                  <a:lnTo>
                    <a:pt x="605872" y="702071"/>
                  </a:lnTo>
                  <a:lnTo>
                    <a:pt x="641659" y="673845"/>
                  </a:lnTo>
                  <a:lnTo>
                    <a:pt x="673845" y="641659"/>
                  </a:lnTo>
                  <a:lnTo>
                    <a:pt x="702071" y="605872"/>
                  </a:lnTo>
                  <a:lnTo>
                    <a:pt x="725974" y="566846"/>
                  </a:lnTo>
                  <a:lnTo>
                    <a:pt x="745194" y="524942"/>
                  </a:lnTo>
                  <a:lnTo>
                    <a:pt x="759370" y="480520"/>
                  </a:lnTo>
                  <a:lnTo>
                    <a:pt x="768140" y="433943"/>
                  </a:lnTo>
                  <a:lnTo>
                    <a:pt x="771144" y="385572"/>
                  </a:lnTo>
                  <a:lnTo>
                    <a:pt x="768140" y="337200"/>
                  </a:lnTo>
                  <a:lnTo>
                    <a:pt x="759370" y="290623"/>
                  </a:lnTo>
                  <a:lnTo>
                    <a:pt x="745194" y="246201"/>
                  </a:lnTo>
                  <a:lnTo>
                    <a:pt x="725974" y="204297"/>
                  </a:lnTo>
                  <a:lnTo>
                    <a:pt x="702071" y="165271"/>
                  </a:lnTo>
                  <a:lnTo>
                    <a:pt x="673845" y="129484"/>
                  </a:lnTo>
                  <a:lnTo>
                    <a:pt x="641659" y="97298"/>
                  </a:lnTo>
                  <a:lnTo>
                    <a:pt x="605872" y="69072"/>
                  </a:lnTo>
                  <a:lnTo>
                    <a:pt x="566846" y="45169"/>
                  </a:lnTo>
                  <a:lnTo>
                    <a:pt x="524942" y="25949"/>
                  </a:lnTo>
                  <a:lnTo>
                    <a:pt x="480520" y="11773"/>
                  </a:lnTo>
                  <a:lnTo>
                    <a:pt x="433943" y="3003"/>
                  </a:lnTo>
                  <a:lnTo>
                    <a:pt x="385572" y="0"/>
                  </a:ln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sz="2033"/>
            </a:p>
          </p:txBody>
        </p:sp>
        <p:sp>
          <p:nvSpPr>
            <p:cNvPr id="95" name="object 38"/>
            <p:cNvSpPr/>
            <p:nvPr/>
          </p:nvSpPr>
          <p:spPr>
            <a:xfrm>
              <a:off x="457542" y="2028650"/>
              <a:ext cx="867786" cy="791824"/>
            </a:xfrm>
            <a:custGeom>
              <a:avLst/>
              <a:gdLst/>
              <a:ahLst/>
              <a:cxnLst/>
              <a:rect l="l" t="t" r="r" b="b"/>
              <a:pathLst>
                <a:path w="771525" h="771525">
                  <a:moveTo>
                    <a:pt x="0" y="385572"/>
                  </a:moveTo>
                  <a:lnTo>
                    <a:pt x="3004" y="337200"/>
                  </a:lnTo>
                  <a:lnTo>
                    <a:pt x="11776" y="290623"/>
                  </a:lnTo>
                  <a:lnTo>
                    <a:pt x="25953" y="246201"/>
                  </a:lnTo>
                  <a:lnTo>
                    <a:pt x="45176" y="204297"/>
                  </a:lnTo>
                  <a:lnTo>
                    <a:pt x="69082" y="165271"/>
                  </a:lnTo>
                  <a:lnTo>
                    <a:pt x="97311" y="129484"/>
                  </a:lnTo>
                  <a:lnTo>
                    <a:pt x="129500" y="97298"/>
                  </a:lnTo>
                  <a:lnTo>
                    <a:pt x="165288" y="69072"/>
                  </a:lnTo>
                  <a:lnTo>
                    <a:pt x="204314" y="45169"/>
                  </a:lnTo>
                  <a:lnTo>
                    <a:pt x="246217" y="25949"/>
                  </a:lnTo>
                  <a:lnTo>
                    <a:pt x="290635" y="11773"/>
                  </a:lnTo>
                  <a:lnTo>
                    <a:pt x="337207" y="3003"/>
                  </a:lnTo>
                  <a:lnTo>
                    <a:pt x="385572" y="0"/>
                  </a:lnTo>
                  <a:lnTo>
                    <a:pt x="433943" y="3003"/>
                  </a:lnTo>
                  <a:lnTo>
                    <a:pt x="480520" y="11773"/>
                  </a:lnTo>
                  <a:lnTo>
                    <a:pt x="524942" y="25949"/>
                  </a:lnTo>
                  <a:lnTo>
                    <a:pt x="566846" y="45169"/>
                  </a:lnTo>
                  <a:lnTo>
                    <a:pt x="605872" y="69072"/>
                  </a:lnTo>
                  <a:lnTo>
                    <a:pt x="641659" y="97298"/>
                  </a:lnTo>
                  <a:lnTo>
                    <a:pt x="673845" y="129484"/>
                  </a:lnTo>
                  <a:lnTo>
                    <a:pt x="702071" y="165271"/>
                  </a:lnTo>
                  <a:lnTo>
                    <a:pt x="725974" y="204297"/>
                  </a:lnTo>
                  <a:lnTo>
                    <a:pt x="745194" y="246201"/>
                  </a:lnTo>
                  <a:lnTo>
                    <a:pt x="759370" y="290623"/>
                  </a:lnTo>
                  <a:lnTo>
                    <a:pt x="768140" y="337200"/>
                  </a:lnTo>
                  <a:lnTo>
                    <a:pt x="771144" y="385572"/>
                  </a:lnTo>
                  <a:lnTo>
                    <a:pt x="768140" y="433943"/>
                  </a:lnTo>
                  <a:lnTo>
                    <a:pt x="759370" y="480520"/>
                  </a:lnTo>
                  <a:lnTo>
                    <a:pt x="745194" y="524942"/>
                  </a:lnTo>
                  <a:lnTo>
                    <a:pt x="725974" y="566846"/>
                  </a:lnTo>
                  <a:lnTo>
                    <a:pt x="702071" y="605872"/>
                  </a:lnTo>
                  <a:lnTo>
                    <a:pt x="673845" y="641659"/>
                  </a:lnTo>
                  <a:lnTo>
                    <a:pt x="641659" y="673845"/>
                  </a:lnTo>
                  <a:lnTo>
                    <a:pt x="605872" y="702071"/>
                  </a:lnTo>
                  <a:lnTo>
                    <a:pt x="566846" y="725974"/>
                  </a:lnTo>
                  <a:lnTo>
                    <a:pt x="524942" y="745194"/>
                  </a:lnTo>
                  <a:lnTo>
                    <a:pt x="480520" y="759370"/>
                  </a:lnTo>
                  <a:lnTo>
                    <a:pt x="433943" y="768140"/>
                  </a:lnTo>
                  <a:lnTo>
                    <a:pt x="385572" y="771144"/>
                  </a:lnTo>
                  <a:lnTo>
                    <a:pt x="337207" y="768140"/>
                  </a:lnTo>
                  <a:lnTo>
                    <a:pt x="290635" y="759370"/>
                  </a:lnTo>
                  <a:lnTo>
                    <a:pt x="246217" y="745194"/>
                  </a:lnTo>
                  <a:lnTo>
                    <a:pt x="204314" y="725974"/>
                  </a:lnTo>
                  <a:lnTo>
                    <a:pt x="165288" y="702071"/>
                  </a:lnTo>
                  <a:lnTo>
                    <a:pt x="129500" y="673845"/>
                  </a:lnTo>
                  <a:lnTo>
                    <a:pt x="97311" y="641659"/>
                  </a:lnTo>
                  <a:lnTo>
                    <a:pt x="69082" y="605872"/>
                  </a:lnTo>
                  <a:lnTo>
                    <a:pt x="45176" y="566846"/>
                  </a:lnTo>
                  <a:lnTo>
                    <a:pt x="25953" y="524942"/>
                  </a:lnTo>
                  <a:lnTo>
                    <a:pt x="11776" y="480520"/>
                  </a:lnTo>
                  <a:lnTo>
                    <a:pt x="3004" y="433943"/>
                  </a:lnTo>
                  <a:lnTo>
                    <a:pt x="0" y="385572"/>
                  </a:lnTo>
                  <a:close/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033"/>
            </a:p>
          </p:txBody>
        </p:sp>
      </p:grpSp>
      <p:pic>
        <p:nvPicPr>
          <p:cNvPr id="96" name="object 39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681494" y="2377336"/>
            <a:ext cx="663256" cy="16354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764510" y="3180469"/>
            <a:ext cx="497224" cy="338113"/>
          </a:xfrm>
          <a:prstGeom prst="rect">
            <a:avLst/>
          </a:prstGeom>
        </p:spPr>
      </p:pic>
      <p:grpSp>
        <p:nvGrpSpPr>
          <p:cNvPr id="97" name="Группа 96"/>
          <p:cNvGrpSpPr/>
          <p:nvPr/>
        </p:nvGrpSpPr>
        <p:grpSpPr>
          <a:xfrm>
            <a:off x="568481" y="4835116"/>
            <a:ext cx="867786" cy="791824"/>
            <a:chOff x="472852" y="3770771"/>
            <a:chExt cx="867786" cy="791824"/>
          </a:xfrm>
        </p:grpSpPr>
        <p:sp>
          <p:nvSpPr>
            <p:cNvPr id="99" name="object 24"/>
            <p:cNvSpPr/>
            <p:nvPr/>
          </p:nvSpPr>
          <p:spPr>
            <a:xfrm>
              <a:off x="472852" y="3770771"/>
              <a:ext cx="867786" cy="791824"/>
            </a:xfrm>
            <a:custGeom>
              <a:avLst/>
              <a:gdLst/>
              <a:ahLst/>
              <a:cxnLst/>
              <a:rect l="l" t="t" r="r" b="b"/>
              <a:pathLst>
                <a:path w="771525" h="771525">
                  <a:moveTo>
                    <a:pt x="0" y="385572"/>
                  </a:moveTo>
                  <a:lnTo>
                    <a:pt x="3004" y="337200"/>
                  </a:lnTo>
                  <a:lnTo>
                    <a:pt x="11776" y="290623"/>
                  </a:lnTo>
                  <a:lnTo>
                    <a:pt x="25953" y="246201"/>
                  </a:lnTo>
                  <a:lnTo>
                    <a:pt x="45176" y="204297"/>
                  </a:lnTo>
                  <a:lnTo>
                    <a:pt x="69082" y="165271"/>
                  </a:lnTo>
                  <a:lnTo>
                    <a:pt x="97311" y="129484"/>
                  </a:lnTo>
                  <a:lnTo>
                    <a:pt x="129500" y="97298"/>
                  </a:lnTo>
                  <a:lnTo>
                    <a:pt x="165288" y="69072"/>
                  </a:lnTo>
                  <a:lnTo>
                    <a:pt x="204314" y="45169"/>
                  </a:lnTo>
                  <a:lnTo>
                    <a:pt x="246217" y="25949"/>
                  </a:lnTo>
                  <a:lnTo>
                    <a:pt x="290635" y="11773"/>
                  </a:lnTo>
                  <a:lnTo>
                    <a:pt x="337207" y="3003"/>
                  </a:lnTo>
                  <a:lnTo>
                    <a:pt x="385572" y="0"/>
                  </a:lnTo>
                  <a:lnTo>
                    <a:pt x="433943" y="3003"/>
                  </a:lnTo>
                  <a:lnTo>
                    <a:pt x="480520" y="11773"/>
                  </a:lnTo>
                  <a:lnTo>
                    <a:pt x="524942" y="25949"/>
                  </a:lnTo>
                  <a:lnTo>
                    <a:pt x="566846" y="45169"/>
                  </a:lnTo>
                  <a:lnTo>
                    <a:pt x="605872" y="69072"/>
                  </a:lnTo>
                  <a:lnTo>
                    <a:pt x="641659" y="97298"/>
                  </a:lnTo>
                  <a:lnTo>
                    <a:pt x="673845" y="129484"/>
                  </a:lnTo>
                  <a:lnTo>
                    <a:pt x="702071" y="165271"/>
                  </a:lnTo>
                  <a:lnTo>
                    <a:pt x="725974" y="204297"/>
                  </a:lnTo>
                  <a:lnTo>
                    <a:pt x="745194" y="246201"/>
                  </a:lnTo>
                  <a:lnTo>
                    <a:pt x="759370" y="290623"/>
                  </a:lnTo>
                  <a:lnTo>
                    <a:pt x="768140" y="337200"/>
                  </a:lnTo>
                  <a:lnTo>
                    <a:pt x="771144" y="385572"/>
                  </a:lnTo>
                  <a:lnTo>
                    <a:pt x="768140" y="433943"/>
                  </a:lnTo>
                  <a:lnTo>
                    <a:pt x="759370" y="480520"/>
                  </a:lnTo>
                  <a:lnTo>
                    <a:pt x="745194" y="524942"/>
                  </a:lnTo>
                  <a:lnTo>
                    <a:pt x="725974" y="566846"/>
                  </a:lnTo>
                  <a:lnTo>
                    <a:pt x="702071" y="605872"/>
                  </a:lnTo>
                  <a:lnTo>
                    <a:pt x="673845" y="641659"/>
                  </a:lnTo>
                  <a:lnTo>
                    <a:pt x="641659" y="673845"/>
                  </a:lnTo>
                  <a:lnTo>
                    <a:pt x="605872" y="702071"/>
                  </a:lnTo>
                  <a:lnTo>
                    <a:pt x="566846" y="725974"/>
                  </a:lnTo>
                  <a:lnTo>
                    <a:pt x="524942" y="745194"/>
                  </a:lnTo>
                  <a:lnTo>
                    <a:pt x="480520" y="759370"/>
                  </a:lnTo>
                  <a:lnTo>
                    <a:pt x="433943" y="768140"/>
                  </a:lnTo>
                  <a:lnTo>
                    <a:pt x="385572" y="771144"/>
                  </a:lnTo>
                  <a:lnTo>
                    <a:pt x="337207" y="768140"/>
                  </a:lnTo>
                  <a:lnTo>
                    <a:pt x="290635" y="759370"/>
                  </a:lnTo>
                  <a:lnTo>
                    <a:pt x="246217" y="745194"/>
                  </a:lnTo>
                  <a:lnTo>
                    <a:pt x="204314" y="725974"/>
                  </a:lnTo>
                  <a:lnTo>
                    <a:pt x="165288" y="702071"/>
                  </a:lnTo>
                  <a:lnTo>
                    <a:pt x="129500" y="673845"/>
                  </a:lnTo>
                  <a:lnTo>
                    <a:pt x="97311" y="641659"/>
                  </a:lnTo>
                  <a:lnTo>
                    <a:pt x="69082" y="605872"/>
                  </a:lnTo>
                  <a:lnTo>
                    <a:pt x="45176" y="566846"/>
                  </a:lnTo>
                  <a:lnTo>
                    <a:pt x="25953" y="524942"/>
                  </a:lnTo>
                  <a:lnTo>
                    <a:pt x="11776" y="480520"/>
                  </a:lnTo>
                  <a:lnTo>
                    <a:pt x="3004" y="433943"/>
                  </a:lnTo>
                  <a:lnTo>
                    <a:pt x="0" y="385572"/>
                  </a:lnTo>
                  <a:close/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033"/>
            </a:p>
          </p:txBody>
        </p:sp>
        <p:sp>
          <p:nvSpPr>
            <p:cNvPr id="98" name="object 23"/>
            <p:cNvSpPr/>
            <p:nvPr/>
          </p:nvSpPr>
          <p:spPr>
            <a:xfrm>
              <a:off x="472852" y="3770771"/>
              <a:ext cx="867786" cy="791824"/>
            </a:xfrm>
            <a:custGeom>
              <a:avLst/>
              <a:gdLst/>
              <a:ahLst/>
              <a:cxnLst/>
              <a:rect l="l" t="t" r="r" b="b"/>
              <a:pathLst>
                <a:path w="771525" h="771525">
                  <a:moveTo>
                    <a:pt x="385572" y="0"/>
                  </a:moveTo>
                  <a:lnTo>
                    <a:pt x="337207" y="3003"/>
                  </a:lnTo>
                  <a:lnTo>
                    <a:pt x="290635" y="11773"/>
                  </a:lnTo>
                  <a:lnTo>
                    <a:pt x="246217" y="25949"/>
                  </a:lnTo>
                  <a:lnTo>
                    <a:pt x="204314" y="45169"/>
                  </a:lnTo>
                  <a:lnTo>
                    <a:pt x="165288" y="69072"/>
                  </a:lnTo>
                  <a:lnTo>
                    <a:pt x="129500" y="97298"/>
                  </a:lnTo>
                  <a:lnTo>
                    <a:pt x="97311" y="129484"/>
                  </a:lnTo>
                  <a:lnTo>
                    <a:pt x="69082" y="165271"/>
                  </a:lnTo>
                  <a:lnTo>
                    <a:pt x="45176" y="204297"/>
                  </a:lnTo>
                  <a:lnTo>
                    <a:pt x="25953" y="246201"/>
                  </a:lnTo>
                  <a:lnTo>
                    <a:pt x="11776" y="290623"/>
                  </a:lnTo>
                  <a:lnTo>
                    <a:pt x="3004" y="337200"/>
                  </a:lnTo>
                  <a:lnTo>
                    <a:pt x="0" y="385572"/>
                  </a:lnTo>
                  <a:lnTo>
                    <a:pt x="3004" y="433943"/>
                  </a:lnTo>
                  <a:lnTo>
                    <a:pt x="11776" y="480520"/>
                  </a:lnTo>
                  <a:lnTo>
                    <a:pt x="25953" y="524942"/>
                  </a:lnTo>
                  <a:lnTo>
                    <a:pt x="45176" y="566846"/>
                  </a:lnTo>
                  <a:lnTo>
                    <a:pt x="69082" y="605872"/>
                  </a:lnTo>
                  <a:lnTo>
                    <a:pt x="97311" y="641659"/>
                  </a:lnTo>
                  <a:lnTo>
                    <a:pt x="129500" y="673845"/>
                  </a:lnTo>
                  <a:lnTo>
                    <a:pt x="165288" y="702071"/>
                  </a:lnTo>
                  <a:lnTo>
                    <a:pt x="204314" y="725974"/>
                  </a:lnTo>
                  <a:lnTo>
                    <a:pt x="246217" y="745194"/>
                  </a:lnTo>
                  <a:lnTo>
                    <a:pt x="290635" y="759370"/>
                  </a:lnTo>
                  <a:lnTo>
                    <a:pt x="337207" y="768140"/>
                  </a:lnTo>
                  <a:lnTo>
                    <a:pt x="385572" y="771144"/>
                  </a:lnTo>
                  <a:lnTo>
                    <a:pt x="433943" y="768140"/>
                  </a:lnTo>
                  <a:lnTo>
                    <a:pt x="480520" y="759370"/>
                  </a:lnTo>
                  <a:lnTo>
                    <a:pt x="524942" y="745194"/>
                  </a:lnTo>
                  <a:lnTo>
                    <a:pt x="566846" y="725974"/>
                  </a:lnTo>
                  <a:lnTo>
                    <a:pt x="605872" y="702071"/>
                  </a:lnTo>
                  <a:lnTo>
                    <a:pt x="641659" y="673845"/>
                  </a:lnTo>
                  <a:lnTo>
                    <a:pt x="673845" y="641659"/>
                  </a:lnTo>
                  <a:lnTo>
                    <a:pt x="702071" y="605872"/>
                  </a:lnTo>
                  <a:lnTo>
                    <a:pt x="725974" y="566846"/>
                  </a:lnTo>
                  <a:lnTo>
                    <a:pt x="745194" y="524942"/>
                  </a:lnTo>
                  <a:lnTo>
                    <a:pt x="759370" y="480520"/>
                  </a:lnTo>
                  <a:lnTo>
                    <a:pt x="768140" y="433943"/>
                  </a:lnTo>
                  <a:lnTo>
                    <a:pt x="771144" y="385572"/>
                  </a:lnTo>
                  <a:lnTo>
                    <a:pt x="768140" y="337200"/>
                  </a:lnTo>
                  <a:lnTo>
                    <a:pt x="759370" y="290623"/>
                  </a:lnTo>
                  <a:lnTo>
                    <a:pt x="745194" y="246201"/>
                  </a:lnTo>
                  <a:lnTo>
                    <a:pt x="725974" y="204297"/>
                  </a:lnTo>
                  <a:lnTo>
                    <a:pt x="702071" y="165271"/>
                  </a:lnTo>
                  <a:lnTo>
                    <a:pt x="673845" y="129484"/>
                  </a:lnTo>
                  <a:lnTo>
                    <a:pt x="641659" y="97298"/>
                  </a:lnTo>
                  <a:lnTo>
                    <a:pt x="605872" y="69072"/>
                  </a:lnTo>
                  <a:lnTo>
                    <a:pt x="566846" y="45169"/>
                  </a:lnTo>
                  <a:lnTo>
                    <a:pt x="524942" y="25949"/>
                  </a:lnTo>
                  <a:lnTo>
                    <a:pt x="480520" y="11773"/>
                  </a:lnTo>
                  <a:lnTo>
                    <a:pt x="433943" y="3003"/>
                  </a:lnTo>
                  <a:lnTo>
                    <a:pt x="385572" y="0"/>
                  </a:ln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sz="2033"/>
            </a:p>
          </p:txBody>
        </p:sp>
      </p:grpSp>
      <p:pic>
        <p:nvPicPr>
          <p:cNvPr id="87" name="object 19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711037" y="5082086"/>
            <a:ext cx="580240" cy="346528"/>
          </a:xfrm>
          <a:prstGeom prst="rect">
            <a:avLst/>
          </a:prstGeom>
        </p:spPr>
      </p:pic>
      <p:grpSp>
        <p:nvGrpSpPr>
          <p:cNvPr id="100" name="Группа 99"/>
          <p:cNvGrpSpPr/>
          <p:nvPr/>
        </p:nvGrpSpPr>
        <p:grpSpPr>
          <a:xfrm>
            <a:off x="568481" y="5769615"/>
            <a:ext cx="867786" cy="791824"/>
            <a:chOff x="472852" y="3770771"/>
            <a:chExt cx="867786" cy="791824"/>
          </a:xfrm>
        </p:grpSpPr>
        <p:sp>
          <p:nvSpPr>
            <p:cNvPr id="101" name="object 24"/>
            <p:cNvSpPr/>
            <p:nvPr/>
          </p:nvSpPr>
          <p:spPr>
            <a:xfrm>
              <a:off x="472852" y="3770771"/>
              <a:ext cx="867786" cy="791824"/>
            </a:xfrm>
            <a:custGeom>
              <a:avLst/>
              <a:gdLst/>
              <a:ahLst/>
              <a:cxnLst/>
              <a:rect l="l" t="t" r="r" b="b"/>
              <a:pathLst>
                <a:path w="771525" h="771525">
                  <a:moveTo>
                    <a:pt x="0" y="385572"/>
                  </a:moveTo>
                  <a:lnTo>
                    <a:pt x="3004" y="337200"/>
                  </a:lnTo>
                  <a:lnTo>
                    <a:pt x="11776" y="290623"/>
                  </a:lnTo>
                  <a:lnTo>
                    <a:pt x="25953" y="246201"/>
                  </a:lnTo>
                  <a:lnTo>
                    <a:pt x="45176" y="204297"/>
                  </a:lnTo>
                  <a:lnTo>
                    <a:pt x="69082" y="165271"/>
                  </a:lnTo>
                  <a:lnTo>
                    <a:pt x="97311" y="129484"/>
                  </a:lnTo>
                  <a:lnTo>
                    <a:pt x="129500" y="97298"/>
                  </a:lnTo>
                  <a:lnTo>
                    <a:pt x="165288" y="69072"/>
                  </a:lnTo>
                  <a:lnTo>
                    <a:pt x="204314" y="45169"/>
                  </a:lnTo>
                  <a:lnTo>
                    <a:pt x="246217" y="25949"/>
                  </a:lnTo>
                  <a:lnTo>
                    <a:pt x="290635" y="11773"/>
                  </a:lnTo>
                  <a:lnTo>
                    <a:pt x="337207" y="3003"/>
                  </a:lnTo>
                  <a:lnTo>
                    <a:pt x="385572" y="0"/>
                  </a:lnTo>
                  <a:lnTo>
                    <a:pt x="433943" y="3003"/>
                  </a:lnTo>
                  <a:lnTo>
                    <a:pt x="480520" y="11773"/>
                  </a:lnTo>
                  <a:lnTo>
                    <a:pt x="524942" y="25949"/>
                  </a:lnTo>
                  <a:lnTo>
                    <a:pt x="566846" y="45169"/>
                  </a:lnTo>
                  <a:lnTo>
                    <a:pt x="605872" y="69072"/>
                  </a:lnTo>
                  <a:lnTo>
                    <a:pt x="641659" y="97298"/>
                  </a:lnTo>
                  <a:lnTo>
                    <a:pt x="673845" y="129484"/>
                  </a:lnTo>
                  <a:lnTo>
                    <a:pt x="702071" y="165271"/>
                  </a:lnTo>
                  <a:lnTo>
                    <a:pt x="725974" y="204297"/>
                  </a:lnTo>
                  <a:lnTo>
                    <a:pt x="745194" y="246201"/>
                  </a:lnTo>
                  <a:lnTo>
                    <a:pt x="759370" y="290623"/>
                  </a:lnTo>
                  <a:lnTo>
                    <a:pt x="768140" y="337200"/>
                  </a:lnTo>
                  <a:lnTo>
                    <a:pt x="771144" y="385572"/>
                  </a:lnTo>
                  <a:lnTo>
                    <a:pt x="768140" y="433943"/>
                  </a:lnTo>
                  <a:lnTo>
                    <a:pt x="759370" y="480520"/>
                  </a:lnTo>
                  <a:lnTo>
                    <a:pt x="745194" y="524942"/>
                  </a:lnTo>
                  <a:lnTo>
                    <a:pt x="725974" y="566846"/>
                  </a:lnTo>
                  <a:lnTo>
                    <a:pt x="702071" y="605872"/>
                  </a:lnTo>
                  <a:lnTo>
                    <a:pt x="673845" y="641659"/>
                  </a:lnTo>
                  <a:lnTo>
                    <a:pt x="641659" y="673845"/>
                  </a:lnTo>
                  <a:lnTo>
                    <a:pt x="605872" y="702071"/>
                  </a:lnTo>
                  <a:lnTo>
                    <a:pt x="566846" y="725974"/>
                  </a:lnTo>
                  <a:lnTo>
                    <a:pt x="524942" y="745194"/>
                  </a:lnTo>
                  <a:lnTo>
                    <a:pt x="480520" y="759370"/>
                  </a:lnTo>
                  <a:lnTo>
                    <a:pt x="433943" y="768140"/>
                  </a:lnTo>
                  <a:lnTo>
                    <a:pt x="385572" y="771144"/>
                  </a:lnTo>
                  <a:lnTo>
                    <a:pt x="337207" y="768140"/>
                  </a:lnTo>
                  <a:lnTo>
                    <a:pt x="290635" y="759370"/>
                  </a:lnTo>
                  <a:lnTo>
                    <a:pt x="246217" y="745194"/>
                  </a:lnTo>
                  <a:lnTo>
                    <a:pt x="204314" y="725974"/>
                  </a:lnTo>
                  <a:lnTo>
                    <a:pt x="165288" y="702071"/>
                  </a:lnTo>
                  <a:lnTo>
                    <a:pt x="129500" y="673845"/>
                  </a:lnTo>
                  <a:lnTo>
                    <a:pt x="97311" y="641659"/>
                  </a:lnTo>
                  <a:lnTo>
                    <a:pt x="69082" y="605872"/>
                  </a:lnTo>
                  <a:lnTo>
                    <a:pt x="45176" y="566846"/>
                  </a:lnTo>
                  <a:lnTo>
                    <a:pt x="25953" y="524942"/>
                  </a:lnTo>
                  <a:lnTo>
                    <a:pt x="11776" y="480520"/>
                  </a:lnTo>
                  <a:lnTo>
                    <a:pt x="3004" y="433943"/>
                  </a:lnTo>
                  <a:lnTo>
                    <a:pt x="0" y="385572"/>
                  </a:lnTo>
                  <a:close/>
                </a:path>
              </a:pathLst>
            </a:custGeom>
            <a:ln w="3810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033"/>
            </a:p>
          </p:txBody>
        </p:sp>
        <p:sp>
          <p:nvSpPr>
            <p:cNvPr id="102" name="object 23"/>
            <p:cNvSpPr/>
            <p:nvPr/>
          </p:nvSpPr>
          <p:spPr>
            <a:xfrm>
              <a:off x="472852" y="3770771"/>
              <a:ext cx="867786" cy="791824"/>
            </a:xfrm>
            <a:custGeom>
              <a:avLst/>
              <a:gdLst/>
              <a:ahLst/>
              <a:cxnLst/>
              <a:rect l="l" t="t" r="r" b="b"/>
              <a:pathLst>
                <a:path w="771525" h="771525">
                  <a:moveTo>
                    <a:pt x="385572" y="0"/>
                  </a:moveTo>
                  <a:lnTo>
                    <a:pt x="337207" y="3003"/>
                  </a:lnTo>
                  <a:lnTo>
                    <a:pt x="290635" y="11773"/>
                  </a:lnTo>
                  <a:lnTo>
                    <a:pt x="246217" y="25949"/>
                  </a:lnTo>
                  <a:lnTo>
                    <a:pt x="204314" y="45169"/>
                  </a:lnTo>
                  <a:lnTo>
                    <a:pt x="165288" y="69072"/>
                  </a:lnTo>
                  <a:lnTo>
                    <a:pt x="129500" y="97298"/>
                  </a:lnTo>
                  <a:lnTo>
                    <a:pt x="97311" y="129484"/>
                  </a:lnTo>
                  <a:lnTo>
                    <a:pt x="69082" y="165271"/>
                  </a:lnTo>
                  <a:lnTo>
                    <a:pt x="45176" y="204297"/>
                  </a:lnTo>
                  <a:lnTo>
                    <a:pt x="25953" y="246201"/>
                  </a:lnTo>
                  <a:lnTo>
                    <a:pt x="11776" y="290623"/>
                  </a:lnTo>
                  <a:lnTo>
                    <a:pt x="3004" y="337200"/>
                  </a:lnTo>
                  <a:lnTo>
                    <a:pt x="0" y="385572"/>
                  </a:lnTo>
                  <a:lnTo>
                    <a:pt x="3004" y="433943"/>
                  </a:lnTo>
                  <a:lnTo>
                    <a:pt x="11776" y="480520"/>
                  </a:lnTo>
                  <a:lnTo>
                    <a:pt x="25953" y="524942"/>
                  </a:lnTo>
                  <a:lnTo>
                    <a:pt x="45176" y="566846"/>
                  </a:lnTo>
                  <a:lnTo>
                    <a:pt x="69082" y="605872"/>
                  </a:lnTo>
                  <a:lnTo>
                    <a:pt x="97311" y="641659"/>
                  </a:lnTo>
                  <a:lnTo>
                    <a:pt x="129500" y="673845"/>
                  </a:lnTo>
                  <a:lnTo>
                    <a:pt x="165288" y="702071"/>
                  </a:lnTo>
                  <a:lnTo>
                    <a:pt x="204314" y="725974"/>
                  </a:lnTo>
                  <a:lnTo>
                    <a:pt x="246217" y="745194"/>
                  </a:lnTo>
                  <a:lnTo>
                    <a:pt x="290635" y="759370"/>
                  </a:lnTo>
                  <a:lnTo>
                    <a:pt x="337207" y="768140"/>
                  </a:lnTo>
                  <a:lnTo>
                    <a:pt x="385572" y="771144"/>
                  </a:lnTo>
                  <a:lnTo>
                    <a:pt x="433943" y="768140"/>
                  </a:lnTo>
                  <a:lnTo>
                    <a:pt x="480520" y="759370"/>
                  </a:lnTo>
                  <a:lnTo>
                    <a:pt x="524942" y="745194"/>
                  </a:lnTo>
                  <a:lnTo>
                    <a:pt x="566846" y="725974"/>
                  </a:lnTo>
                  <a:lnTo>
                    <a:pt x="605872" y="702071"/>
                  </a:lnTo>
                  <a:lnTo>
                    <a:pt x="641659" y="673845"/>
                  </a:lnTo>
                  <a:lnTo>
                    <a:pt x="673845" y="641659"/>
                  </a:lnTo>
                  <a:lnTo>
                    <a:pt x="702071" y="605872"/>
                  </a:lnTo>
                  <a:lnTo>
                    <a:pt x="725974" y="566846"/>
                  </a:lnTo>
                  <a:lnTo>
                    <a:pt x="745194" y="524942"/>
                  </a:lnTo>
                  <a:lnTo>
                    <a:pt x="759370" y="480520"/>
                  </a:lnTo>
                  <a:lnTo>
                    <a:pt x="768140" y="433943"/>
                  </a:lnTo>
                  <a:lnTo>
                    <a:pt x="771144" y="385572"/>
                  </a:lnTo>
                  <a:lnTo>
                    <a:pt x="768140" y="337200"/>
                  </a:lnTo>
                  <a:lnTo>
                    <a:pt x="759370" y="290623"/>
                  </a:lnTo>
                  <a:lnTo>
                    <a:pt x="745194" y="246201"/>
                  </a:lnTo>
                  <a:lnTo>
                    <a:pt x="725974" y="204297"/>
                  </a:lnTo>
                  <a:lnTo>
                    <a:pt x="702071" y="165271"/>
                  </a:lnTo>
                  <a:lnTo>
                    <a:pt x="673845" y="129484"/>
                  </a:lnTo>
                  <a:lnTo>
                    <a:pt x="641659" y="97298"/>
                  </a:lnTo>
                  <a:lnTo>
                    <a:pt x="605872" y="69072"/>
                  </a:lnTo>
                  <a:lnTo>
                    <a:pt x="566846" y="45169"/>
                  </a:lnTo>
                  <a:lnTo>
                    <a:pt x="524942" y="25949"/>
                  </a:lnTo>
                  <a:lnTo>
                    <a:pt x="480520" y="11773"/>
                  </a:lnTo>
                  <a:lnTo>
                    <a:pt x="433943" y="3003"/>
                  </a:lnTo>
                  <a:lnTo>
                    <a:pt x="385572" y="0"/>
                  </a:lnTo>
                  <a:close/>
                </a:path>
              </a:pathLst>
            </a:custGeom>
            <a:solidFill>
              <a:srgbClr val="FFFFFF">
                <a:alpha val="50195"/>
              </a:srgbClr>
            </a:solidFill>
          </p:spPr>
          <p:txBody>
            <a:bodyPr wrap="square" lIns="0" tIns="0" rIns="0" bIns="0" rtlCol="0"/>
            <a:lstStyle/>
            <a:p>
              <a:endParaRPr sz="2033"/>
            </a:p>
          </p:txBody>
        </p:sp>
      </p:grpSp>
      <p:pic>
        <p:nvPicPr>
          <p:cNvPr id="84" name="object 15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702529" y="6048714"/>
            <a:ext cx="621186" cy="327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94576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115</TotalTime>
  <Words>1251</Words>
  <Application>Microsoft Office PowerPoint</Application>
  <PresentationFormat>Vlastní</PresentationFormat>
  <Paragraphs>383</Paragraphs>
  <Slides>16</Slides>
  <Notes>5</Notes>
  <HiddenSlides>0</HiddenSlides>
  <MMClips>0</MMClips>
  <ScaleCrop>false</ScaleCrop>
  <HeadingPairs>
    <vt:vector size="4" baseType="variant">
      <vt:variant>
        <vt:lpstr>Motiv</vt:lpstr>
      </vt:variant>
      <vt:variant>
        <vt:i4>1</vt:i4>
      </vt:variant>
      <vt:variant>
        <vt:lpstr>Nadpisy snímků</vt:lpstr>
      </vt:variant>
      <vt:variant>
        <vt:i4>16</vt:i4>
      </vt:variant>
    </vt:vector>
  </HeadingPairs>
  <TitlesOfParts>
    <vt:vector size="17" baseType="lpstr">
      <vt:lpstr>1_Тема Office</vt:lpstr>
      <vt:lpstr>Snímek 1</vt:lpstr>
      <vt:lpstr>Snímek 2</vt:lpstr>
      <vt:lpstr>Snímek 3</vt:lpstr>
      <vt:lpstr>Snímek 4</vt:lpstr>
      <vt:lpstr>Snímek 5</vt:lpstr>
      <vt:lpstr>Snímek 6</vt:lpstr>
      <vt:lpstr>Snímek 7</vt:lpstr>
      <vt:lpstr>Snímek 8</vt:lpstr>
      <vt:lpstr>Snímek 9</vt:lpstr>
      <vt:lpstr>Snímek 10</vt:lpstr>
      <vt:lpstr>Snímek 11</vt:lpstr>
      <vt:lpstr>Snímek 12</vt:lpstr>
      <vt:lpstr>Snímek 13</vt:lpstr>
      <vt:lpstr>Snímek 14</vt:lpstr>
      <vt:lpstr>Snímek 15</vt:lpstr>
      <vt:lpstr>Snímek 16</vt:lpstr>
    </vt:vector>
  </TitlesOfParts>
  <Company>SPecialiST RePack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anzhar Tillabay</dc:creator>
  <cp:lastModifiedBy>Lenka</cp:lastModifiedBy>
  <cp:revision>1439</cp:revision>
  <cp:lastPrinted>2023-07-24T10:17:30Z</cp:lastPrinted>
  <dcterms:created xsi:type="dcterms:W3CDTF">2021-11-05T04:31:06Z</dcterms:created>
  <dcterms:modified xsi:type="dcterms:W3CDTF">2024-06-18T05:23:51Z</dcterms:modified>
</cp:coreProperties>
</file>